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9.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0.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1.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2.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8.xml" ContentType="application/vnd.openxmlformats-officedocument.presentationml.tags+xml"/>
  <Override PartName="/ppt/notesSlides/notesSlide2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8" r:id="rId5"/>
    <p:sldMasterId id="2147484803" r:id="rId6"/>
    <p:sldMasterId id="2147486617" r:id="rId7"/>
    <p:sldMasterId id="2147487449" r:id="rId8"/>
    <p:sldMasterId id="2147487851" r:id="rId9"/>
    <p:sldMasterId id="2147488074" r:id="rId10"/>
    <p:sldMasterId id="2147488514" r:id="rId11"/>
    <p:sldMasterId id="2147488562" r:id="rId12"/>
    <p:sldMasterId id="2147488704" r:id="rId13"/>
    <p:sldMasterId id="2147488785" r:id="rId14"/>
    <p:sldMasterId id="2147488803" r:id="rId15"/>
    <p:sldMasterId id="2147488863" r:id="rId16"/>
  </p:sldMasterIdLst>
  <p:notesMasterIdLst>
    <p:notesMasterId r:id="rId57"/>
  </p:notesMasterIdLst>
  <p:handoutMasterIdLst>
    <p:handoutMasterId r:id="rId58"/>
  </p:handoutMasterIdLst>
  <p:sldIdLst>
    <p:sldId id="2882" r:id="rId17"/>
    <p:sldId id="2147480454" r:id="rId18"/>
    <p:sldId id="2147480455" r:id="rId19"/>
    <p:sldId id="2147483233" r:id="rId20"/>
    <p:sldId id="2147483234" r:id="rId21"/>
    <p:sldId id="2147483424" r:id="rId22"/>
    <p:sldId id="2147483235" r:id="rId23"/>
    <p:sldId id="2147483231" r:id="rId24"/>
    <p:sldId id="2147483232" r:id="rId25"/>
    <p:sldId id="2147483428" r:id="rId26"/>
    <p:sldId id="2147483236" r:id="rId27"/>
    <p:sldId id="2147479278" r:id="rId28"/>
    <p:sldId id="2147483420" r:id="rId29"/>
    <p:sldId id="2147476980" r:id="rId30"/>
    <p:sldId id="2147476981" r:id="rId31"/>
    <p:sldId id="2147483244" r:id="rId32"/>
    <p:sldId id="2147483427" r:id="rId33"/>
    <p:sldId id="356" r:id="rId34"/>
    <p:sldId id="2147483239" r:id="rId35"/>
    <p:sldId id="2147479145" r:id="rId36"/>
    <p:sldId id="2147479471" r:id="rId37"/>
    <p:sldId id="2147483421" r:id="rId38"/>
    <p:sldId id="2147483422" r:id="rId39"/>
    <p:sldId id="2147483423" r:id="rId40"/>
    <p:sldId id="395" r:id="rId41"/>
    <p:sldId id="2113418033" r:id="rId42"/>
    <p:sldId id="410" r:id="rId43"/>
    <p:sldId id="2147483425" r:id="rId44"/>
    <p:sldId id="2147483397" r:id="rId45"/>
    <p:sldId id="2147483411" r:id="rId46"/>
    <p:sldId id="2147477126" r:id="rId47"/>
    <p:sldId id="2147483409" r:id="rId48"/>
    <p:sldId id="364" r:id="rId49"/>
    <p:sldId id="2147483412" r:id="rId50"/>
    <p:sldId id="2147483243" r:id="rId51"/>
    <p:sldId id="2147483248" r:id="rId52"/>
    <p:sldId id="313" r:id="rId53"/>
    <p:sldId id="2147483398" r:id="rId54"/>
    <p:sldId id="2147483399" r:id="rId55"/>
    <p:sldId id="2147483254" r:id="rId56"/>
  </p:sldIdLst>
  <p:sldSz cx="12192000" cy="6858000"/>
  <p:notesSz cx="7315200" cy="9601200"/>
  <p:custDataLst>
    <p:tags r:id="rId59"/>
  </p:custDataLst>
  <p:defaultTextStyle>
    <a:defPPr>
      <a:defRPr lang="en-US"/>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Default Section" id="{A25A0B1C-F1DE-443C-80E4-3642FE723434}">
          <p14:sldIdLst>
            <p14:sldId id="2882"/>
            <p14:sldId id="2147480454"/>
            <p14:sldId id="2147480455"/>
            <p14:sldId id="2147483233"/>
            <p14:sldId id="2147483234"/>
            <p14:sldId id="2147483424"/>
            <p14:sldId id="2147483235"/>
            <p14:sldId id="2147483231"/>
            <p14:sldId id="2147483232"/>
            <p14:sldId id="2147483428"/>
            <p14:sldId id="2147483236"/>
            <p14:sldId id="2147479278"/>
            <p14:sldId id="2147483420"/>
            <p14:sldId id="2147476980"/>
            <p14:sldId id="2147476981"/>
            <p14:sldId id="2147483244"/>
            <p14:sldId id="2147483427"/>
            <p14:sldId id="356"/>
            <p14:sldId id="2147483239"/>
            <p14:sldId id="2147479145"/>
            <p14:sldId id="2147479471"/>
            <p14:sldId id="2147483421"/>
            <p14:sldId id="2147483422"/>
            <p14:sldId id="2147483423"/>
            <p14:sldId id="395"/>
            <p14:sldId id="2113418033"/>
            <p14:sldId id="410"/>
            <p14:sldId id="2147483425"/>
            <p14:sldId id="2147483397"/>
            <p14:sldId id="2147483411"/>
            <p14:sldId id="2147477126"/>
            <p14:sldId id="2147483409"/>
            <p14:sldId id="364"/>
            <p14:sldId id="2147483412"/>
            <p14:sldId id="2147483243"/>
            <p14:sldId id="2147483248"/>
            <p14:sldId id="313"/>
            <p14:sldId id="2147483398"/>
            <p14:sldId id="2147483399"/>
            <p14:sldId id="2147483254"/>
          </p14:sldIdLst>
        </p14:section>
        <p14:section name="Title Slides" id="{9B562A97-D7B0-49D4-AD7D-575183D3E757}">
          <p14:sldIdLst/>
        </p14:section>
        <p14:section name="Template Slides" id="{B4999F17-38C8-4A1C-BEDB-2CA6374DCDA5}">
          <p14:sldIdLst/>
        </p14:section>
      </p14:sectionLst>
    </p:ext>
    <p:ext uri="{EFAFB233-063F-42B5-8137-9DF3F51BA10A}">
      <p15:sldGuideLst xmlns:p15="http://schemas.microsoft.com/office/powerpoint/2012/main">
        <p15:guide id="1" orient="horz" pos="2160" userDrawn="1">
          <p15:clr>
            <a:srgbClr val="A4A3A4"/>
          </p15:clr>
        </p15:guide>
        <p15:guide id="2" orient="horz" pos="208" userDrawn="1">
          <p15:clr>
            <a:srgbClr val="A4A3A4"/>
          </p15:clr>
        </p15:guide>
        <p15:guide id="3" pos="3840"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678207-02E4-580E-151F-9F5F3D3916FA}" name="Bays, Rachel" initials="BR" userId="S::rachel.bays@honeywell.com::add8e490-e9f1-4eaa-958a-2782a26aa100" providerId="AD"/>
  <p188:author id="{D4C831E7-9FF1-426C-866C-5FCC1D601CE7}" name="Du, Doris" initials="DD" userId="S::doris.du@honeywell.com::d7ecf7c8-33f2-4d44-8b79-b0d4861855d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e120373" initials="e" lastIdx="3" clrIdx="0"/>
  <p:cmAuthor id="1" name="e123225" initials="e" lastIdx="1" clrIdx="1">
    <p:extLst>
      <p:ext uri="{19B8F6BF-5375-455C-9EA6-DF929625EA0E}">
        <p15:presenceInfo xmlns:p15="http://schemas.microsoft.com/office/powerpoint/2012/main" userId="e123225" providerId="None"/>
      </p:ext>
    </p:extLst>
  </p:cmAuthor>
  <p:cmAuthor id="2" name="Snell, Jim (AZ15)" initials="SJ(" lastIdx="5" clrIdx="2">
    <p:extLst>
      <p:ext uri="{19B8F6BF-5375-455C-9EA6-DF929625EA0E}">
        <p15:presenceInfo xmlns:p15="http://schemas.microsoft.com/office/powerpoint/2012/main" userId="S::jim.snell@honeywell.com::c92bb505-4dd4-4212-95a4-731a7f8597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FFFFFF"/>
    <a:srgbClr val="98E6F0"/>
    <a:srgbClr val="996600"/>
    <a:srgbClr val="CC9900"/>
    <a:srgbClr val="996633"/>
    <a:srgbClr val="808000"/>
    <a:srgbClr val="FFCC00"/>
    <a:srgbClr val="FF9900"/>
    <a:srgbClr val="005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9B047F-28E6-45C6-935D-0F0478EFCCD9}" v="9" dt="2024-11-13T04:08:41.821"/>
    <p1510:client id="{F0186C47-F7CF-4F79-81A4-D4EBC59EF651}" v="42" dt="2024-11-12T04:22:50.005"/>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1V>
      <a:tcStyle>
        <a:tcBdr>
          <a:top>
            <a:lnRef idx="1">
              <a:schemeClr val="accent4"/>
            </a:lnRef>
          </a:top>
          <a:bottom>
            <a:lnRef idx="1">
              <a:schemeClr val="accent4"/>
            </a:lnRef>
          </a:bottom>
        </a:tcBdr>
        <a:fill>
          <a:solidFill>
            <a:schemeClr val="accent4">
              <a:alpha val="40000"/>
            </a:schemeClr>
          </a:solidFill>
        </a:fill>
      </a:tcStyle>
    </a:band1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1V>
      <a:tcStyle>
        <a:tcBdr>
          <a:top>
            <a:lnRef idx="1">
              <a:schemeClr val="accent6"/>
            </a:lnRef>
          </a:top>
          <a:bottom>
            <a:lnRef idx="1">
              <a:schemeClr val="accent6"/>
            </a:lnRef>
          </a:bottom>
        </a:tcBdr>
        <a:fill>
          <a:solidFill>
            <a:schemeClr val="accent6">
              <a:alpha val="40000"/>
            </a:schemeClr>
          </a:solidFill>
        </a:fill>
      </a:tcStyle>
    </a:band1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1V>
      <a:tcStyle>
        <a:tcBdr>
          <a:top>
            <a:lnRef idx="1">
              <a:schemeClr val="accent2"/>
            </a:lnRef>
          </a:top>
          <a:bottom>
            <a:lnRef idx="1">
              <a:schemeClr val="accent2"/>
            </a:lnRef>
          </a:bottom>
        </a:tcBdr>
        <a:fill>
          <a:solidFill>
            <a:schemeClr val="accent2">
              <a:alpha val="40000"/>
            </a:schemeClr>
          </a:solidFill>
        </a:fill>
      </a:tcStyle>
    </a:band1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1V>
      <a:tcStyle>
        <a:tcBdr>
          <a:top>
            <a:lnRef idx="1">
              <a:schemeClr val="accent3"/>
            </a:lnRef>
          </a:top>
          <a:bottom>
            <a:lnRef idx="1">
              <a:schemeClr val="accent3"/>
            </a:lnRef>
          </a:bottom>
        </a:tcBdr>
        <a:fill>
          <a:solidFill>
            <a:schemeClr val="accent3">
              <a:alpha val="40000"/>
            </a:schemeClr>
          </a:solidFill>
        </a:fill>
      </a:tcStyle>
    </a:band1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1V>
      <a:tcStyle>
        <a:tcBdr>
          <a:top>
            <a:lnRef idx="1">
              <a:schemeClr val="accent1"/>
            </a:lnRef>
          </a:top>
          <a:bottom>
            <a:lnRef idx="1">
              <a:schemeClr val="accent1"/>
            </a:lnRef>
          </a:bottom>
        </a:tcBdr>
        <a:fill>
          <a:solidFill>
            <a:schemeClr val="accent1">
              <a:alpha val="40000"/>
            </a:schemeClr>
          </a:solidFill>
        </a:fill>
      </a:tcStyle>
    </a:band1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1V>
      <a:tcStyle>
        <a:tcBdr>
          <a:top>
            <a:lnRef idx="1">
              <a:schemeClr val="accent5"/>
            </a:lnRef>
          </a:top>
          <a:bottom>
            <a:lnRef idx="1">
              <a:schemeClr val="accent5"/>
            </a:lnRef>
          </a:bottom>
        </a:tcBdr>
        <a:fill>
          <a:solidFill>
            <a:schemeClr val="accent5">
              <a:alpha val="40000"/>
            </a:schemeClr>
          </a:solidFill>
        </a:fill>
      </a:tcStyle>
    </a:band1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954" y="102"/>
      </p:cViewPr>
      <p:guideLst>
        <p:guide orient="horz" pos="2160"/>
        <p:guide orient="horz" pos="208"/>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3.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handoutMaster" Target="handoutMasters/handoutMaster1.xml"/><Relationship Id="rId66" Type="http://schemas.microsoft.com/office/2015/10/relationships/revisionInfo" Target="revisionInfo.xml"/><Relationship Id="rId5" Type="http://schemas.openxmlformats.org/officeDocument/2006/relationships/slideMaster" Target="slideMasters/slideMaster1.xml"/><Relationship Id="rId61" Type="http://schemas.openxmlformats.org/officeDocument/2006/relationships/presProps" Target="presProps.xml"/><Relationship Id="rId19" Type="http://schemas.openxmlformats.org/officeDocument/2006/relationships/slide" Target="slides/slide3.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ags" Target="tags/tag1.xml"/><Relationship Id="rId67" Type="http://schemas.microsoft.com/office/2018/10/relationships/authors" Target="author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notesMaster" Target="notesMasters/notesMaster1.xml"/><Relationship Id="rId10" Type="http://schemas.openxmlformats.org/officeDocument/2006/relationships/slideMaster" Target="slideMasters/slideMaster6.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2.xml"/><Relationship Id="rId39"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nnan, Rod" userId="3f6eb9a3-076c-4368-93e3-821101c8dc68" providerId="ADAL" clId="{F0186C47-F7CF-4F79-81A4-D4EBC59EF651}"/>
    <pc:docChg chg="undo custSel addSld delSld modSld sldOrd delMainMaster modSection">
      <pc:chgData name="Kennan, Rod" userId="3f6eb9a3-076c-4368-93e3-821101c8dc68" providerId="ADAL" clId="{F0186C47-F7CF-4F79-81A4-D4EBC59EF651}" dt="2024-11-12T04:23:59.469" v="3813" actId="1076"/>
      <pc:docMkLst>
        <pc:docMk/>
      </pc:docMkLst>
      <pc:sldChg chg="addSp modSp">
        <pc:chgData name="Kennan, Rod" userId="3f6eb9a3-076c-4368-93e3-821101c8dc68" providerId="ADAL" clId="{F0186C47-F7CF-4F79-81A4-D4EBC59EF651}" dt="2024-11-04T01:32:18.347" v="526"/>
        <pc:sldMkLst>
          <pc:docMk/>
          <pc:sldMk cId="3870627682" sldId="303"/>
        </pc:sldMkLst>
        <pc:spChg chg="add mod">
          <ac:chgData name="Kennan, Rod" userId="3f6eb9a3-076c-4368-93e3-821101c8dc68" providerId="ADAL" clId="{F0186C47-F7CF-4F79-81A4-D4EBC59EF651}" dt="2024-11-04T01:32:18.347" v="526"/>
          <ac:spMkLst>
            <pc:docMk/>
            <pc:sldMk cId="3870627682" sldId="303"/>
            <ac:spMk id="6" creationId="{AB34BD5F-1903-2ED8-7A41-3B21758B987B}"/>
          </ac:spMkLst>
        </pc:spChg>
      </pc:sldChg>
      <pc:sldChg chg="modSp mod">
        <pc:chgData name="Kennan, Rod" userId="3f6eb9a3-076c-4368-93e3-821101c8dc68" providerId="ADAL" clId="{F0186C47-F7CF-4F79-81A4-D4EBC59EF651}" dt="2024-11-10T05:19:28.309" v="3247" actId="20577"/>
        <pc:sldMkLst>
          <pc:docMk/>
          <pc:sldMk cId="1476873636" sldId="356"/>
        </pc:sldMkLst>
        <pc:spChg chg="mod">
          <ac:chgData name="Kennan, Rod" userId="3f6eb9a3-076c-4368-93e3-821101c8dc68" providerId="ADAL" clId="{F0186C47-F7CF-4F79-81A4-D4EBC59EF651}" dt="2024-11-10T05:19:28.309" v="3247" actId="20577"/>
          <ac:spMkLst>
            <pc:docMk/>
            <pc:sldMk cId="1476873636" sldId="356"/>
            <ac:spMk id="9" creationId="{EA3EDD51-4D2D-5C8B-D729-7259B19F7185}"/>
          </ac:spMkLst>
        </pc:spChg>
        <pc:graphicFrameChg chg="mod">
          <ac:chgData name="Kennan, Rod" userId="3f6eb9a3-076c-4368-93e3-821101c8dc68" providerId="ADAL" clId="{F0186C47-F7CF-4F79-81A4-D4EBC59EF651}" dt="2024-11-10T04:38:55.643" v="2055" actId="20577"/>
          <ac:graphicFrameMkLst>
            <pc:docMk/>
            <pc:sldMk cId="1476873636" sldId="356"/>
            <ac:graphicFrameMk id="2" creationId="{76D62C6A-D7D9-A806-6B15-1A540434BB68}"/>
          </ac:graphicFrameMkLst>
        </pc:graphicFrameChg>
      </pc:sldChg>
      <pc:sldChg chg="modSp add mod ord">
        <pc:chgData name="Kennan, Rod" userId="3f6eb9a3-076c-4368-93e3-821101c8dc68" providerId="ADAL" clId="{F0186C47-F7CF-4F79-81A4-D4EBC59EF651}" dt="2024-11-10T05:05:24.780" v="2601"/>
        <pc:sldMkLst>
          <pc:docMk/>
          <pc:sldMk cId="3630418910" sldId="410"/>
        </pc:sldMkLst>
        <pc:spChg chg="mod">
          <ac:chgData name="Kennan, Rod" userId="3f6eb9a3-076c-4368-93e3-821101c8dc68" providerId="ADAL" clId="{F0186C47-F7CF-4F79-81A4-D4EBC59EF651}" dt="2024-11-09T04:41:59.926" v="564" actId="6549"/>
          <ac:spMkLst>
            <pc:docMk/>
            <pc:sldMk cId="3630418910" sldId="410"/>
            <ac:spMk id="2" creationId="{551AD978-9115-4FE2-AFF6-DF25478AA5B4}"/>
          </ac:spMkLst>
        </pc:spChg>
        <pc:spChg chg="mod">
          <ac:chgData name="Kennan, Rod" userId="3f6eb9a3-076c-4368-93e3-821101c8dc68" providerId="ADAL" clId="{F0186C47-F7CF-4F79-81A4-D4EBC59EF651}" dt="2024-11-09T19:37:41.141" v="1329" actId="5793"/>
          <ac:spMkLst>
            <pc:docMk/>
            <pc:sldMk cId="3630418910" sldId="410"/>
            <ac:spMk id="6" creationId="{C29D735C-6F77-5897-3402-9AFEEB69A7C9}"/>
          </ac:spMkLst>
        </pc:spChg>
        <pc:spChg chg="mod">
          <ac:chgData name="Kennan, Rod" userId="3f6eb9a3-076c-4368-93e3-821101c8dc68" providerId="ADAL" clId="{F0186C47-F7CF-4F79-81A4-D4EBC59EF651}" dt="2024-11-09T04:41:54.131" v="563" actId="27636"/>
          <ac:spMkLst>
            <pc:docMk/>
            <pc:sldMk cId="3630418910" sldId="410"/>
            <ac:spMk id="9" creationId="{5387EB5C-CE08-4875-AEDD-223A01724EF8}"/>
          </ac:spMkLst>
        </pc:spChg>
      </pc:sldChg>
      <pc:sldChg chg="del">
        <pc:chgData name="Kennan, Rod" userId="3f6eb9a3-076c-4368-93e3-821101c8dc68" providerId="ADAL" clId="{F0186C47-F7CF-4F79-81A4-D4EBC59EF651}" dt="2024-11-10T04:09:01.609" v="1543" actId="47"/>
        <pc:sldMkLst>
          <pc:docMk/>
          <pc:sldMk cId="3902658254" sldId="1830142917"/>
        </pc:sldMkLst>
      </pc:sldChg>
      <pc:sldChg chg="ord">
        <pc:chgData name="Kennan, Rod" userId="3f6eb9a3-076c-4368-93e3-821101c8dc68" providerId="ADAL" clId="{F0186C47-F7CF-4F79-81A4-D4EBC59EF651}" dt="2024-11-09T19:30:04.046" v="1111"/>
        <pc:sldMkLst>
          <pc:docMk/>
          <pc:sldMk cId="1115408349" sldId="2113418033"/>
        </pc:sldMkLst>
      </pc:sldChg>
      <pc:sldChg chg="modSp mod">
        <pc:chgData name="Kennan, Rod" userId="3f6eb9a3-076c-4368-93e3-821101c8dc68" providerId="ADAL" clId="{F0186C47-F7CF-4F79-81A4-D4EBC59EF651}" dt="2024-11-04T00:43:32.526" v="5" actId="6549"/>
        <pc:sldMkLst>
          <pc:docMk/>
          <pc:sldMk cId="3322086240" sldId="2147476981"/>
        </pc:sldMkLst>
        <pc:spChg chg="mod">
          <ac:chgData name="Kennan, Rod" userId="3f6eb9a3-076c-4368-93e3-821101c8dc68" providerId="ADAL" clId="{F0186C47-F7CF-4F79-81A4-D4EBC59EF651}" dt="2024-11-04T00:43:32.526" v="5" actId="6549"/>
          <ac:spMkLst>
            <pc:docMk/>
            <pc:sldMk cId="3322086240" sldId="2147476981"/>
            <ac:spMk id="3" creationId="{B7B3BB5A-4721-7210-3921-5F1D00EC8AA4}"/>
          </ac:spMkLst>
        </pc:spChg>
      </pc:sldChg>
      <pc:sldChg chg="modSp mod modClrScheme chgLayout">
        <pc:chgData name="Kennan, Rod" userId="3f6eb9a3-076c-4368-93e3-821101c8dc68" providerId="ADAL" clId="{F0186C47-F7CF-4F79-81A4-D4EBC59EF651}" dt="2024-11-09T19:36:26.171" v="1318" actId="6549"/>
        <pc:sldMkLst>
          <pc:docMk/>
          <pc:sldMk cId="2735076999" sldId="2147477126"/>
        </pc:sldMkLst>
        <pc:spChg chg="mod ord">
          <ac:chgData name="Kennan, Rod" userId="3f6eb9a3-076c-4368-93e3-821101c8dc68" providerId="ADAL" clId="{F0186C47-F7CF-4F79-81A4-D4EBC59EF651}" dt="2024-11-09T19:33:29.329" v="1148" actId="700"/>
          <ac:spMkLst>
            <pc:docMk/>
            <pc:sldMk cId="2735076999" sldId="2147477126"/>
            <ac:spMk id="4" creationId="{0B9C81EF-112E-CE1F-1258-899C9E89A322}"/>
          </ac:spMkLst>
        </pc:spChg>
        <pc:spChg chg="mod ord">
          <ac:chgData name="Kennan, Rod" userId="3f6eb9a3-076c-4368-93e3-821101c8dc68" providerId="ADAL" clId="{F0186C47-F7CF-4F79-81A4-D4EBC59EF651}" dt="2024-11-09T19:33:29.329" v="1148" actId="700"/>
          <ac:spMkLst>
            <pc:docMk/>
            <pc:sldMk cId="2735076999" sldId="2147477126"/>
            <ac:spMk id="5" creationId="{5B3DFA54-0E16-FBB0-89FB-8BB8455F867C}"/>
          </ac:spMkLst>
        </pc:spChg>
        <pc:spChg chg="mod ord">
          <ac:chgData name="Kennan, Rod" userId="3f6eb9a3-076c-4368-93e3-821101c8dc68" providerId="ADAL" clId="{F0186C47-F7CF-4F79-81A4-D4EBC59EF651}" dt="2024-11-09T19:36:26.171" v="1318" actId="6549"/>
          <ac:spMkLst>
            <pc:docMk/>
            <pc:sldMk cId="2735076999" sldId="2147477126"/>
            <ac:spMk id="6" creationId="{1D2B3142-B1DC-EF52-1883-CA014D224BF9}"/>
          </ac:spMkLst>
        </pc:spChg>
        <pc:picChg chg="mod">
          <ac:chgData name="Kennan, Rod" userId="3f6eb9a3-076c-4368-93e3-821101c8dc68" providerId="ADAL" clId="{F0186C47-F7CF-4F79-81A4-D4EBC59EF651}" dt="2024-11-09T19:33:32.698" v="1149" actId="14100"/>
          <ac:picMkLst>
            <pc:docMk/>
            <pc:sldMk cId="2735076999" sldId="2147477126"/>
            <ac:picMk id="7" creationId="{D1D680C4-DA5A-F10B-843C-67DEA52417F9}"/>
          </ac:picMkLst>
        </pc:picChg>
      </pc:sldChg>
      <pc:sldChg chg="delSp modSp mod">
        <pc:chgData name="Kennan, Rod" userId="3f6eb9a3-076c-4368-93e3-821101c8dc68" providerId="ADAL" clId="{F0186C47-F7CF-4F79-81A4-D4EBC59EF651}" dt="2024-11-10T04:48:17.199" v="2091" actId="20577"/>
        <pc:sldMkLst>
          <pc:docMk/>
          <pc:sldMk cId="2105573941" sldId="2147479145"/>
        </pc:sldMkLst>
        <pc:spChg chg="del">
          <ac:chgData name="Kennan, Rod" userId="3f6eb9a3-076c-4368-93e3-821101c8dc68" providerId="ADAL" clId="{F0186C47-F7CF-4F79-81A4-D4EBC59EF651}" dt="2024-11-10T04:46:23.770" v="2083" actId="478"/>
          <ac:spMkLst>
            <pc:docMk/>
            <pc:sldMk cId="2105573941" sldId="2147479145"/>
            <ac:spMk id="22" creationId="{B64C61D6-714E-19C3-12F7-D4440EF04438}"/>
          </ac:spMkLst>
        </pc:spChg>
        <pc:spChg chg="mod">
          <ac:chgData name="Kennan, Rod" userId="3f6eb9a3-076c-4368-93e3-821101c8dc68" providerId="ADAL" clId="{F0186C47-F7CF-4F79-81A4-D4EBC59EF651}" dt="2024-11-10T04:47:09.029" v="2085" actId="207"/>
          <ac:spMkLst>
            <pc:docMk/>
            <pc:sldMk cId="2105573941" sldId="2147479145"/>
            <ac:spMk id="42" creationId="{E39265ED-1D94-110F-65E8-42EA7090A370}"/>
          </ac:spMkLst>
        </pc:spChg>
        <pc:spChg chg="mod">
          <ac:chgData name="Kennan, Rod" userId="3f6eb9a3-076c-4368-93e3-821101c8dc68" providerId="ADAL" clId="{F0186C47-F7CF-4F79-81A4-D4EBC59EF651}" dt="2024-11-10T04:45:50.140" v="2081" actId="207"/>
          <ac:spMkLst>
            <pc:docMk/>
            <pc:sldMk cId="2105573941" sldId="2147479145"/>
            <ac:spMk id="45" creationId="{B34F3206-5D41-6BAA-813F-026CDA43C7F2}"/>
          </ac:spMkLst>
        </pc:spChg>
        <pc:spChg chg="mod">
          <ac:chgData name="Kennan, Rod" userId="3f6eb9a3-076c-4368-93e3-821101c8dc68" providerId="ADAL" clId="{F0186C47-F7CF-4F79-81A4-D4EBC59EF651}" dt="2024-11-10T04:47:33.935" v="2087" actId="207"/>
          <ac:spMkLst>
            <pc:docMk/>
            <pc:sldMk cId="2105573941" sldId="2147479145"/>
            <ac:spMk id="51" creationId="{93985E9A-962D-FAAE-F2B5-ED9C6018491E}"/>
          </ac:spMkLst>
        </pc:spChg>
        <pc:spChg chg="mod">
          <ac:chgData name="Kennan, Rod" userId="3f6eb9a3-076c-4368-93e3-821101c8dc68" providerId="ADAL" clId="{F0186C47-F7CF-4F79-81A4-D4EBC59EF651}" dt="2024-11-10T04:46:39.261" v="2084" actId="207"/>
          <ac:spMkLst>
            <pc:docMk/>
            <pc:sldMk cId="2105573941" sldId="2147479145"/>
            <ac:spMk id="54" creationId="{9B9B478D-CFAC-0897-82E3-80F7D30E53EF}"/>
          </ac:spMkLst>
        </pc:spChg>
        <pc:spChg chg="mod">
          <ac:chgData name="Kennan, Rod" userId="3f6eb9a3-076c-4368-93e3-821101c8dc68" providerId="ADAL" clId="{F0186C47-F7CF-4F79-81A4-D4EBC59EF651}" dt="2024-11-10T04:46:15.306" v="2082" actId="207"/>
          <ac:spMkLst>
            <pc:docMk/>
            <pc:sldMk cId="2105573941" sldId="2147479145"/>
            <ac:spMk id="57" creationId="{8EF72E0A-F995-9186-C0FF-612187072423}"/>
          </ac:spMkLst>
        </pc:spChg>
        <pc:spChg chg="mod">
          <ac:chgData name="Kennan, Rod" userId="3f6eb9a3-076c-4368-93e3-821101c8dc68" providerId="ADAL" clId="{F0186C47-F7CF-4F79-81A4-D4EBC59EF651}" dt="2024-11-10T04:48:17.199" v="2091" actId="20577"/>
          <ac:spMkLst>
            <pc:docMk/>
            <pc:sldMk cId="2105573941" sldId="2147479145"/>
            <ac:spMk id="61" creationId="{D50D191F-2669-633A-F317-3D3EF5E96D8A}"/>
          </ac:spMkLst>
        </pc:spChg>
        <pc:spChg chg="mod">
          <ac:chgData name="Kennan, Rod" userId="3f6eb9a3-076c-4368-93e3-821101c8dc68" providerId="ADAL" clId="{F0186C47-F7CF-4F79-81A4-D4EBC59EF651}" dt="2024-11-10T04:47:21.157" v="2086" actId="207"/>
          <ac:spMkLst>
            <pc:docMk/>
            <pc:sldMk cId="2105573941" sldId="2147479145"/>
            <ac:spMk id="73" creationId="{ED1FB69D-2000-2AE8-3142-9233DD918DC7}"/>
          </ac:spMkLst>
        </pc:spChg>
        <pc:spChg chg="mod">
          <ac:chgData name="Kennan, Rod" userId="3f6eb9a3-076c-4368-93e3-821101c8dc68" providerId="ADAL" clId="{F0186C47-F7CF-4F79-81A4-D4EBC59EF651}" dt="2024-11-10T04:45:30.316" v="2080" actId="20577"/>
          <ac:spMkLst>
            <pc:docMk/>
            <pc:sldMk cId="2105573941" sldId="2147479145"/>
            <ac:spMk id="76" creationId="{18259C70-7F52-2C4A-E036-2AF5D4321B5F}"/>
          </ac:spMkLst>
        </pc:spChg>
      </pc:sldChg>
      <pc:sldChg chg="addSp modSp mod">
        <pc:chgData name="Kennan, Rod" userId="3f6eb9a3-076c-4368-93e3-821101c8dc68" providerId="ADAL" clId="{F0186C47-F7CF-4F79-81A4-D4EBC59EF651}" dt="2024-11-10T04:30:22.822" v="1736" actId="1076"/>
        <pc:sldMkLst>
          <pc:docMk/>
          <pc:sldMk cId="3490114921" sldId="2147479278"/>
        </pc:sldMkLst>
        <pc:spChg chg="mod">
          <ac:chgData name="Kennan, Rod" userId="3f6eb9a3-076c-4368-93e3-821101c8dc68" providerId="ADAL" clId="{F0186C47-F7CF-4F79-81A4-D4EBC59EF651}" dt="2024-11-10T04:13:24.855" v="1686" actId="20577"/>
          <ac:spMkLst>
            <pc:docMk/>
            <pc:sldMk cId="3490114921" sldId="2147479278"/>
            <ac:spMk id="10" creationId="{C13A7825-E198-E14F-1E2A-C0222ED9F8B6}"/>
          </ac:spMkLst>
        </pc:spChg>
        <pc:spChg chg="mod">
          <ac:chgData name="Kennan, Rod" userId="3f6eb9a3-076c-4368-93e3-821101c8dc68" providerId="ADAL" clId="{F0186C47-F7CF-4F79-81A4-D4EBC59EF651}" dt="2024-11-10T04:11:38.069" v="1568" actId="27636"/>
          <ac:spMkLst>
            <pc:docMk/>
            <pc:sldMk cId="3490114921" sldId="2147479278"/>
            <ac:spMk id="11" creationId="{76732743-A872-08C2-F3B3-E6117F0A8226}"/>
          </ac:spMkLst>
        </pc:spChg>
        <pc:grpChg chg="add mod">
          <ac:chgData name="Kennan, Rod" userId="3f6eb9a3-076c-4368-93e3-821101c8dc68" providerId="ADAL" clId="{F0186C47-F7CF-4F79-81A4-D4EBC59EF651}" dt="2024-11-10T04:30:22.822" v="1736" actId="1076"/>
          <ac:grpSpMkLst>
            <pc:docMk/>
            <pc:sldMk cId="3490114921" sldId="2147479278"/>
            <ac:grpSpMk id="4" creationId="{C3B99EC1-A6ED-AEEB-6343-4C2E61048A5E}"/>
          </ac:grpSpMkLst>
        </pc:grpChg>
        <pc:picChg chg="mod">
          <ac:chgData name="Kennan, Rod" userId="3f6eb9a3-076c-4368-93e3-821101c8dc68" providerId="ADAL" clId="{F0186C47-F7CF-4F79-81A4-D4EBC59EF651}" dt="2024-11-10T04:30:17.862" v="1735" actId="1076"/>
          <ac:picMkLst>
            <pc:docMk/>
            <pc:sldMk cId="3490114921" sldId="2147479278"/>
            <ac:picMk id="2" creationId="{12AB4682-1DFF-2142-4F06-8C0C9F9910E1}"/>
          </ac:picMkLst>
        </pc:picChg>
        <pc:picChg chg="mod">
          <ac:chgData name="Kennan, Rod" userId="3f6eb9a3-076c-4368-93e3-821101c8dc68" providerId="ADAL" clId="{F0186C47-F7CF-4F79-81A4-D4EBC59EF651}" dt="2024-11-10T04:30:05.132" v="1733"/>
          <ac:picMkLst>
            <pc:docMk/>
            <pc:sldMk cId="3490114921" sldId="2147479278"/>
            <ac:picMk id="6" creationId="{80161981-49DE-0483-CBCA-B42B4532C7FD}"/>
          </ac:picMkLst>
        </pc:picChg>
        <pc:picChg chg="mod">
          <ac:chgData name="Kennan, Rod" userId="3f6eb9a3-076c-4368-93e3-821101c8dc68" providerId="ADAL" clId="{F0186C47-F7CF-4F79-81A4-D4EBC59EF651}" dt="2024-11-10T04:30:05.132" v="1733"/>
          <ac:picMkLst>
            <pc:docMk/>
            <pc:sldMk cId="3490114921" sldId="2147479278"/>
            <ac:picMk id="7" creationId="{73C7F457-04DC-1ED7-E3D4-4709A4FFE35A}"/>
          </ac:picMkLst>
        </pc:picChg>
      </pc:sldChg>
      <pc:sldChg chg="del">
        <pc:chgData name="Kennan, Rod" userId="3f6eb9a3-076c-4368-93e3-821101c8dc68" providerId="ADAL" clId="{F0186C47-F7CF-4F79-81A4-D4EBC59EF651}" dt="2024-11-04T01:07:20.495" v="118" actId="47"/>
        <pc:sldMkLst>
          <pc:docMk/>
          <pc:sldMk cId="1184270491" sldId="2147479464"/>
        </pc:sldMkLst>
      </pc:sldChg>
      <pc:sldChg chg="del">
        <pc:chgData name="Kennan, Rod" userId="3f6eb9a3-076c-4368-93e3-821101c8dc68" providerId="ADAL" clId="{F0186C47-F7CF-4F79-81A4-D4EBC59EF651}" dt="2024-11-04T01:07:21.277" v="119" actId="47"/>
        <pc:sldMkLst>
          <pc:docMk/>
          <pc:sldMk cId="2965635793" sldId="2147479466"/>
        </pc:sldMkLst>
      </pc:sldChg>
      <pc:sldChg chg="del">
        <pc:chgData name="Kennan, Rod" userId="3f6eb9a3-076c-4368-93e3-821101c8dc68" providerId="ADAL" clId="{F0186C47-F7CF-4F79-81A4-D4EBC59EF651}" dt="2024-11-04T01:07:22.126" v="120" actId="47"/>
        <pc:sldMkLst>
          <pc:docMk/>
          <pc:sldMk cId="2900038770" sldId="2147479467"/>
        </pc:sldMkLst>
      </pc:sldChg>
      <pc:sldChg chg="addSp delSp modSp del mod ord chgLayout">
        <pc:chgData name="Kennan, Rod" userId="3f6eb9a3-076c-4368-93e3-821101c8dc68" providerId="ADAL" clId="{F0186C47-F7CF-4F79-81A4-D4EBC59EF651}" dt="2024-11-10T04:39:12.713" v="2056" actId="47"/>
        <pc:sldMkLst>
          <pc:docMk/>
          <pc:sldMk cId="963115241" sldId="2147479470"/>
        </pc:sldMkLst>
        <pc:spChg chg="mod ord">
          <ac:chgData name="Kennan, Rod" userId="3f6eb9a3-076c-4368-93e3-821101c8dc68" providerId="ADAL" clId="{F0186C47-F7CF-4F79-81A4-D4EBC59EF651}" dt="2024-11-04T00:45:05.770" v="6" actId="6264"/>
          <ac:spMkLst>
            <pc:docMk/>
            <pc:sldMk cId="963115241" sldId="2147479470"/>
            <ac:spMk id="2" creationId="{E27AC18F-C366-9116-FB3F-207658DB55F0}"/>
          </ac:spMkLst>
        </pc:spChg>
        <pc:spChg chg="mod ord">
          <ac:chgData name="Kennan, Rod" userId="3f6eb9a3-076c-4368-93e3-821101c8dc68" providerId="ADAL" clId="{F0186C47-F7CF-4F79-81A4-D4EBC59EF651}" dt="2024-11-09T19:00:46.691" v="706" actId="15"/>
          <ac:spMkLst>
            <pc:docMk/>
            <pc:sldMk cId="963115241" sldId="2147479470"/>
            <ac:spMk id="3" creationId="{E94E4049-DF15-2ED6-B2BE-379D599586A9}"/>
          </ac:spMkLst>
        </pc:spChg>
        <pc:spChg chg="mod ord">
          <ac:chgData name="Kennan, Rod" userId="3f6eb9a3-076c-4368-93e3-821101c8dc68" providerId="ADAL" clId="{F0186C47-F7CF-4F79-81A4-D4EBC59EF651}" dt="2024-11-04T00:45:05.770" v="6" actId="6264"/>
          <ac:spMkLst>
            <pc:docMk/>
            <pc:sldMk cId="963115241" sldId="2147479470"/>
            <ac:spMk id="4" creationId="{F5AAADFF-856C-1FA0-7754-69FE90C6DCA8}"/>
          </ac:spMkLst>
        </pc:spChg>
        <pc:spChg chg="mod ord">
          <ac:chgData name="Kennan, Rod" userId="3f6eb9a3-076c-4368-93e3-821101c8dc68" providerId="ADAL" clId="{F0186C47-F7CF-4F79-81A4-D4EBC59EF651}" dt="2024-11-09T19:03:23.309" v="761" actId="20577"/>
          <ac:spMkLst>
            <pc:docMk/>
            <pc:sldMk cId="963115241" sldId="2147479470"/>
            <ac:spMk id="5" creationId="{F86984C2-9F4B-618E-F75E-FFEB3E523EE2}"/>
          </ac:spMkLst>
        </pc:spChg>
        <pc:spChg chg="add del mod">
          <ac:chgData name="Kennan, Rod" userId="3f6eb9a3-076c-4368-93e3-821101c8dc68" providerId="ADAL" clId="{F0186C47-F7CF-4F79-81A4-D4EBC59EF651}" dt="2024-11-04T00:45:05.770" v="6" actId="6264"/>
          <ac:spMkLst>
            <pc:docMk/>
            <pc:sldMk cId="963115241" sldId="2147479470"/>
            <ac:spMk id="6" creationId="{5D8A3E71-E755-CC5B-5D6E-65DED93297B4}"/>
          </ac:spMkLst>
        </pc:spChg>
        <pc:spChg chg="add del mod">
          <ac:chgData name="Kennan, Rod" userId="3f6eb9a3-076c-4368-93e3-821101c8dc68" providerId="ADAL" clId="{F0186C47-F7CF-4F79-81A4-D4EBC59EF651}" dt="2024-11-04T00:45:05.770" v="6" actId="6264"/>
          <ac:spMkLst>
            <pc:docMk/>
            <pc:sldMk cId="963115241" sldId="2147479470"/>
            <ac:spMk id="7" creationId="{AADBCF7E-B8A9-81B4-0E98-8722A3AD610C}"/>
          </ac:spMkLst>
        </pc:spChg>
        <pc:spChg chg="add del mod">
          <ac:chgData name="Kennan, Rod" userId="3f6eb9a3-076c-4368-93e3-821101c8dc68" providerId="ADAL" clId="{F0186C47-F7CF-4F79-81A4-D4EBC59EF651}" dt="2024-11-04T00:45:05.770" v="6" actId="6264"/>
          <ac:spMkLst>
            <pc:docMk/>
            <pc:sldMk cId="963115241" sldId="2147479470"/>
            <ac:spMk id="8" creationId="{5A6BAEFB-5EB9-8D70-C65B-FEDD5BB8D815}"/>
          </ac:spMkLst>
        </pc:spChg>
        <pc:spChg chg="add del mod">
          <ac:chgData name="Kennan, Rod" userId="3f6eb9a3-076c-4368-93e3-821101c8dc68" providerId="ADAL" clId="{F0186C47-F7CF-4F79-81A4-D4EBC59EF651}" dt="2024-11-04T00:45:05.770" v="6" actId="6264"/>
          <ac:spMkLst>
            <pc:docMk/>
            <pc:sldMk cId="963115241" sldId="2147479470"/>
            <ac:spMk id="9" creationId="{AE57A42F-3136-7EFA-6B13-43B2DD112F55}"/>
          </ac:spMkLst>
        </pc:spChg>
        <pc:picChg chg="mod">
          <ac:chgData name="Kennan, Rod" userId="3f6eb9a3-076c-4368-93e3-821101c8dc68" providerId="ADAL" clId="{F0186C47-F7CF-4F79-81A4-D4EBC59EF651}" dt="2024-11-09T19:01:39.503" v="720" actId="1036"/>
          <ac:picMkLst>
            <pc:docMk/>
            <pc:sldMk cId="963115241" sldId="2147479470"/>
            <ac:picMk id="6" creationId="{9076E989-ED9C-644B-8161-2115AE55D587}"/>
          </ac:picMkLst>
        </pc:picChg>
        <pc:picChg chg="add mod">
          <ac:chgData name="Kennan, Rod" userId="3f6eb9a3-076c-4368-93e3-821101c8dc68" providerId="ADAL" clId="{F0186C47-F7CF-4F79-81A4-D4EBC59EF651}" dt="2024-11-04T00:46:30.786" v="112" actId="1076"/>
          <ac:picMkLst>
            <pc:docMk/>
            <pc:sldMk cId="963115241" sldId="2147479470"/>
            <ac:picMk id="10" creationId="{78A164B6-1379-A0EB-83F2-D7C275489B34}"/>
          </ac:picMkLst>
        </pc:picChg>
        <pc:picChg chg="add del mod">
          <ac:chgData name="Kennan, Rod" userId="3f6eb9a3-076c-4368-93e3-821101c8dc68" providerId="ADAL" clId="{F0186C47-F7CF-4F79-81A4-D4EBC59EF651}" dt="2024-11-04T00:46:11.427" v="35" actId="478"/>
          <ac:picMkLst>
            <pc:docMk/>
            <pc:sldMk cId="963115241" sldId="2147479470"/>
            <ac:picMk id="11" creationId="{45B2ADDB-4875-C9A2-2830-C6A5E543999A}"/>
          </ac:picMkLst>
        </pc:picChg>
        <pc:picChg chg="add mod">
          <ac:chgData name="Kennan, Rod" userId="3f6eb9a3-076c-4368-93e3-821101c8dc68" providerId="ADAL" clId="{F0186C47-F7CF-4F79-81A4-D4EBC59EF651}" dt="2024-11-09T19:01:43.804" v="721" actId="14100"/>
          <ac:picMkLst>
            <pc:docMk/>
            <pc:sldMk cId="963115241" sldId="2147479470"/>
            <ac:picMk id="1026" creationId="{9A1A00F5-9F10-CF9A-FCF5-2405AC21AD69}"/>
          </ac:picMkLst>
        </pc:picChg>
      </pc:sldChg>
      <pc:sldChg chg="delSp modSp mod">
        <pc:chgData name="Kennan, Rod" userId="3f6eb9a3-076c-4368-93e3-821101c8dc68" providerId="ADAL" clId="{F0186C47-F7CF-4F79-81A4-D4EBC59EF651}" dt="2024-11-10T04:27:30.564" v="1725" actId="478"/>
        <pc:sldMkLst>
          <pc:docMk/>
          <pc:sldMk cId="2175385063" sldId="2147479471"/>
        </pc:sldMkLst>
        <pc:spChg chg="del">
          <ac:chgData name="Kennan, Rod" userId="3f6eb9a3-076c-4368-93e3-821101c8dc68" providerId="ADAL" clId="{F0186C47-F7CF-4F79-81A4-D4EBC59EF651}" dt="2024-11-10T04:27:30.564" v="1725" actId="478"/>
          <ac:spMkLst>
            <pc:docMk/>
            <pc:sldMk cId="2175385063" sldId="2147479471"/>
            <ac:spMk id="15" creationId="{698913B9-3ACE-EE8B-223E-736E5EA02E06}"/>
          </ac:spMkLst>
        </pc:spChg>
        <pc:picChg chg="mod">
          <ac:chgData name="Kennan, Rod" userId="3f6eb9a3-076c-4368-93e3-821101c8dc68" providerId="ADAL" clId="{F0186C47-F7CF-4F79-81A4-D4EBC59EF651}" dt="2024-11-10T04:27:02.430" v="1724" actId="692"/>
          <ac:picMkLst>
            <pc:docMk/>
            <pc:sldMk cId="2175385063" sldId="2147479471"/>
            <ac:picMk id="12" creationId="{9DF0FA39-1FEA-0CFD-5D5B-6315D7395909}"/>
          </ac:picMkLst>
        </pc:picChg>
      </pc:sldChg>
      <pc:sldChg chg="addSp delSp modSp mod ord">
        <pc:chgData name="Kennan, Rod" userId="3f6eb9a3-076c-4368-93e3-821101c8dc68" providerId="ADAL" clId="{F0186C47-F7CF-4F79-81A4-D4EBC59EF651}" dt="2024-11-10T05:26:26.028" v="3463" actId="20577"/>
        <pc:sldMkLst>
          <pc:docMk/>
          <pc:sldMk cId="895973940" sldId="2147483231"/>
        </pc:sldMkLst>
        <pc:spChg chg="del">
          <ac:chgData name="Kennan, Rod" userId="3f6eb9a3-076c-4368-93e3-821101c8dc68" providerId="ADAL" clId="{F0186C47-F7CF-4F79-81A4-D4EBC59EF651}" dt="2024-11-10T03:47:14.274" v="1386" actId="478"/>
          <ac:spMkLst>
            <pc:docMk/>
            <pc:sldMk cId="895973940" sldId="2147483231"/>
            <ac:spMk id="3" creationId="{18D3F6C5-788A-2B45-1A63-705A1ABBB00F}"/>
          </ac:spMkLst>
        </pc:spChg>
        <pc:spChg chg="mod">
          <ac:chgData name="Kennan, Rod" userId="3f6eb9a3-076c-4368-93e3-821101c8dc68" providerId="ADAL" clId="{F0186C47-F7CF-4F79-81A4-D4EBC59EF651}" dt="2024-11-10T03:52:08.475" v="1441" actId="14100"/>
          <ac:spMkLst>
            <pc:docMk/>
            <pc:sldMk cId="895973940" sldId="2147483231"/>
            <ac:spMk id="5" creationId="{8CE0C36B-2B1D-7308-A2D4-DA93E35F9DE4}"/>
          </ac:spMkLst>
        </pc:spChg>
        <pc:spChg chg="mod">
          <ac:chgData name="Kennan, Rod" userId="3f6eb9a3-076c-4368-93e3-821101c8dc68" providerId="ADAL" clId="{F0186C47-F7CF-4F79-81A4-D4EBC59EF651}" dt="2024-11-10T04:04:08.713" v="1476" actId="1076"/>
          <ac:spMkLst>
            <pc:docMk/>
            <pc:sldMk cId="895973940" sldId="2147483231"/>
            <ac:spMk id="6" creationId="{12EC20E9-A813-C332-B4F6-C93C11BD81B9}"/>
          </ac:spMkLst>
        </pc:spChg>
        <pc:graphicFrameChg chg="add mod modGraphic">
          <ac:chgData name="Kennan, Rod" userId="3f6eb9a3-076c-4368-93e3-821101c8dc68" providerId="ADAL" clId="{F0186C47-F7CF-4F79-81A4-D4EBC59EF651}" dt="2024-11-10T05:26:26.028" v="3463" actId="20577"/>
          <ac:graphicFrameMkLst>
            <pc:docMk/>
            <pc:sldMk cId="895973940" sldId="2147483231"/>
            <ac:graphicFrameMk id="2" creationId="{7D4C07B9-151A-5FA1-2928-83089B03F8F4}"/>
          </ac:graphicFrameMkLst>
        </pc:graphicFrameChg>
        <pc:graphicFrameChg chg="del modGraphic">
          <ac:chgData name="Kennan, Rod" userId="3f6eb9a3-076c-4368-93e3-821101c8dc68" providerId="ADAL" clId="{F0186C47-F7CF-4F79-81A4-D4EBC59EF651}" dt="2024-11-10T03:47:10.362" v="1385" actId="478"/>
          <ac:graphicFrameMkLst>
            <pc:docMk/>
            <pc:sldMk cId="895973940" sldId="2147483231"/>
            <ac:graphicFrameMk id="4" creationId="{7E44F9DB-24D8-3F33-F9CA-260715E33A48}"/>
          </ac:graphicFrameMkLst>
        </pc:graphicFrameChg>
        <pc:graphicFrameChg chg="add mod modGraphic">
          <ac:chgData name="Kennan, Rod" userId="3f6eb9a3-076c-4368-93e3-821101c8dc68" providerId="ADAL" clId="{F0186C47-F7CF-4F79-81A4-D4EBC59EF651}" dt="2024-11-10T04:04:08.713" v="1476" actId="1076"/>
          <ac:graphicFrameMkLst>
            <pc:docMk/>
            <pc:sldMk cId="895973940" sldId="2147483231"/>
            <ac:graphicFrameMk id="9" creationId="{DF02A8BB-C0C8-091E-DF80-9F347ED1FE92}"/>
          </ac:graphicFrameMkLst>
        </pc:graphicFrameChg>
        <pc:picChg chg="add mod">
          <ac:chgData name="Kennan, Rod" userId="3f6eb9a3-076c-4368-93e3-821101c8dc68" providerId="ADAL" clId="{F0186C47-F7CF-4F79-81A4-D4EBC59EF651}" dt="2024-11-10T03:51:00.299" v="1433" actId="14100"/>
          <ac:picMkLst>
            <pc:docMk/>
            <pc:sldMk cId="895973940" sldId="2147483231"/>
            <ac:picMk id="1025" creationId="{E7BCD83C-39CE-8E8E-2790-E52B59D9BEAB}"/>
          </ac:picMkLst>
        </pc:picChg>
        <pc:picChg chg="del">
          <ac:chgData name="Kennan, Rod" userId="3f6eb9a3-076c-4368-93e3-821101c8dc68" providerId="ADAL" clId="{F0186C47-F7CF-4F79-81A4-D4EBC59EF651}" dt="2024-11-10T03:49:51.573" v="1399" actId="478"/>
          <ac:picMkLst>
            <pc:docMk/>
            <pc:sldMk cId="895973940" sldId="2147483231"/>
            <ac:picMk id="1026" creationId="{7115D983-A235-190A-DCBF-E7E8AE84FC66}"/>
          </ac:picMkLst>
        </pc:picChg>
      </pc:sldChg>
      <pc:sldChg chg="addSp delSp modSp mod ord">
        <pc:chgData name="Kennan, Rod" userId="3f6eb9a3-076c-4368-93e3-821101c8dc68" providerId="ADAL" clId="{F0186C47-F7CF-4F79-81A4-D4EBC59EF651}" dt="2024-11-10T04:08:27.095" v="1542" actId="14100"/>
        <pc:sldMkLst>
          <pc:docMk/>
          <pc:sldMk cId="1612573760" sldId="2147483232"/>
        </pc:sldMkLst>
        <pc:spChg chg="del">
          <ac:chgData name="Kennan, Rod" userId="3f6eb9a3-076c-4368-93e3-821101c8dc68" providerId="ADAL" clId="{F0186C47-F7CF-4F79-81A4-D4EBC59EF651}" dt="2024-11-10T04:05:36.113" v="1483" actId="478"/>
          <ac:spMkLst>
            <pc:docMk/>
            <pc:sldMk cId="1612573760" sldId="2147483232"/>
            <ac:spMk id="2" creationId="{6F2FA4F3-C50B-C361-2532-804EB338D585}"/>
          </ac:spMkLst>
        </pc:spChg>
        <pc:spChg chg="del">
          <ac:chgData name="Kennan, Rod" userId="3f6eb9a3-076c-4368-93e3-821101c8dc68" providerId="ADAL" clId="{F0186C47-F7CF-4F79-81A4-D4EBC59EF651}" dt="2024-11-10T03:52:32.858" v="1442" actId="478"/>
          <ac:spMkLst>
            <pc:docMk/>
            <pc:sldMk cId="1612573760" sldId="2147483232"/>
            <ac:spMk id="5" creationId="{F59CDBA4-3E37-646F-2D5B-E8E10A19C1DB}"/>
          </ac:spMkLst>
        </pc:spChg>
        <pc:spChg chg="mod">
          <ac:chgData name="Kennan, Rod" userId="3f6eb9a3-076c-4368-93e3-821101c8dc68" providerId="ADAL" clId="{F0186C47-F7CF-4F79-81A4-D4EBC59EF651}" dt="2024-11-10T04:07:01.863" v="1511" actId="1036"/>
          <ac:spMkLst>
            <pc:docMk/>
            <pc:sldMk cId="1612573760" sldId="2147483232"/>
            <ac:spMk id="7" creationId="{3ADBD1FA-67B1-4AFE-B454-1D875DDF4F95}"/>
          </ac:spMkLst>
        </pc:spChg>
        <pc:graphicFrameChg chg="del">
          <ac:chgData name="Kennan, Rod" userId="3f6eb9a3-076c-4368-93e3-821101c8dc68" providerId="ADAL" clId="{F0186C47-F7CF-4F79-81A4-D4EBC59EF651}" dt="2024-11-10T04:05:51.788" v="1485" actId="478"/>
          <ac:graphicFrameMkLst>
            <pc:docMk/>
            <pc:sldMk cId="1612573760" sldId="2147483232"/>
            <ac:graphicFrameMk id="3" creationId="{1730720F-2024-298A-215B-4F911AF8FEAC}"/>
          </ac:graphicFrameMkLst>
        </pc:graphicFrameChg>
        <pc:graphicFrameChg chg="del">
          <ac:chgData name="Kennan, Rod" userId="3f6eb9a3-076c-4368-93e3-821101c8dc68" providerId="ADAL" clId="{F0186C47-F7CF-4F79-81A4-D4EBC59EF651}" dt="2024-11-10T04:05:13.087" v="1479" actId="478"/>
          <ac:graphicFrameMkLst>
            <pc:docMk/>
            <pc:sldMk cId="1612573760" sldId="2147483232"/>
            <ac:graphicFrameMk id="4" creationId="{259E4C03-D044-58FC-D8FA-155031D250E6}"/>
          </ac:graphicFrameMkLst>
        </pc:graphicFrameChg>
        <pc:graphicFrameChg chg="add mod">
          <ac:chgData name="Kennan, Rod" userId="3f6eb9a3-076c-4368-93e3-821101c8dc68" providerId="ADAL" clId="{F0186C47-F7CF-4F79-81A4-D4EBC59EF651}" dt="2024-11-10T04:05:15.012" v="1480"/>
          <ac:graphicFrameMkLst>
            <pc:docMk/>
            <pc:sldMk cId="1612573760" sldId="2147483232"/>
            <ac:graphicFrameMk id="6" creationId="{8E0E3223-B909-7ED9-12EF-024088C877C0}"/>
          </ac:graphicFrameMkLst>
        </pc:graphicFrameChg>
        <pc:graphicFrameChg chg="add mod modGraphic">
          <ac:chgData name="Kennan, Rod" userId="3f6eb9a3-076c-4368-93e3-821101c8dc68" providerId="ADAL" clId="{F0186C47-F7CF-4F79-81A4-D4EBC59EF651}" dt="2024-11-10T04:08:27.095" v="1542" actId="14100"/>
          <ac:graphicFrameMkLst>
            <pc:docMk/>
            <pc:sldMk cId="1612573760" sldId="2147483232"/>
            <ac:graphicFrameMk id="9" creationId="{D07211D8-F799-7BA8-AFED-B7C337FC5A5A}"/>
          </ac:graphicFrameMkLst>
        </pc:graphicFrameChg>
      </pc:sldChg>
      <pc:sldChg chg="modSp mod">
        <pc:chgData name="Kennan, Rod" userId="3f6eb9a3-076c-4368-93e3-821101c8dc68" providerId="ADAL" clId="{F0186C47-F7CF-4F79-81A4-D4EBC59EF651}" dt="2024-11-10T03:41:36.253" v="1371" actId="14100"/>
        <pc:sldMkLst>
          <pc:docMk/>
          <pc:sldMk cId="3064189427" sldId="2147483234"/>
        </pc:sldMkLst>
        <pc:spChg chg="mod">
          <ac:chgData name="Kennan, Rod" userId="3f6eb9a3-076c-4368-93e3-821101c8dc68" providerId="ADAL" clId="{F0186C47-F7CF-4F79-81A4-D4EBC59EF651}" dt="2024-11-10T03:41:01.309" v="1367" actId="1076"/>
          <ac:spMkLst>
            <pc:docMk/>
            <pc:sldMk cId="3064189427" sldId="2147483234"/>
            <ac:spMk id="3" creationId="{B2710E61-EA71-1064-426F-370CA4F856C2}"/>
          </ac:spMkLst>
        </pc:spChg>
        <pc:spChg chg="mod">
          <ac:chgData name="Kennan, Rod" userId="3f6eb9a3-076c-4368-93e3-821101c8dc68" providerId="ADAL" clId="{F0186C47-F7CF-4F79-81A4-D4EBC59EF651}" dt="2024-11-10T03:41:19.066" v="1369" actId="1076"/>
          <ac:spMkLst>
            <pc:docMk/>
            <pc:sldMk cId="3064189427" sldId="2147483234"/>
            <ac:spMk id="12" creationId="{4881412F-F45C-4064-B0DF-4EDD1E8871DB}"/>
          </ac:spMkLst>
        </pc:spChg>
        <pc:spChg chg="mod">
          <ac:chgData name="Kennan, Rod" userId="3f6eb9a3-076c-4368-93e3-821101c8dc68" providerId="ADAL" clId="{F0186C47-F7CF-4F79-81A4-D4EBC59EF651}" dt="2024-11-10T03:41:09.373" v="1368" actId="1076"/>
          <ac:spMkLst>
            <pc:docMk/>
            <pc:sldMk cId="3064189427" sldId="2147483234"/>
            <ac:spMk id="14" creationId="{45ACA8CA-DB38-68AD-8C79-4F8FF62177F8}"/>
          </ac:spMkLst>
        </pc:spChg>
        <pc:picChg chg="mod">
          <ac:chgData name="Kennan, Rod" userId="3f6eb9a3-076c-4368-93e3-821101c8dc68" providerId="ADAL" clId="{F0186C47-F7CF-4F79-81A4-D4EBC59EF651}" dt="2024-11-10T03:41:36.253" v="1371" actId="14100"/>
          <ac:picMkLst>
            <pc:docMk/>
            <pc:sldMk cId="3064189427" sldId="2147483234"/>
            <ac:picMk id="6" creationId="{4E4F9196-AC09-304F-D559-6002FB18E9BE}"/>
          </ac:picMkLst>
        </pc:picChg>
        <pc:picChg chg="mod">
          <ac:chgData name="Kennan, Rod" userId="3f6eb9a3-076c-4368-93e3-821101c8dc68" providerId="ADAL" clId="{F0186C47-F7CF-4F79-81A4-D4EBC59EF651}" dt="2024-11-10T03:40:51.517" v="1366" actId="1076"/>
          <ac:picMkLst>
            <pc:docMk/>
            <pc:sldMk cId="3064189427" sldId="2147483234"/>
            <ac:picMk id="8" creationId="{92AAE7C7-F7B2-49D3-BD07-6C6C9F30E600}"/>
          </ac:picMkLst>
        </pc:picChg>
        <pc:picChg chg="mod">
          <ac:chgData name="Kennan, Rod" userId="3f6eb9a3-076c-4368-93e3-821101c8dc68" providerId="ADAL" clId="{F0186C47-F7CF-4F79-81A4-D4EBC59EF651}" dt="2024-11-10T03:40:30.989" v="1365" actId="14100"/>
          <ac:picMkLst>
            <pc:docMk/>
            <pc:sldMk cId="3064189427" sldId="2147483234"/>
            <ac:picMk id="15" creationId="{7E045220-290B-CD44-2C11-4AD8BC8F08C5}"/>
          </ac:picMkLst>
        </pc:picChg>
        <pc:picChg chg="mod">
          <ac:chgData name="Kennan, Rod" userId="3f6eb9a3-076c-4368-93e3-821101c8dc68" providerId="ADAL" clId="{F0186C47-F7CF-4F79-81A4-D4EBC59EF651}" dt="2024-11-10T03:39:56.076" v="1362" actId="1076"/>
          <ac:picMkLst>
            <pc:docMk/>
            <pc:sldMk cId="3064189427" sldId="2147483234"/>
            <ac:picMk id="630786" creationId="{3098F97C-59FE-443A-899D-CE8BED2345AC}"/>
          </ac:picMkLst>
        </pc:picChg>
      </pc:sldChg>
      <pc:sldChg chg="modSp mod">
        <pc:chgData name="Kennan, Rod" userId="3f6eb9a3-076c-4368-93e3-821101c8dc68" providerId="ADAL" clId="{F0186C47-F7CF-4F79-81A4-D4EBC59EF651}" dt="2024-11-10T03:44:58.102" v="1383" actId="1076"/>
        <pc:sldMkLst>
          <pc:docMk/>
          <pc:sldMk cId="3749549044" sldId="2147483235"/>
        </pc:sldMkLst>
        <pc:spChg chg="mod">
          <ac:chgData name="Kennan, Rod" userId="3f6eb9a3-076c-4368-93e3-821101c8dc68" providerId="ADAL" clId="{F0186C47-F7CF-4F79-81A4-D4EBC59EF651}" dt="2024-11-10T03:44:58.102" v="1383" actId="1076"/>
          <ac:spMkLst>
            <pc:docMk/>
            <pc:sldMk cId="3749549044" sldId="2147483235"/>
            <ac:spMk id="4" creationId="{6701620A-6DE3-2C73-C5C7-848A5F7D946E}"/>
          </ac:spMkLst>
        </pc:spChg>
        <pc:spChg chg="mod">
          <ac:chgData name="Kennan, Rod" userId="3f6eb9a3-076c-4368-93e3-821101c8dc68" providerId="ADAL" clId="{F0186C47-F7CF-4F79-81A4-D4EBC59EF651}" dt="2024-11-10T03:44:51.477" v="1382" actId="1076"/>
          <ac:spMkLst>
            <pc:docMk/>
            <pc:sldMk cId="3749549044" sldId="2147483235"/>
            <ac:spMk id="6" creationId="{C86F4A04-25A3-0385-A8B7-8565F409EA1E}"/>
          </ac:spMkLst>
        </pc:spChg>
        <pc:picChg chg="mod">
          <ac:chgData name="Kennan, Rod" userId="3f6eb9a3-076c-4368-93e3-821101c8dc68" providerId="ADAL" clId="{F0186C47-F7CF-4F79-81A4-D4EBC59EF651}" dt="2024-11-10T03:44:35.019" v="1378" actId="1037"/>
          <ac:picMkLst>
            <pc:docMk/>
            <pc:sldMk cId="3749549044" sldId="2147483235"/>
            <ac:picMk id="5" creationId="{AA0C8C4C-C47D-7927-ADBF-9E121A4D6889}"/>
          </ac:picMkLst>
        </pc:picChg>
        <pc:picChg chg="mod">
          <ac:chgData name="Kennan, Rod" userId="3f6eb9a3-076c-4368-93e3-821101c8dc68" providerId="ADAL" clId="{F0186C47-F7CF-4F79-81A4-D4EBC59EF651}" dt="2024-11-10T03:43:44.315" v="1372" actId="1076"/>
          <ac:picMkLst>
            <pc:docMk/>
            <pc:sldMk cId="3749549044" sldId="2147483235"/>
            <ac:picMk id="9" creationId="{9FF0F861-918A-64C4-F0E4-EFB894510ECD}"/>
          </ac:picMkLst>
        </pc:picChg>
      </pc:sldChg>
      <pc:sldChg chg="del">
        <pc:chgData name="Kennan, Rod" userId="3f6eb9a3-076c-4368-93e3-821101c8dc68" providerId="ADAL" clId="{F0186C47-F7CF-4F79-81A4-D4EBC59EF651}" dt="2024-11-10T04:09:11.539" v="1544" actId="47"/>
        <pc:sldMkLst>
          <pc:docMk/>
          <pc:sldMk cId="3877997147" sldId="2147483237"/>
        </pc:sldMkLst>
      </pc:sldChg>
      <pc:sldChg chg="del">
        <pc:chgData name="Kennan, Rod" userId="3f6eb9a3-076c-4368-93e3-821101c8dc68" providerId="ADAL" clId="{F0186C47-F7CF-4F79-81A4-D4EBC59EF651}" dt="2024-11-10T04:09:15.125" v="1545" actId="47"/>
        <pc:sldMkLst>
          <pc:docMk/>
          <pc:sldMk cId="1124419566" sldId="2147483238"/>
        </pc:sldMkLst>
      </pc:sldChg>
      <pc:sldChg chg="delSp modSp mod">
        <pc:chgData name="Kennan, Rod" userId="3f6eb9a3-076c-4368-93e3-821101c8dc68" providerId="ADAL" clId="{F0186C47-F7CF-4F79-81A4-D4EBC59EF651}" dt="2024-11-10T04:40:19.591" v="2075" actId="27636"/>
        <pc:sldMkLst>
          <pc:docMk/>
          <pc:sldMk cId="2123385283" sldId="2147483239"/>
        </pc:sldMkLst>
        <pc:spChg chg="del ord">
          <ac:chgData name="Kennan, Rod" userId="3f6eb9a3-076c-4368-93e3-821101c8dc68" providerId="ADAL" clId="{F0186C47-F7CF-4F79-81A4-D4EBC59EF651}" dt="2024-11-04T00:55:02.449" v="116" actId="478"/>
          <ac:spMkLst>
            <pc:docMk/>
            <pc:sldMk cId="2123385283" sldId="2147483239"/>
            <ac:spMk id="3" creationId="{D16A7808-3367-F16D-8F45-FD767608CF9B}"/>
          </ac:spMkLst>
        </pc:spChg>
        <pc:spChg chg="mod ord">
          <ac:chgData name="Kennan, Rod" userId="3f6eb9a3-076c-4368-93e3-821101c8dc68" providerId="ADAL" clId="{F0186C47-F7CF-4F79-81A4-D4EBC59EF651}" dt="2024-11-10T04:40:19.591" v="2075" actId="27636"/>
          <ac:spMkLst>
            <pc:docMk/>
            <pc:sldMk cId="2123385283" sldId="2147483239"/>
            <ac:spMk id="4" creationId="{6CCCBFFB-5E8B-7712-E4D1-3A7F697314DB}"/>
          </ac:spMkLst>
        </pc:spChg>
        <pc:spChg chg="mod">
          <ac:chgData name="Kennan, Rod" userId="3f6eb9a3-076c-4368-93e3-821101c8dc68" providerId="ADAL" clId="{F0186C47-F7CF-4F79-81A4-D4EBC59EF651}" dt="2024-11-09T19:08:48.284" v="852" actId="20577"/>
          <ac:spMkLst>
            <pc:docMk/>
            <pc:sldMk cId="2123385283" sldId="2147483239"/>
            <ac:spMk id="11" creationId="{FDDC0615-DC5C-061A-0DD8-BCF552485FE8}"/>
          </ac:spMkLst>
        </pc:spChg>
      </pc:sldChg>
      <pc:sldChg chg="modSp del mod">
        <pc:chgData name="Kennan, Rod" userId="3f6eb9a3-076c-4368-93e3-821101c8dc68" providerId="ADAL" clId="{F0186C47-F7CF-4F79-81A4-D4EBC59EF651}" dt="2024-11-10T04:48:26.804" v="2092" actId="47"/>
        <pc:sldMkLst>
          <pc:docMk/>
          <pc:sldMk cId="2045740191" sldId="2147483240"/>
        </pc:sldMkLst>
        <pc:spChg chg="mod">
          <ac:chgData name="Kennan, Rod" userId="3f6eb9a3-076c-4368-93e3-821101c8dc68" providerId="ADAL" clId="{F0186C47-F7CF-4F79-81A4-D4EBC59EF651}" dt="2024-11-10T04:47:53.738" v="2088" actId="20577"/>
          <ac:spMkLst>
            <pc:docMk/>
            <pc:sldMk cId="2045740191" sldId="2147483240"/>
            <ac:spMk id="61" creationId="{933DAEC0-9F23-E925-9D07-6924B8D60EDB}"/>
          </ac:spMkLst>
        </pc:spChg>
      </pc:sldChg>
      <pc:sldChg chg="del">
        <pc:chgData name="Kennan, Rod" userId="3f6eb9a3-076c-4368-93e3-821101c8dc68" providerId="ADAL" clId="{F0186C47-F7CF-4F79-81A4-D4EBC59EF651}" dt="2024-11-04T01:26:55.679" v="221" actId="47"/>
        <pc:sldMkLst>
          <pc:docMk/>
          <pc:sldMk cId="3160022136" sldId="2147483242"/>
        </pc:sldMkLst>
      </pc:sldChg>
      <pc:sldChg chg="addSp delSp modSp mod ord chgLayout">
        <pc:chgData name="Kennan, Rod" userId="3f6eb9a3-076c-4368-93e3-821101c8dc68" providerId="ADAL" clId="{F0186C47-F7CF-4F79-81A4-D4EBC59EF651}" dt="2024-11-10T04:35:30.387" v="2005" actId="20577"/>
        <pc:sldMkLst>
          <pc:docMk/>
          <pc:sldMk cId="1207704805" sldId="2147483244"/>
        </pc:sldMkLst>
        <pc:spChg chg="mod ord">
          <ac:chgData name="Kennan, Rod" userId="3f6eb9a3-076c-4368-93e3-821101c8dc68" providerId="ADAL" clId="{F0186C47-F7CF-4F79-81A4-D4EBC59EF651}" dt="2024-11-10T04:31:36.703" v="1781" actId="20577"/>
          <ac:spMkLst>
            <pc:docMk/>
            <pc:sldMk cId="1207704805" sldId="2147483244"/>
            <ac:spMk id="2" creationId="{61D03D3A-84CD-4BD1-5DEB-B30DBF0F9A6C}"/>
          </ac:spMkLst>
        </pc:spChg>
        <pc:spChg chg="mod ord">
          <ac:chgData name="Kennan, Rod" userId="3f6eb9a3-076c-4368-93e3-821101c8dc68" providerId="ADAL" clId="{F0186C47-F7CF-4F79-81A4-D4EBC59EF651}" dt="2024-11-04T01:28:45.451" v="297" actId="6264"/>
          <ac:spMkLst>
            <pc:docMk/>
            <pc:sldMk cId="1207704805" sldId="2147483244"/>
            <ac:spMk id="3" creationId="{2926C69A-9DB7-B623-0CFD-DB7D994DDAEA}"/>
          </ac:spMkLst>
        </pc:spChg>
        <pc:spChg chg="del mod">
          <ac:chgData name="Kennan, Rod" userId="3f6eb9a3-076c-4368-93e3-821101c8dc68" providerId="ADAL" clId="{F0186C47-F7CF-4F79-81A4-D4EBC59EF651}" dt="2024-11-04T01:28:45.451" v="297" actId="6264"/>
          <ac:spMkLst>
            <pc:docMk/>
            <pc:sldMk cId="1207704805" sldId="2147483244"/>
            <ac:spMk id="4" creationId="{C987D7C3-C29F-BDED-2E19-E3263C8DF7BE}"/>
          </ac:spMkLst>
        </pc:spChg>
        <pc:spChg chg="del">
          <ac:chgData name="Kennan, Rod" userId="3f6eb9a3-076c-4368-93e3-821101c8dc68" providerId="ADAL" clId="{F0186C47-F7CF-4F79-81A4-D4EBC59EF651}" dt="2024-11-10T04:20:14.333" v="1688" actId="478"/>
          <ac:spMkLst>
            <pc:docMk/>
            <pc:sldMk cId="1207704805" sldId="2147483244"/>
            <ac:spMk id="4" creationId="{F9E7B2F2-161E-0F12-58ED-03E6E8F2C56F}"/>
          </ac:spMkLst>
        </pc:spChg>
        <pc:spChg chg="mod ord">
          <ac:chgData name="Kennan, Rod" userId="3f6eb9a3-076c-4368-93e3-821101c8dc68" providerId="ADAL" clId="{F0186C47-F7CF-4F79-81A4-D4EBC59EF651}" dt="2024-11-10T04:35:04.733" v="1979" actId="20577"/>
          <ac:spMkLst>
            <pc:docMk/>
            <pc:sldMk cId="1207704805" sldId="2147483244"/>
            <ac:spMk id="5" creationId="{19CB304C-0960-F2FE-1BFA-3DAB70B3343D}"/>
          </ac:spMkLst>
        </pc:spChg>
        <pc:spChg chg="add del mod">
          <ac:chgData name="Kennan, Rod" userId="3f6eb9a3-076c-4368-93e3-821101c8dc68" providerId="ADAL" clId="{F0186C47-F7CF-4F79-81A4-D4EBC59EF651}" dt="2024-11-04T01:28:45.451" v="297" actId="6264"/>
          <ac:spMkLst>
            <pc:docMk/>
            <pc:sldMk cId="1207704805" sldId="2147483244"/>
            <ac:spMk id="6" creationId="{FF2E67F8-A691-B810-A2F5-A64D3455096C}"/>
          </ac:spMkLst>
        </pc:spChg>
        <pc:spChg chg="add del mod">
          <ac:chgData name="Kennan, Rod" userId="3f6eb9a3-076c-4368-93e3-821101c8dc68" providerId="ADAL" clId="{F0186C47-F7CF-4F79-81A4-D4EBC59EF651}" dt="2024-11-04T01:28:45.451" v="297" actId="6264"/>
          <ac:spMkLst>
            <pc:docMk/>
            <pc:sldMk cId="1207704805" sldId="2147483244"/>
            <ac:spMk id="7" creationId="{084DB22B-DB1D-2FEF-5968-3ACF77F7AB04}"/>
          </ac:spMkLst>
        </pc:spChg>
        <pc:spChg chg="add del mod">
          <ac:chgData name="Kennan, Rod" userId="3f6eb9a3-076c-4368-93e3-821101c8dc68" providerId="ADAL" clId="{F0186C47-F7CF-4F79-81A4-D4EBC59EF651}" dt="2024-11-04T01:28:45.451" v="297" actId="6264"/>
          <ac:spMkLst>
            <pc:docMk/>
            <pc:sldMk cId="1207704805" sldId="2147483244"/>
            <ac:spMk id="8" creationId="{E06F3FE6-27E5-D6C6-D664-8E2EA504BE8D}"/>
          </ac:spMkLst>
        </pc:spChg>
        <pc:spChg chg="add mod ord">
          <ac:chgData name="Kennan, Rod" userId="3f6eb9a3-076c-4368-93e3-821101c8dc68" providerId="ADAL" clId="{F0186C47-F7CF-4F79-81A4-D4EBC59EF651}" dt="2024-11-10T04:35:30.387" v="2005" actId="20577"/>
          <ac:spMkLst>
            <pc:docMk/>
            <pc:sldMk cId="1207704805" sldId="2147483244"/>
            <ac:spMk id="9" creationId="{9F2C50A2-72B4-D783-92FD-D96DB3DE96D0}"/>
          </ac:spMkLst>
        </pc:spChg>
      </pc:sldChg>
      <pc:sldChg chg="del">
        <pc:chgData name="Kennan, Rod" userId="3f6eb9a3-076c-4368-93e3-821101c8dc68" providerId="ADAL" clId="{F0186C47-F7CF-4F79-81A4-D4EBC59EF651}" dt="2024-11-04T01:31:37.292" v="505" actId="47"/>
        <pc:sldMkLst>
          <pc:docMk/>
          <pc:sldMk cId="1442506779" sldId="2147483245"/>
        </pc:sldMkLst>
      </pc:sldChg>
      <pc:sldChg chg="del">
        <pc:chgData name="Kennan, Rod" userId="3f6eb9a3-076c-4368-93e3-821101c8dc68" providerId="ADAL" clId="{F0186C47-F7CF-4F79-81A4-D4EBC59EF651}" dt="2024-11-04T01:31:39.647" v="506" actId="47"/>
        <pc:sldMkLst>
          <pc:docMk/>
          <pc:sldMk cId="271419204" sldId="2147483246"/>
        </pc:sldMkLst>
      </pc:sldChg>
      <pc:sldChg chg="del">
        <pc:chgData name="Kennan, Rod" userId="3f6eb9a3-076c-4368-93e3-821101c8dc68" providerId="ADAL" clId="{F0186C47-F7CF-4F79-81A4-D4EBC59EF651}" dt="2024-11-04T01:31:47.060" v="507" actId="47"/>
        <pc:sldMkLst>
          <pc:docMk/>
          <pc:sldMk cId="846868530" sldId="2147483247"/>
        </pc:sldMkLst>
      </pc:sldChg>
      <pc:sldChg chg="addSp modSp mod">
        <pc:chgData name="Kennan, Rod" userId="3f6eb9a3-076c-4368-93e3-821101c8dc68" providerId="ADAL" clId="{F0186C47-F7CF-4F79-81A4-D4EBC59EF651}" dt="2024-11-04T01:32:12.467" v="525" actId="688"/>
        <pc:sldMkLst>
          <pc:docMk/>
          <pc:sldMk cId="3265769468" sldId="2147483248"/>
        </pc:sldMkLst>
        <pc:spChg chg="add mod">
          <ac:chgData name="Kennan, Rod" userId="3f6eb9a3-076c-4368-93e3-821101c8dc68" providerId="ADAL" clId="{F0186C47-F7CF-4F79-81A4-D4EBC59EF651}" dt="2024-11-04T01:32:12.467" v="525" actId="688"/>
          <ac:spMkLst>
            <pc:docMk/>
            <pc:sldMk cId="3265769468" sldId="2147483248"/>
            <ac:spMk id="3" creationId="{D7D461EE-B08F-9968-0B62-A36069C331A9}"/>
          </ac:spMkLst>
        </pc:spChg>
      </pc:sldChg>
      <pc:sldChg chg="addSp modSp">
        <pc:chgData name="Kennan, Rod" userId="3f6eb9a3-076c-4368-93e3-821101c8dc68" providerId="ADAL" clId="{F0186C47-F7CF-4F79-81A4-D4EBC59EF651}" dt="2024-11-04T01:32:20.074" v="527"/>
        <pc:sldMkLst>
          <pc:docMk/>
          <pc:sldMk cId="3076292046" sldId="2147483249"/>
        </pc:sldMkLst>
        <pc:spChg chg="add mod">
          <ac:chgData name="Kennan, Rod" userId="3f6eb9a3-076c-4368-93e3-821101c8dc68" providerId="ADAL" clId="{F0186C47-F7CF-4F79-81A4-D4EBC59EF651}" dt="2024-11-04T01:32:20.074" v="527"/>
          <ac:spMkLst>
            <pc:docMk/>
            <pc:sldMk cId="3076292046" sldId="2147483249"/>
            <ac:spMk id="3" creationId="{034338F6-0AAF-6157-F268-162B8160133D}"/>
          </ac:spMkLst>
        </pc:spChg>
      </pc:sldChg>
      <pc:sldChg chg="del">
        <pc:chgData name="Kennan, Rod" userId="3f6eb9a3-076c-4368-93e3-821101c8dc68" providerId="ADAL" clId="{F0186C47-F7CF-4F79-81A4-D4EBC59EF651}" dt="2024-11-04T01:32:26.162" v="528" actId="47"/>
        <pc:sldMkLst>
          <pc:docMk/>
          <pc:sldMk cId="2051755027" sldId="2147483250"/>
        </pc:sldMkLst>
      </pc:sldChg>
      <pc:sldChg chg="del">
        <pc:chgData name="Kennan, Rod" userId="3f6eb9a3-076c-4368-93e3-821101c8dc68" providerId="ADAL" clId="{F0186C47-F7CF-4F79-81A4-D4EBC59EF651}" dt="2024-11-04T01:32:28.938" v="529" actId="47"/>
        <pc:sldMkLst>
          <pc:docMk/>
          <pc:sldMk cId="270079798" sldId="2147483251"/>
        </pc:sldMkLst>
      </pc:sldChg>
      <pc:sldChg chg="del">
        <pc:chgData name="Kennan, Rod" userId="3f6eb9a3-076c-4368-93e3-821101c8dc68" providerId="ADAL" clId="{F0186C47-F7CF-4F79-81A4-D4EBC59EF651}" dt="2024-11-04T01:32:29.548" v="530" actId="47"/>
        <pc:sldMkLst>
          <pc:docMk/>
          <pc:sldMk cId="1744206904" sldId="2147483252"/>
        </pc:sldMkLst>
      </pc:sldChg>
      <pc:sldChg chg="del">
        <pc:chgData name="Kennan, Rod" userId="3f6eb9a3-076c-4368-93e3-821101c8dc68" providerId="ADAL" clId="{F0186C47-F7CF-4F79-81A4-D4EBC59EF651}" dt="2024-11-04T01:32:30.756" v="531" actId="47"/>
        <pc:sldMkLst>
          <pc:docMk/>
          <pc:sldMk cId="1467097130" sldId="2147483253"/>
        </pc:sldMkLst>
      </pc:sldChg>
      <pc:sldChg chg="ord modNotes">
        <pc:chgData name="Kennan, Rod" userId="3f6eb9a3-076c-4368-93e3-821101c8dc68" providerId="ADAL" clId="{F0186C47-F7CF-4F79-81A4-D4EBC59EF651}" dt="2024-11-09T19:17:27.959" v="1073"/>
        <pc:sldMkLst>
          <pc:docMk/>
          <pc:sldMk cId="2662736876" sldId="2147483397"/>
        </pc:sldMkLst>
      </pc:sldChg>
      <pc:sldChg chg="mod modShow modNotes">
        <pc:chgData name="Kennan, Rod" userId="3f6eb9a3-076c-4368-93e3-821101c8dc68" providerId="ADAL" clId="{F0186C47-F7CF-4F79-81A4-D4EBC59EF651}" dt="2024-11-09T19:41:30.030" v="1359" actId="729"/>
        <pc:sldMkLst>
          <pc:docMk/>
          <pc:sldMk cId="586300799" sldId="2147483398"/>
        </pc:sldMkLst>
      </pc:sldChg>
      <pc:sldChg chg="mod modShow">
        <pc:chgData name="Kennan, Rod" userId="3f6eb9a3-076c-4368-93e3-821101c8dc68" providerId="ADAL" clId="{F0186C47-F7CF-4F79-81A4-D4EBC59EF651}" dt="2024-11-09T19:41:33.581" v="1360" actId="729"/>
        <pc:sldMkLst>
          <pc:docMk/>
          <pc:sldMk cId="1011948285" sldId="2147483399"/>
        </pc:sldMkLst>
      </pc:sldChg>
      <pc:sldChg chg="del ord">
        <pc:chgData name="Kennan, Rod" userId="3f6eb9a3-076c-4368-93e3-821101c8dc68" providerId="ADAL" clId="{F0186C47-F7CF-4F79-81A4-D4EBC59EF651}" dt="2024-11-04T00:46:41.403" v="113" actId="47"/>
        <pc:sldMkLst>
          <pc:docMk/>
          <pc:sldMk cId="2664281283" sldId="2147483408"/>
        </pc:sldMkLst>
      </pc:sldChg>
      <pc:sldChg chg="addSp modSp mod">
        <pc:chgData name="Kennan, Rod" userId="3f6eb9a3-076c-4368-93e3-821101c8dc68" providerId="ADAL" clId="{F0186C47-F7CF-4F79-81A4-D4EBC59EF651}" dt="2024-11-10T05:05:07.520" v="2599" actId="20577"/>
        <pc:sldMkLst>
          <pc:docMk/>
          <pc:sldMk cId="1627994287" sldId="2147483409"/>
        </pc:sldMkLst>
        <pc:spChg chg="add mod">
          <ac:chgData name="Kennan, Rod" userId="3f6eb9a3-076c-4368-93e3-821101c8dc68" providerId="ADAL" clId="{F0186C47-F7CF-4F79-81A4-D4EBC59EF651}" dt="2024-11-10T05:05:07.520" v="2599" actId="20577"/>
          <ac:spMkLst>
            <pc:docMk/>
            <pc:sldMk cId="1627994287" sldId="2147483409"/>
            <ac:spMk id="2" creationId="{A6AF7207-D7F7-F18F-AB5F-AF324F559849}"/>
          </ac:spMkLst>
        </pc:spChg>
        <pc:picChg chg="mod">
          <ac:chgData name="Kennan, Rod" userId="3f6eb9a3-076c-4368-93e3-821101c8dc68" providerId="ADAL" clId="{F0186C47-F7CF-4F79-81A4-D4EBC59EF651}" dt="2024-11-10T05:04:15.294" v="2467" actId="1036"/>
          <ac:picMkLst>
            <pc:docMk/>
            <pc:sldMk cId="1627994287" sldId="2147483409"/>
            <ac:picMk id="3" creationId="{CFE71172-7898-A2DA-C85C-EF4019368FA0}"/>
          </ac:picMkLst>
        </pc:picChg>
        <pc:picChg chg="mod">
          <ac:chgData name="Kennan, Rod" userId="3f6eb9a3-076c-4368-93e3-821101c8dc68" providerId="ADAL" clId="{F0186C47-F7CF-4F79-81A4-D4EBC59EF651}" dt="2024-11-10T05:04:15.294" v="2467" actId="1036"/>
          <ac:picMkLst>
            <pc:docMk/>
            <pc:sldMk cId="1627994287" sldId="2147483409"/>
            <ac:picMk id="11" creationId="{837074DD-6BE9-B191-9537-71D8D46DFA44}"/>
          </ac:picMkLst>
        </pc:picChg>
      </pc:sldChg>
      <pc:sldChg chg="modSp mod modShow">
        <pc:chgData name="Kennan, Rod" userId="3f6eb9a3-076c-4368-93e3-821101c8dc68" providerId="ADAL" clId="{F0186C47-F7CF-4F79-81A4-D4EBC59EF651}" dt="2024-11-09T19:25:56.664" v="1109" actId="729"/>
        <pc:sldMkLst>
          <pc:docMk/>
          <pc:sldMk cId="1928968687" sldId="2147483411"/>
        </pc:sldMkLst>
        <pc:spChg chg="mod">
          <ac:chgData name="Kennan, Rod" userId="3f6eb9a3-076c-4368-93e3-821101c8dc68" providerId="ADAL" clId="{F0186C47-F7CF-4F79-81A4-D4EBC59EF651}" dt="2024-11-04T01:24:11.218" v="220" actId="20577"/>
          <ac:spMkLst>
            <pc:docMk/>
            <pc:sldMk cId="1928968687" sldId="2147483411"/>
            <ac:spMk id="3" creationId="{E94E4049-DF15-2ED6-B2BE-379D599586A9}"/>
          </ac:spMkLst>
        </pc:spChg>
      </pc:sldChg>
      <pc:sldChg chg="modSp mod">
        <pc:chgData name="Kennan, Rod" userId="3f6eb9a3-076c-4368-93e3-821101c8dc68" providerId="ADAL" clId="{F0186C47-F7CF-4F79-81A4-D4EBC59EF651}" dt="2024-11-09T19:39:00.255" v="1354" actId="167"/>
        <pc:sldMkLst>
          <pc:docMk/>
          <pc:sldMk cId="4079760365" sldId="2147483412"/>
        </pc:sldMkLst>
        <pc:spChg chg="mod">
          <ac:chgData name="Kennan, Rod" userId="3f6eb9a3-076c-4368-93e3-821101c8dc68" providerId="ADAL" clId="{F0186C47-F7CF-4F79-81A4-D4EBC59EF651}" dt="2024-11-09T19:38:51.455" v="1352" actId="1036"/>
          <ac:spMkLst>
            <pc:docMk/>
            <pc:sldMk cId="4079760365" sldId="2147483412"/>
            <ac:spMk id="5" creationId="{E4AA5378-C136-FCE3-A2FB-9CB16E03DBB0}"/>
          </ac:spMkLst>
        </pc:spChg>
        <pc:picChg chg="mod ord">
          <ac:chgData name="Kennan, Rod" userId="3f6eb9a3-076c-4368-93e3-821101c8dc68" providerId="ADAL" clId="{F0186C47-F7CF-4F79-81A4-D4EBC59EF651}" dt="2024-11-09T19:39:00.255" v="1354" actId="167"/>
          <ac:picMkLst>
            <pc:docMk/>
            <pc:sldMk cId="4079760365" sldId="2147483412"/>
            <ac:picMk id="6" creationId="{C1E61EDD-5B97-54BB-1F6A-2B809135F27B}"/>
          </ac:picMkLst>
        </pc:picChg>
      </pc:sldChg>
      <pc:sldChg chg="del">
        <pc:chgData name="Kennan, Rod" userId="3f6eb9a3-076c-4368-93e3-821101c8dc68" providerId="ADAL" clId="{F0186C47-F7CF-4F79-81A4-D4EBC59EF651}" dt="2024-11-04T01:22:11.270" v="121" actId="47"/>
        <pc:sldMkLst>
          <pc:docMk/>
          <pc:sldMk cId="62945823" sldId="2147483419"/>
        </pc:sldMkLst>
      </pc:sldChg>
      <pc:sldChg chg="mod modShow">
        <pc:chgData name="Kennan, Rod" userId="3f6eb9a3-076c-4368-93e3-821101c8dc68" providerId="ADAL" clId="{F0186C47-F7CF-4F79-81A4-D4EBC59EF651}" dt="2024-11-10T04:19:43.095" v="1687" actId="729"/>
        <pc:sldMkLst>
          <pc:docMk/>
          <pc:sldMk cId="386397435" sldId="2147483420"/>
        </pc:sldMkLst>
      </pc:sldChg>
      <pc:sldChg chg="modNotes">
        <pc:chgData name="Kennan, Rod" userId="3f6eb9a3-076c-4368-93e3-821101c8dc68" providerId="ADAL" clId="{F0186C47-F7CF-4F79-81A4-D4EBC59EF651}" dt="2024-11-04T01:07:15.461" v="117" actId="27636"/>
        <pc:sldMkLst>
          <pc:docMk/>
          <pc:sldMk cId="3516013417" sldId="2147483422"/>
        </pc:sldMkLst>
      </pc:sldChg>
      <pc:sldChg chg="addSp delSp modSp new mod modClrScheme chgLayout">
        <pc:chgData name="Kennan, Rod" userId="3f6eb9a3-076c-4368-93e3-821101c8dc68" providerId="ADAL" clId="{F0186C47-F7CF-4F79-81A4-D4EBC59EF651}" dt="2024-11-11T03:38:21.442" v="3791" actId="1035"/>
        <pc:sldMkLst>
          <pc:docMk/>
          <pc:sldMk cId="2711064598" sldId="2147483424"/>
        </pc:sldMkLst>
        <pc:spChg chg="del mod">
          <ac:chgData name="Kennan, Rod" userId="3f6eb9a3-076c-4368-93e3-821101c8dc68" providerId="ADAL" clId="{F0186C47-F7CF-4F79-81A4-D4EBC59EF651}" dt="2024-11-11T03:33:13.371" v="3464" actId="478"/>
          <ac:spMkLst>
            <pc:docMk/>
            <pc:sldMk cId="2711064598" sldId="2147483424"/>
            <ac:spMk id="2" creationId="{68A03D8A-BD0E-977B-7CA0-B66118E50FFC}"/>
          </ac:spMkLst>
        </pc:spChg>
        <pc:spChg chg="add del mod">
          <ac:chgData name="Kennan, Rod" userId="3f6eb9a3-076c-4368-93e3-821101c8dc68" providerId="ADAL" clId="{F0186C47-F7CF-4F79-81A4-D4EBC59EF651}" dt="2024-11-11T03:33:19.635" v="3465" actId="478"/>
          <ac:spMkLst>
            <pc:docMk/>
            <pc:sldMk cId="2711064598" sldId="2147483424"/>
            <ac:spMk id="4" creationId="{AB9B8016-F439-2E15-91FA-B5BE609A5960}"/>
          </ac:spMkLst>
        </pc:spChg>
        <pc:spChg chg="add del mod">
          <ac:chgData name="Kennan, Rod" userId="3f6eb9a3-076c-4368-93e3-821101c8dc68" providerId="ADAL" clId="{F0186C47-F7CF-4F79-81A4-D4EBC59EF651}" dt="2024-11-11T03:34:10.190" v="3468" actId="26606"/>
          <ac:spMkLst>
            <pc:docMk/>
            <pc:sldMk cId="2711064598" sldId="2147483424"/>
            <ac:spMk id="5" creationId="{1193B78A-D8DA-3466-D3ED-606239336287}"/>
          </ac:spMkLst>
        </pc:spChg>
        <pc:spChg chg="add mod">
          <ac:chgData name="Kennan, Rod" userId="3f6eb9a3-076c-4368-93e3-821101c8dc68" providerId="ADAL" clId="{F0186C47-F7CF-4F79-81A4-D4EBC59EF651}" dt="2024-11-11T03:38:21.442" v="3791" actId="1035"/>
          <ac:spMkLst>
            <pc:docMk/>
            <pc:sldMk cId="2711064598" sldId="2147483424"/>
            <ac:spMk id="12" creationId="{F090F3BE-F84F-588C-3570-77677CFD48DB}"/>
          </ac:spMkLst>
        </pc:spChg>
        <pc:picChg chg="add mod">
          <ac:chgData name="Kennan, Rod" userId="3f6eb9a3-076c-4368-93e3-821101c8dc68" providerId="ADAL" clId="{F0186C47-F7CF-4F79-81A4-D4EBC59EF651}" dt="2024-11-11T03:34:10.190" v="3468" actId="26606"/>
          <ac:picMkLst>
            <pc:docMk/>
            <pc:sldMk cId="2711064598" sldId="2147483424"/>
            <ac:picMk id="7" creationId="{BAFD4FB9-35F7-D175-B43D-463C07688DFC}"/>
          </ac:picMkLst>
        </pc:picChg>
      </pc:sldChg>
      <pc:sldChg chg="modSp new mod">
        <pc:chgData name="Kennan, Rod" userId="3f6eb9a3-076c-4368-93e3-821101c8dc68" providerId="ADAL" clId="{F0186C47-F7CF-4F79-81A4-D4EBC59EF651}" dt="2024-11-10T05:05:35.591" v="2610" actId="20577"/>
        <pc:sldMkLst>
          <pc:docMk/>
          <pc:sldMk cId="2002184775" sldId="2147483425"/>
        </pc:sldMkLst>
        <pc:spChg chg="mod">
          <ac:chgData name="Kennan, Rod" userId="3f6eb9a3-076c-4368-93e3-821101c8dc68" providerId="ADAL" clId="{F0186C47-F7CF-4F79-81A4-D4EBC59EF651}" dt="2024-11-10T05:05:35.591" v="2610" actId="20577"/>
          <ac:spMkLst>
            <pc:docMk/>
            <pc:sldMk cId="2002184775" sldId="2147483425"/>
            <ac:spMk id="2" creationId="{9917B43F-468E-408F-B5B5-A7388DE50BD8}"/>
          </ac:spMkLst>
        </pc:spChg>
        <pc:spChg chg="mod">
          <ac:chgData name="Kennan, Rod" userId="3f6eb9a3-076c-4368-93e3-821101c8dc68" providerId="ADAL" clId="{F0186C47-F7CF-4F79-81A4-D4EBC59EF651}" dt="2024-11-10T05:03:31.497" v="2435" actId="20578"/>
          <ac:spMkLst>
            <pc:docMk/>
            <pc:sldMk cId="2002184775" sldId="2147483425"/>
            <ac:spMk id="3" creationId="{FF1EAEC4-F1B2-2BB9-2135-D5655679F5A6}"/>
          </ac:spMkLst>
        </pc:spChg>
      </pc:sldChg>
      <pc:sldChg chg="addSp delSp modSp add del mod">
        <pc:chgData name="Kennan, Rod" userId="3f6eb9a3-076c-4368-93e3-821101c8dc68" providerId="ADAL" clId="{F0186C47-F7CF-4F79-81A4-D4EBC59EF651}" dt="2024-11-12T04:22:58.975" v="3805" actId="47"/>
        <pc:sldMkLst>
          <pc:docMk/>
          <pc:sldMk cId="2588275859" sldId="2147483426"/>
        </pc:sldMkLst>
        <pc:spChg chg="mod">
          <ac:chgData name="Kennan, Rod" userId="3f6eb9a3-076c-4368-93e3-821101c8dc68" providerId="ADAL" clId="{F0186C47-F7CF-4F79-81A4-D4EBC59EF651}" dt="2024-11-10T04:07:13.546" v="1528" actId="1036"/>
          <ac:spMkLst>
            <pc:docMk/>
            <pc:sldMk cId="2588275859" sldId="2147483426"/>
            <ac:spMk id="7" creationId="{3ADBD1FA-67B1-4AFE-B454-1D875DDF4F95}"/>
          </ac:spMkLst>
        </pc:spChg>
        <pc:graphicFrameChg chg="add mod modGraphic">
          <ac:chgData name="Kennan, Rod" userId="3f6eb9a3-076c-4368-93e3-821101c8dc68" providerId="ADAL" clId="{F0186C47-F7CF-4F79-81A4-D4EBC59EF651}" dt="2024-11-10T04:08:16.505" v="1541" actId="14100"/>
          <ac:graphicFrameMkLst>
            <pc:docMk/>
            <pc:sldMk cId="2588275859" sldId="2147483426"/>
            <ac:graphicFrameMk id="2" creationId="{E5432BC5-D370-815D-7006-07E8869C1A69}"/>
          </ac:graphicFrameMkLst>
        </pc:graphicFrameChg>
        <pc:graphicFrameChg chg="del">
          <ac:chgData name="Kennan, Rod" userId="3f6eb9a3-076c-4368-93e3-821101c8dc68" providerId="ADAL" clId="{F0186C47-F7CF-4F79-81A4-D4EBC59EF651}" dt="2024-11-10T04:06:48.037" v="1499" actId="478"/>
          <ac:graphicFrameMkLst>
            <pc:docMk/>
            <pc:sldMk cId="2588275859" sldId="2147483426"/>
            <ac:graphicFrameMk id="9" creationId="{D07211D8-F799-7BA8-AFED-B7C337FC5A5A}"/>
          </ac:graphicFrameMkLst>
        </pc:graphicFrameChg>
      </pc:sldChg>
      <pc:sldChg chg="addSp modSp del mod">
        <pc:chgData name="Kennan, Rod" userId="3f6eb9a3-076c-4368-93e3-821101c8dc68" providerId="ADAL" clId="{F0186C47-F7CF-4F79-81A4-D4EBC59EF651}" dt="2024-11-10T04:30:35.091" v="1737" actId="47"/>
        <pc:sldMkLst>
          <pc:docMk/>
          <pc:sldMk cId="7263454" sldId="2147483427"/>
        </pc:sldMkLst>
        <pc:grpChg chg="add mod">
          <ac:chgData name="Kennan, Rod" userId="3f6eb9a3-076c-4368-93e3-821101c8dc68" providerId="ADAL" clId="{F0186C47-F7CF-4F79-81A4-D4EBC59EF651}" dt="2024-11-10T04:29:43.348" v="1732" actId="14100"/>
          <ac:grpSpMkLst>
            <pc:docMk/>
            <pc:sldMk cId="7263454" sldId="2147483427"/>
            <ac:grpSpMk id="5" creationId="{7F04F749-BA3D-1FC7-F852-49CE5ADB6DD6}"/>
          </ac:grpSpMkLst>
        </pc:grpChg>
        <pc:picChg chg="mod">
          <ac:chgData name="Kennan, Rod" userId="3f6eb9a3-076c-4368-93e3-821101c8dc68" providerId="ADAL" clId="{F0186C47-F7CF-4F79-81A4-D4EBC59EF651}" dt="2024-11-10T04:29:02.452" v="1726" actId="164"/>
          <ac:picMkLst>
            <pc:docMk/>
            <pc:sldMk cId="7263454" sldId="2147483427"/>
            <ac:picMk id="10" creationId="{22D29AD6-B090-6646-10CE-AC8B6AE2412F}"/>
          </ac:picMkLst>
        </pc:picChg>
        <pc:picChg chg="mod">
          <ac:chgData name="Kennan, Rod" userId="3f6eb9a3-076c-4368-93e3-821101c8dc68" providerId="ADAL" clId="{F0186C47-F7CF-4F79-81A4-D4EBC59EF651}" dt="2024-11-10T04:29:02.452" v="1726" actId="164"/>
          <ac:picMkLst>
            <pc:docMk/>
            <pc:sldMk cId="7263454" sldId="2147483427"/>
            <ac:picMk id="12" creationId="{9DF0FA39-1FEA-0CFD-5D5B-6315D7395909}"/>
          </ac:picMkLst>
        </pc:picChg>
      </pc:sldChg>
      <pc:sldChg chg="addSp modSp new mod modClrScheme chgLayout">
        <pc:chgData name="Kennan, Rod" userId="3f6eb9a3-076c-4368-93e3-821101c8dc68" providerId="ADAL" clId="{F0186C47-F7CF-4F79-81A4-D4EBC59EF651}" dt="2024-11-11T15:30:36.426" v="3803" actId="27636"/>
        <pc:sldMkLst>
          <pc:docMk/>
          <pc:sldMk cId="2564952411" sldId="2147483427"/>
        </pc:sldMkLst>
        <pc:spChg chg="mod">
          <ac:chgData name="Kennan, Rod" userId="3f6eb9a3-076c-4368-93e3-821101c8dc68" providerId="ADAL" clId="{F0186C47-F7CF-4F79-81A4-D4EBC59EF651}" dt="2024-11-11T15:29:34.245" v="3793" actId="26606"/>
          <ac:spMkLst>
            <pc:docMk/>
            <pc:sldMk cId="2564952411" sldId="2147483427"/>
            <ac:spMk id="2" creationId="{E8892922-BA47-C69A-33C5-29AB9FB7EDC5}"/>
          </ac:spMkLst>
        </pc:spChg>
        <pc:spChg chg="mod ord">
          <ac:chgData name="Kennan, Rod" userId="3f6eb9a3-076c-4368-93e3-821101c8dc68" providerId="ADAL" clId="{F0186C47-F7CF-4F79-81A4-D4EBC59EF651}" dt="2024-11-11T15:29:34.245" v="3793" actId="26606"/>
          <ac:spMkLst>
            <pc:docMk/>
            <pc:sldMk cId="2564952411" sldId="2147483427"/>
            <ac:spMk id="3" creationId="{D60AFD3B-1810-4AF6-0785-2C47475EF0B9}"/>
          </ac:spMkLst>
        </pc:spChg>
        <pc:spChg chg="mod ord">
          <ac:chgData name="Kennan, Rod" userId="3f6eb9a3-076c-4368-93e3-821101c8dc68" providerId="ADAL" clId="{F0186C47-F7CF-4F79-81A4-D4EBC59EF651}" dt="2024-11-11T15:29:34.245" v="3793" actId="26606"/>
          <ac:spMkLst>
            <pc:docMk/>
            <pc:sldMk cId="2564952411" sldId="2147483427"/>
            <ac:spMk id="4" creationId="{3F0E5E02-6212-C711-08FC-CAD8E319224D}"/>
          </ac:spMkLst>
        </pc:spChg>
        <pc:spChg chg="mod">
          <ac:chgData name="Kennan, Rod" userId="3f6eb9a3-076c-4368-93e3-821101c8dc68" providerId="ADAL" clId="{F0186C47-F7CF-4F79-81A4-D4EBC59EF651}" dt="2024-11-11T15:30:36.426" v="3803" actId="27636"/>
          <ac:spMkLst>
            <pc:docMk/>
            <pc:sldMk cId="2564952411" sldId="2147483427"/>
            <ac:spMk id="5" creationId="{EAFBC0A0-794B-9203-0D84-BBBFDB0AC998}"/>
          </ac:spMkLst>
        </pc:spChg>
        <pc:picChg chg="add mod">
          <ac:chgData name="Kennan, Rod" userId="3f6eb9a3-076c-4368-93e3-821101c8dc68" providerId="ADAL" clId="{F0186C47-F7CF-4F79-81A4-D4EBC59EF651}" dt="2024-11-11T15:29:34.245" v="3793" actId="26606"/>
          <ac:picMkLst>
            <pc:docMk/>
            <pc:sldMk cId="2564952411" sldId="2147483427"/>
            <ac:picMk id="7" creationId="{1FDD4607-111B-BF53-D016-8796BCF58ACD}"/>
          </ac:picMkLst>
        </pc:picChg>
      </pc:sldChg>
      <pc:sldChg chg="modSp mod">
        <pc:chgData name="Kennan, Rod" userId="3f6eb9a3-076c-4368-93e3-821101c8dc68" providerId="ADAL" clId="{F0186C47-F7CF-4F79-81A4-D4EBC59EF651}" dt="2024-11-12T04:23:59.469" v="3813" actId="1076"/>
        <pc:sldMkLst>
          <pc:docMk/>
          <pc:sldMk cId="17394069" sldId="2147483428"/>
        </pc:sldMkLst>
        <pc:graphicFrameChg chg="mod modGraphic">
          <ac:chgData name="Kennan, Rod" userId="3f6eb9a3-076c-4368-93e3-821101c8dc68" providerId="ADAL" clId="{F0186C47-F7CF-4F79-81A4-D4EBC59EF651}" dt="2024-11-12T04:23:59.469" v="3813" actId="1076"/>
          <ac:graphicFrameMkLst>
            <pc:docMk/>
            <pc:sldMk cId="17394069" sldId="2147483428"/>
            <ac:graphicFrameMk id="5" creationId="{37F8D932-E1E0-C9C1-991D-75FAB84369F3}"/>
          </ac:graphicFrameMkLst>
        </pc:graphicFrameChg>
      </pc:sldChg>
      <pc:sldChg chg="del">
        <pc:chgData name="Kennan, Rod" userId="3f6eb9a3-076c-4368-93e3-821101c8dc68" providerId="ADAL" clId="{F0186C47-F7CF-4F79-81A4-D4EBC59EF651}" dt="2024-11-12T04:22:43.951" v="3804" actId="47"/>
        <pc:sldMkLst>
          <pc:docMk/>
          <pc:sldMk cId="2157293396" sldId="2147483428"/>
        </pc:sldMkLst>
      </pc:sldChg>
      <pc:sldMasterChg chg="delSldLayout">
        <pc:chgData name="Kennan, Rod" userId="3f6eb9a3-076c-4368-93e3-821101c8dc68" providerId="ADAL" clId="{F0186C47-F7CF-4F79-81A4-D4EBC59EF651}" dt="2024-11-04T00:46:41.403" v="113" actId="47"/>
        <pc:sldMasterMkLst>
          <pc:docMk/>
          <pc:sldMasterMk cId="3974816298" sldId="2147484803"/>
        </pc:sldMasterMkLst>
        <pc:sldLayoutChg chg="del">
          <pc:chgData name="Kennan, Rod" userId="3f6eb9a3-076c-4368-93e3-821101c8dc68" providerId="ADAL" clId="{F0186C47-F7CF-4F79-81A4-D4EBC59EF651}" dt="2024-11-04T00:46:41.403" v="113" actId="47"/>
          <pc:sldLayoutMkLst>
            <pc:docMk/>
            <pc:sldMasterMk cId="3974816298" sldId="2147484803"/>
            <pc:sldLayoutMk cId="4216959047" sldId="2147488857"/>
          </pc:sldLayoutMkLst>
        </pc:sldLayoutChg>
      </pc:sldMasterChg>
      <pc:sldMasterChg chg="del delSldLayout">
        <pc:chgData name="Kennan, Rod" userId="3f6eb9a3-076c-4368-93e3-821101c8dc68" providerId="ADAL" clId="{F0186C47-F7CF-4F79-81A4-D4EBC59EF651}" dt="2024-11-04T01:32:30.756" v="531" actId="47"/>
        <pc:sldMasterMkLst>
          <pc:docMk/>
          <pc:sldMasterMk cId="1392470585" sldId="2147487625"/>
        </pc:sldMasterMkLst>
        <pc:sldLayoutChg chg="del">
          <pc:chgData name="Kennan, Rod" userId="3f6eb9a3-076c-4368-93e3-821101c8dc68" providerId="ADAL" clId="{F0186C47-F7CF-4F79-81A4-D4EBC59EF651}" dt="2024-11-04T01:32:30.756" v="531" actId="47"/>
          <pc:sldLayoutMkLst>
            <pc:docMk/>
            <pc:sldMasterMk cId="1392470585" sldId="2147487625"/>
            <pc:sldLayoutMk cId="2901951681" sldId="2147487626"/>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487768300" sldId="2147487627"/>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827214999" sldId="2147487628"/>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851686228" sldId="2147487629"/>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9027677" sldId="2147487630"/>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76573965" sldId="2147487631"/>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609450544" sldId="2147487632"/>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675555993" sldId="2147487633"/>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217452722" sldId="2147487634"/>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670757234" sldId="2147487635"/>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095876298" sldId="2147487636"/>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463461354" sldId="2147487637"/>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269748186" sldId="2147487638"/>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140063359" sldId="2147487639"/>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105384322" sldId="2147487640"/>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258148187" sldId="2147487641"/>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780385552" sldId="2147487642"/>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232904223" sldId="2147487643"/>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925284510" sldId="2147487644"/>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589174433" sldId="2147487645"/>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357265351" sldId="2147487646"/>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833702296" sldId="2147487647"/>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626266535" sldId="2147487648"/>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152422273" sldId="2147487649"/>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202590502" sldId="2147487650"/>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093380647" sldId="2147487651"/>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02131014" sldId="2147487652"/>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544824377" sldId="2147487653"/>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537920159" sldId="2147487654"/>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503743469" sldId="2147487655"/>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281068563" sldId="2147487656"/>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010440015" sldId="2147487657"/>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430223802" sldId="2147487658"/>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951082125" sldId="2147487659"/>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426993712" sldId="2147487660"/>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365199811" sldId="2147487661"/>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291839234" sldId="2147487662"/>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3921831394" sldId="2147487663"/>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1472525133" sldId="2147487664"/>
          </pc:sldLayoutMkLst>
        </pc:sldLayoutChg>
        <pc:sldLayoutChg chg="del">
          <pc:chgData name="Kennan, Rod" userId="3f6eb9a3-076c-4368-93e3-821101c8dc68" providerId="ADAL" clId="{F0186C47-F7CF-4F79-81A4-D4EBC59EF651}" dt="2024-11-04T01:32:26.162" v="528" actId="47"/>
          <pc:sldLayoutMkLst>
            <pc:docMk/>
            <pc:sldMasterMk cId="1392470585" sldId="2147487625"/>
            <pc:sldLayoutMk cId="15720195" sldId="2147487666"/>
          </pc:sldLayoutMkLst>
        </pc:sldLayoutChg>
        <pc:sldLayoutChg chg="del">
          <pc:chgData name="Kennan, Rod" userId="3f6eb9a3-076c-4368-93e3-821101c8dc68" providerId="ADAL" clId="{F0186C47-F7CF-4F79-81A4-D4EBC59EF651}" dt="2024-11-04T01:32:30.756" v="531" actId="47"/>
          <pc:sldLayoutMkLst>
            <pc:docMk/>
            <pc:sldMasterMk cId="1392470585" sldId="2147487625"/>
            <pc:sldLayoutMk cId="4238182732" sldId="2147487848"/>
          </pc:sldLayoutMkLst>
        </pc:sldLayoutChg>
        <pc:sldLayoutChg chg="del">
          <pc:chgData name="Kennan, Rod" userId="3f6eb9a3-076c-4368-93e3-821101c8dc68" providerId="ADAL" clId="{F0186C47-F7CF-4F79-81A4-D4EBC59EF651}" dt="2024-11-04T01:32:29.548" v="530" actId="47"/>
          <pc:sldLayoutMkLst>
            <pc:docMk/>
            <pc:sldMasterMk cId="1392470585" sldId="2147487625"/>
            <pc:sldLayoutMk cId="3647257184" sldId="2147488495"/>
          </pc:sldLayoutMkLst>
        </pc:sldLayoutChg>
      </pc:sldMasterChg>
      <pc:sldMasterChg chg="del delSldLayout">
        <pc:chgData name="Kennan, Rod" userId="3f6eb9a3-076c-4368-93e3-821101c8dc68" providerId="ADAL" clId="{F0186C47-F7CF-4F79-81A4-D4EBC59EF651}" dt="2024-11-04T01:31:47.060" v="507" actId="47"/>
        <pc:sldMasterMkLst>
          <pc:docMk/>
          <pc:sldMasterMk cId="2118245429" sldId="2147488745"/>
        </pc:sldMasterMkLst>
        <pc:sldLayoutChg chg="del">
          <pc:chgData name="Kennan, Rod" userId="3f6eb9a3-076c-4368-93e3-821101c8dc68" providerId="ADAL" clId="{F0186C47-F7CF-4F79-81A4-D4EBC59EF651}" dt="2024-11-04T01:31:47.060" v="507" actId="47"/>
          <pc:sldLayoutMkLst>
            <pc:docMk/>
            <pc:sldMasterMk cId="2118245429" sldId="2147488745"/>
            <pc:sldLayoutMk cId="3212685472" sldId="2147488746"/>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4267361560" sldId="2147488747"/>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925725560" sldId="2147488748"/>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969759308" sldId="2147488749"/>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633791641" sldId="2147488750"/>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179218051" sldId="2147488751"/>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683662132" sldId="2147488752"/>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192710570" sldId="2147488753"/>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358123594" sldId="2147488754"/>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071551805" sldId="2147488755"/>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719196416" sldId="2147488756"/>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706428914" sldId="2147488757"/>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670160886" sldId="2147488758"/>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675275037" sldId="2147488759"/>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775158659" sldId="2147488760"/>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974325037" sldId="2147488761"/>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521431164" sldId="2147488762"/>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763246571" sldId="2147488763"/>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4291040983" sldId="2147488764"/>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400926132" sldId="2147488765"/>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572838856" sldId="2147488766"/>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476324804" sldId="2147488767"/>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439733831" sldId="2147488768"/>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527924365" sldId="2147488769"/>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064558408" sldId="2147488770"/>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970160864" sldId="2147488771"/>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055839916" sldId="2147488772"/>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564741364" sldId="2147488773"/>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709444997" sldId="2147488774"/>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1744523" sldId="2147488775"/>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202402723" sldId="2147488776"/>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697761078" sldId="2147488777"/>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971206424" sldId="2147488778"/>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1018288807" sldId="2147488779"/>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15948217" sldId="2147488780"/>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039102747" sldId="2147488781"/>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2585927216" sldId="2147488782"/>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3378762417" sldId="2147488783"/>
          </pc:sldLayoutMkLst>
        </pc:sldLayoutChg>
        <pc:sldLayoutChg chg="del">
          <pc:chgData name="Kennan, Rod" userId="3f6eb9a3-076c-4368-93e3-821101c8dc68" providerId="ADAL" clId="{F0186C47-F7CF-4F79-81A4-D4EBC59EF651}" dt="2024-11-04T01:31:47.060" v="507" actId="47"/>
          <pc:sldLayoutMkLst>
            <pc:docMk/>
            <pc:sldMasterMk cId="2118245429" sldId="2147488745"/>
            <pc:sldLayoutMk cId="4245586061" sldId="2147488784"/>
          </pc:sldLayoutMkLst>
        </pc:sldLayoutChg>
      </pc:sldMasterChg>
    </pc:docChg>
  </pc:docChgLst>
  <pc:docChgLst>
    <pc:chgData name="Anderson, Eric (Avionics ISE Manager, AT)" userId="84775f9a-47d0-458e-b9fb-4443150b7ba8" providerId="ADAL" clId="{6A9B047F-28E6-45C6-935D-0F0478EFCCD9}"/>
    <pc:docChg chg="custSel modSld modNotesMaster modHandout">
      <pc:chgData name="Anderson, Eric (Avionics ISE Manager, AT)" userId="84775f9a-47d0-458e-b9fb-4443150b7ba8" providerId="ADAL" clId="{6A9B047F-28E6-45C6-935D-0F0478EFCCD9}" dt="2024-11-13T04:08:41.789" v="23"/>
      <pc:docMkLst>
        <pc:docMk/>
      </pc:docMkLst>
      <pc:sldChg chg="modNotes">
        <pc:chgData name="Anderson, Eric (Avionics ISE Manager, AT)" userId="84775f9a-47d0-458e-b9fb-4443150b7ba8" providerId="ADAL" clId="{6A9B047F-28E6-45C6-935D-0F0478EFCCD9}" dt="2024-11-13T04:08:41.789" v="23"/>
        <pc:sldMkLst>
          <pc:docMk/>
          <pc:sldMk cId="3087879030" sldId="395"/>
        </pc:sldMkLst>
      </pc:sldChg>
      <pc:sldChg chg="modNotes">
        <pc:chgData name="Anderson, Eric (Avionics ISE Manager, AT)" userId="84775f9a-47d0-458e-b9fb-4443150b7ba8" providerId="ADAL" clId="{6A9B047F-28E6-45C6-935D-0F0478EFCCD9}" dt="2024-11-13T04:08:41.773" v="15"/>
        <pc:sldMkLst>
          <pc:docMk/>
          <pc:sldMk cId="3819394568" sldId="2147476980"/>
        </pc:sldMkLst>
      </pc:sldChg>
      <pc:sldChg chg="modNotes">
        <pc:chgData name="Anderson, Eric (Avionics ISE Manager, AT)" userId="84775f9a-47d0-458e-b9fb-4443150b7ba8" providerId="ADAL" clId="{6A9B047F-28E6-45C6-935D-0F0478EFCCD9}" dt="2024-11-13T04:08:41.773" v="19"/>
        <pc:sldMkLst>
          <pc:docMk/>
          <pc:sldMk cId="3322086240" sldId="2147476981"/>
        </pc:sldMkLst>
      </pc:sldChg>
      <pc:sldChg chg="modNotes">
        <pc:chgData name="Anderson, Eric (Avionics ISE Manager, AT)" userId="84775f9a-47d0-458e-b9fb-4443150b7ba8" providerId="ADAL" clId="{6A9B047F-28E6-45C6-935D-0F0478EFCCD9}" dt="2024-11-13T04:08:41.757" v="7"/>
        <pc:sldMkLst>
          <pc:docMk/>
          <pc:sldMk cId="3064189427" sldId="2147483234"/>
        </pc:sldMkLst>
      </pc:sldChg>
      <pc:sldChg chg="modNotes">
        <pc:chgData name="Anderson, Eric (Avionics ISE Manager, AT)" userId="84775f9a-47d0-458e-b9fb-4443150b7ba8" providerId="ADAL" clId="{6A9B047F-28E6-45C6-935D-0F0478EFCCD9}" dt="2024-11-13T04:08:41.757" v="11"/>
        <pc:sldMkLst>
          <pc:docMk/>
          <pc:sldMk cId="3749549044" sldId="2147483235"/>
        </pc:sldMkLst>
      </pc:sldChg>
    </pc:docChg>
  </pc:docChgLst>
  <pc:docChgLst>
    <pc:chgData name="A da Costa Richeti, Danielle" userId="S::danielle.richeti@honeywell.com::21e1147a-56ea-4093-a8a5-978f9ec6a32d" providerId="AD" clId="Web-{CF6AC96A-224B-45F5-9676-936B53439BDD}"/>
    <pc:docChg chg="modSld sldOrd">
      <pc:chgData name="A da Costa Richeti, Danielle" userId="S::danielle.richeti@honeywell.com::21e1147a-56ea-4093-a8a5-978f9ec6a32d" providerId="AD" clId="Web-{CF6AC96A-224B-45F5-9676-936B53439BDD}" dt="2024-11-08T23:35:42.724" v="49" actId="20577"/>
      <pc:docMkLst>
        <pc:docMk/>
      </pc:docMkLst>
      <pc:sldChg chg="modSp">
        <pc:chgData name="A da Costa Richeti, Danielle" userId="S::danielle.richeti@honeywell.com::21e1147a-56ea-4093-a8a5-978f9ec6a32d" providerId="AD" clId="Web-{CF6AC96A-224B-45F5-9676-936B53439BDD}" dt="2024-11-08T23:18:59.872" v="0" actId="1076"/>
        <pc:sldMkLst>
          <pc:docMk/>
          <pc:sldMk cId="895973940" sldId="2147483231"/>
        </pc:sldMkLst>
        <pc:spChg chg="mod">
          <ac:chgData name="A da Costa Richeti, Danielle" userId="S::danielle.richeti@honeywell.com::21e1147a-56ea-4093-a8a5-978f9ec6a32d" providerId="AD" clId="Web-{CF6AC96A-224B-45F5-9676-936B53439BDD}" dt="2024-11-08T23:18:59.872" v="0" actId="1076"/>
          <ac:spMkLst>
            <pc:docMk/>
            <pc:sldMk cId="895973940" sldId="2147483231"/>
            <ac:spMk id="3" creationId="{18D3F6C5-788A-2B45-1A63-705A1ABBB00F}"/>
          </ac:spMkLst>
        </pc:spChg>
      </pc:sldChg>
      <pc:sldChg chg="addSp modSp">
        <pc:chgData name="A da Costa Richeti, Danielle" userId="S::danielle.richeti@honeywell.com::21e1147a-56ea-4093-a8a5-978f9ec6a32d" providerId="AD" clId="Web-{CF6AC96A-224B-45F5-9676-936B53439BDD}" dt="2024-11-08T23:22:42.706" v="3" actId="688"/>
        <pc:sldMkLst>
          <pc:docMk/>
          <pc:sldMk cId="1612573760" sldId="2147483232"/>
        </pc:sldMkLst>
        <pc:spChg chg="add mod">
          <ac:chgData name="A da Costa Richeti, Danielle" userId="S::danielle.richeti@honeywell.com::21e1147a-56ea-4093-a8a5-978f9ec6a32d" providerId="AD" clId="Web-{CF6AC96A-224B-45F5-9676-936B53439BDD}" dt="2024-11-08T23:22:42.706" v="3" actId="688"/>
          <ac:spMkLst>
            <pc:docMk/>
            <pc:sldMk cId="1612573760" sldId="2147483232"/>
            <ac:spMk id="5" creationId="{F59CDBA4-3E37-646F-2D5B-E8E10A19C1DB}"/>
          </ac:spMkLst>
        </pc:spChg>
      </pc:sldChg>
      <pc:sldChg chg="ord">
        <pc:chgData name="A da Costa Richeti, Danielle" userId="S::danielle.richeti@honeywell.com::21e1147a-56ea-4093-a8a5-978f9ec6a32d" providerId="AD" clId="Web-{CF6AC96A-224B-45F5-9676-936B53439BDD}" dt="2024-11-08T23:29:21.121" v="5"/>
        <pc:sldMkLst>
          <pc:docMk/>
          <pc:sldMk cId="2045740191" sldId="2147483240"/>
        </pc:sldMkLst>
      </pc:sldChg>
      <pc:sldChg chg="mod modShow">
        <pc:chgData name="A da Costa Richeti, Danielle" userId="S::danielle.richeti@honeywell.com::21e1147a-56ea-4093-a8a5-978f9ec6a32d" providerId="AD" clId="Web-{CF6AC96A-224B-45F5-9676-936B53439BDD}" dt="2024-11-08T23:33:05.267" v="6"/>
        <pc:sldMkLst>
          <pc:docMk/>
          <pc:sldMk cId="1115691180" sldId="2147483243"/>
        </pc:sldMkLst>
      </pc:sldChg>
      <pc:sldChg chg="modSp">
        <pc:chgData name="A da Costa Richeti, Danielle" userId="S::danielle.richeti@honeywell.com::21e1147a-56ea-4093-a8a5-978f9ec6a32d" providerId="AD" clId="Web-{CF6AC96A-224B-45F5-9676-936B53439BDD}" dt="2024-11-08T23:35:42.724" v="49" actId="20577"/>
        <pc:sldMkLst>
          <pc:docMk/>
          <pc:sldMk cId="1207704805" sldId="2147483244"/>
        </pc:sldMkLst>
        <pc:spChg chg="mod">
          <ac:chgData name="A da Costa Richeti, Danielle" userId="S::danielle.richeti@honeywell.com::21e1147a-56ea-4093-a8a5-978f9ec6a32d" providerId="AD" clId="Web-{CF6AC96A-224B-45F5-9676-936B53439BDD}" dt="2024-11-08T23:34:13.425" v="8" actId="20577"/>
          <ac:spMkLst>
            <pc:docMk/>
            <pc:sldMk cId="1207704805" sldId="2147483244"/>
            <ac:spMk id="2" creationId="{61D03D3A-84CD-4BD1-5DEB-B30DBF0F9A6C}"/>
          </ac:spMkLst>
        </pc:spChg>
        <pc:spChg chg="mod">
          <ac:chgData name="A da Costa Richeti, Danielle" userId="S::danielle.richeti@honeywell.com::21e1147a-56ea-4093-a8a5-978f9ec6a32d" providerId="AD" clId="Web-{CF6AC96A-224B-45F5-9676-936B53439BDD}" dt="2024-11-08T23:35:42.724" v="49" actId="20577"/>
          <ac:spMkLst>
            <pc:docMk/>
            <pc:sldMk cId="1207704805" sldId="2147483244"/>
            <ac:spMk id="5" creationId="{19CB304C-0960-F2FE-1BFA-3DAB70B3343D}"/>
          </ac:spMkLst>
        </pc:spChg>
      </pc:sldChg>
    </pc:docChg>
  </pc:docChgLst>
  <pc:docChgLst>
    <pc:chgData name="Kennan, Rod" userId="S::rod.kennan@honeywell.com::3f6eb9a3-076c-4368-93e3-821101c8dc68" providerId="AD" clId="Web-{9E7385A8-995F-074D-B1C1-C978BAA012B5}"/>
    <pc:docChg chg="addSld delSld modSld modSection">
      <pc:chgData name="Kennan, Rod" userId="S::rod.kennan@honeywell.com::3f6eb9a3-076c-4368-93e3-821101c8dc68" providerId="AD" clId="Web-{9E7385A8-995F-074D-B1C1-C978BAA012B5}" dt="2024-11-04T18:25:38.433" v="28" actId="1076"/>
      <pc:docMkLst>
        <pc:docMk/>
      </pc:docMkLst>
      <pc:sldChg chg="modSp add del">
        <pc:chgData name="Kennan, Rod" userId="S::rod.kennan@honeywell.com::3f6eb9a3-076c-4368-93e3-821101c8dc68" providerId="AD" clId="Web-{9E7385A8-995F-074D-B1C1-C978BAA012B5}" dt="2024-11-04T18:07:34.047" v="23"/>
        <pc:sldMkLst>
          <pc:docMk/>
          <pc:sldMk cId="1476873636" sldId="356"/>
        </pc:sldMkLst>
        <pc:graphicFrameChg chg="mod">
          <ac:chgData name="Kennan, Rod" userId="S::rod.kennan@honeywell.com::3f6eb9a3-076c-4368-93e3-821101c8dc68" providerId="AD" clId="Web-{9E7385A8-995F-074D-B1C1-C978BAA012B5}" dt="2024-11-04T18:02:20.212" v="2" actId="14100"/>
          <ac:graphicFrameMkLst>
            <pc:docMk/>
            <pc:sldMk cId="1476873636" sldId="356"/>
            <ac:graphicFrameMk id="10" creationId="{76D62C6A-D7D9-A806-6B15-1A540434BB68}"/>
          </ac:graphicFrameMkLst>
        </pc:graphicFrameChg>
      </pc:sldChg>
      <pc:sldChg chg="addSp delSp modSp mod modClrScheme chgLayout">
        <pc:chgData name="Kennan, Rod" userId="S::rod.kennan@honeywell.com::3f6eb9a3-076c-4368-93e3-821101c8dc68" providerId="AD" clId="Web-{9E7385A8-995F-074D-B1C1-C978BAA012B5}" dt="2024-11-04T18:25:38.433" v="28" actId="1076"/>
        <pc:sldMkLst>
          <pc:docMk/>
          <pc:sldMk cId="963115241" sldId="2147479470"/>
        </pc:sldMkLst>
        <pc:spChg chg="mod ord">
          <ac:chgData name="Kennan, Rod" userId="S::rod.kennan@honeywell.com::3f6eb9a3-076c-4368-93e3-821101c8dc68" providerId="AD" clId="Web-{9E7385A8-995F-074D-B1C1-C978BAA012B5}" dt="2024-11-04T18:06:52.655" v="20"/>
          <ac:spMkLst>
            <pc:docMk/>
            <pc:sldMk cId="963115241" sldId="2147479470"/>
            <ac:spMk id="2" creationId="{E27AC18F-C366-9116-FB3F-207658DB55F0}"/>
          </ac:spMkLst>
        </pc:spChg>
        <pc:spChg chg="mod ord">
          <ac:chgData name="Kennan, Rod" userId="S::rod.kennan@honeywell.com::3f6eb9a3-076c-4368-93e3-821101c8dc68" providerId="AD" clId="Web-{9E7385A8-995F-074D-B1C1-C978BAA012B5}" dt="2024-11-04T18:07:20.500" v="22" actId="1076"/>
          <ac:spMkLst>
            <pc:docMk/>
            <pc:sldMk cId="963115241" sldId="2147479470"/>
            <ac:spMk id="3" creationId="{E94E4049-DF15-2ED6-B2BE-379D599586A9}"/>
          </ac:spMkLst>
        </pc:spChg>
        <pc:spChg chg="mod ord">
          <ac:chgData name="Kennan, Rod" userId="S::rod.kennan@honeywell.com::3f6eb9a3-076c-4368-93e3-821101c8dc68" providerId="AD" clId="Web-{9E7385A8-995F-074D-B1C1-C978BAA012B5}" dt="2024-11-04T18:06:52.655" v="20"/>
          <ac:spMkLst>
            <pc:docMk/>
            <pc:sldMk cId="963115241" sldId="2147479470"/>
            <ac:spMk id="4" creationId="{F5AAADFF-856C-1FA0-7754-69FE90C6DCA8}"/>
          </ac:spMkLst>
        </pc:spChg>
        <pc:spChg chg="mod ord">
          <ac:chgData name="Kennan, Rod" userId="S::rod.kennan@honeywell.com::3f6eb9a3-076c-4368-93e3-821101c8dc68" providerId="AD" clId="Web-{9E7385A8-995F-074D-B1C1-C978BAA012B5}" dt="2024-11-04T18:06:52.655" v="20"/>
          <ac:spMkLst>
            <pc:docMk/>
            <pc:sldMk cId="963115241" sldId="2147479470"/>
            <ac:spMk id="5" creationId="{F86984C2-9F4B-618E-F75E-FFEB3E523EE2}"/>
          </ac:spMkLst>
        </pc:spChg>
        <pc:graphicFrameChg chg="add">
          <ac:chgData name="Kennan, Rod" userId="S::rod.kennan@honeywell.com::3f6eb9a3-076c-4368-93e3-821101c8dc68" providerId="AD" clId="Web-{9E7385A8-995F-074D-B1C1-C978BAA012B5}" dt="2024-11-04T18:03:17.823" v="4"/>
          <ac:graphicFrameMkLst>
            <pc:docMk/>
            <pc:sldMk cId="963115241" sldId="2147479470"/>
            <ac:graphicFrameMk id="7" creationId="{42DA3ADD-8389-CF4A-A8E1-10B99A8951CB}"/>
          </ac:graphicFrameMkLst>
        </pc:graphicFrameChg>
        <pc:picChg chg="add mod">
          <ac:chgData name="Kennan, Rod" userId="S::rod.kennan@honeywell.com::3f6eb9a3-076c-4368-93e3-821101c8dc68" providerId="AD" clId="Web-{9E7385A8-995F-074D-B1C1-C978BAA012B5}" dt="2024-11-04T18:25:38.433" v="28" actId="1076"/>
          <ac:picMkLst>
            <pc:docMk/>
            <pc:sldMk cId="963115241" sldId="2147479470"/>
            <ac:picMk id="6" creationId="{9076E989-ED9C-644B-8161-2115AE55D587}"/>
          </ac:picMkLst>
        </pc:picChg>
        <pc:picChg chg="del">
          <ac:chgData name="Kennan, Rod" userId="S::rod.kennan@honeywell.com::3f6eb9a3-076c-4368-93e3-821101c8dc68" providerId="AD" clId="Web-{9E7385A8-995F-074D-B1C1-C978BAA012B5}" dt="2024-11-04T18:03:14.213" v="3"/>
          <ac:picMkLst>
            <pc:docMk/>
            <pc:sldMk cId="963115241" sldId="2147479470"/>
            <ac:picMk id="10" creationId="{78A164B6-1379-A0EB-83F2-D7C275489B34}"/>
          </ac:picMkLst>
        </pc:picChg>
      </pc:sldChg>
    </pc:docChg>
  </pc:docChgLst>
  <pc:docChgLst>
    <pc:chgData name="A da Costa Richeti, Danielle" userId="21e1147a-56ea-4093-a8a5-978f9ec6a32d" providerId="ADAL" clId="{CC1647D9-DB2E-41B8-8B24-B45529BE831D}"/>
    <pc:docChg chg="modSld">
      <pc:chgData name="A da Costa Richeti, Danielle" userId="21e1147a-56ea-4093-a8a5-978f9ec6a32d" providerId="ADAL" clId="{CC1647D9-DB2E-41B8-8B24-B45529BE831D}" dt="2024-11-09T00:36:36.394" v="162" actId="20577"/>
      <pc:docMkLst>
        <pc:docMk/>
      </pc:docMkLst>
      <pc:sldChg chg="mod modShow">
        <pc:chgData name="A da Costa Richeti, Danielle" userId="21e1147a-56ea-4093-a8a5-978f9ec6a32d" providerId="ADAL" clId="{CC1647D9-DB2E-41B8-8B24-B45529BE831D}" dt="2024-11-09T00:26:27.011" v="154" actId="729"/>
        <pc:sldMkLst>
          <pc:docMk/>
          <pc:sldMk cId="3819394568" sldId="2147476980"/>
        </pc:sldMkLst>
      </pc:sldChg>
      <pc:sldChg chg="mod modShow">
        <pc:chgData name="A da Costa Richeti, Danielle" userId="21e1147a-56ea-4093-a8a5-978f9ec6a32d" providerId="ADAL" clId="{CC1647D9-DB2E-41B8-8B24-B45529BE831D}" dt="2024-11-09T00:26:29.746" v="155" actId="729"/>
        <pc:sldMkLst>
          <pc:docMk/>
          <pc:sldMk cId="3322086240" sldId="2147476981"/>
        </pc:sldMkLst>
      </pc:sldChg>
      <pc:sldChg chg="modSp mod">
        <pc:chgData name="A da Costa Richeti, Danielle" userId="21e1147a-56ea-4093-a8a5-978f9ec6a32d" providerId="ADAL" clId="{CC1647D9-DB2E-41B8-8B24-B45529BE831D}" dt="2024-11-09T00:36:36.394" v="162" actId="20577"/>
        <pc:sldMkLst>
          <pc:docMk/>
          <pc:sldMk cId="1207704805" sldId="2147483244"/>
        </pc:sldMkLst>
        <pc:spChg chg="mod">
          <ac:chgData name="A da Costa Richeti, Danielle" userId="21e1147a-56ea-4093-a8a5-978f9ec6a32d" providerId="ADAL" clId="{CC1647D9-DB2E-41B8-8B24-B45529BE831D}" dt="2024-11-09T00:36:36.394" v="162" actId="20577"/>
          <ac:spMkLst>
            <pc:docMk/>
            <pc:sldMk cId="1207704805" sldId="2147483244"/>
            <ac:spMk id="2" creationId="{61D03D3A-84CD-4BD1-5DEB-B30DBF0F9A6C}"/>
          </ac:spMkLst>
        </pc:spChg>
        <pc:spChg chg="mod">
          <ac:chgData name="A da Costa Richeti, Danielle" userId="21e1147a-56ea-4093-a8a5-978f9ec6a32d" providerId="ADAL" clId="{CC1647D9-DB2E-41B8-8B24-B45529BE831D}" dt="2024-11-09T00:04:28.299" v="152" actId="1076"/>
          <ac:spMkLst>
            <pc:docMk/>
            <pc:sldMk cId="1207704805" sldId="2147483244"/>
            <ac:spMk id="4" creationId="{F9E7B2F2-161E-0F12-58ED-03E6E8F2C56F}"/>
          </ac:spMkLst>
        </pc:spChg>
        <pc:spChg chg="mod">
          <ac:chgData name="A da Costa Richeti, Danielle" userId="21e1147a-56ea-4093-a8a5-978f9ec6a32d" providerId="ADAL" clId="{CC1647D9-DB2E-41B8-8B24-B45529BE831D}" dt="2024-11-09T00:04:00.775" v="111" actId="20577"/>
          <ac:spMkLst>
            <pc:docMk/>
            <pc:sldMk cId="1207704805" sldId="2147483244"/>
            <ac:spMk id="5" creationId="{19CB304C-0960-F2FE-1BFA-3DAB70B3343D}"/>
          </ac:spMkLst>
        </pc:spChg>
      </pc:sldChg>
      <pc:sldChg chg="mod modShow">
        <pc:chgData name="A da Costa Richeti, Danielle" userId="21e1147a-56ea-4093-a8a5-978f9ec6a32d" providerId="ADAL" clId="{CC1647D9-DB2E-41B8-8B24-B45529BE831D}" dt="2024-11-09T00:26:23.862" v="153" actId="729"/>
        <pc:sldMkLst>
          <pc:docMk/>
          <pc:sldMk cId="386397435" sldId="2147483420"/>
        </pc:sldMkLst>
      </pc:sldChg>
      <pc:sldChg chg="modSp mod">
        <pc:chgData name="A da Costa Richeti, Danielle" userId="21e1147a-56ea-4093-a8a5-978f9ec6a32d" providerId="ADAL" clId="{CC1647D9-DB2E-41B8-8B24-B45529BE831D}" dt="2024-11-09T00:27:14.936" v="157" actId="20577"/>
        <pc:sldMkLst>
          <pc:docMk/>
          <pc:sldMk cId="3337929019" sldId="2147483421"/>
        </pc:sldMkLst>
        <pc:spChg chg="mod">
          <ac:chgData name="A da Costa Richeti, Danielle" userId="21e1147a-56ea-4093-a8a5-978f9ec6a32d" providerId="ADAL" clId="{CC1647D9-DB2E-41B8-8B24-B45529BE831D}" dt="2024-11-09T00:27:14.936" v="157" actId="20577"/>
          <ac:spMkLst>
            <pc:docMk/>
            <pc:sldMk cId="3337929019" sldId="2147483421"/>
            <ac:spMk id="23" creationId="{31914C4F-C6A7-9A67-DEB7-61978AFF861F}"/>
          </ac:spMkLst>
        </pc:spChg>
      </pc:sldChg>
    </pc:docChg>
  </pc:docChgLst>
  <pc:docChgLst>
    <pc:chgData name="Schubert, Mike" userId="S::mike.schubert@honeywell.com::2fd370ec-284a-4e27-8556-cd237e89fcb8" providerId="AD" clId="Web-{2FC0D382-82B9-4525-8173-E9F76008A8EF}"/>
    <pc:docChg chg="modSld">
      <pc:chgData name="Schubert, Mike" userId="S::mike.schubert@honeywell.com::2fd370ec-284a-4e27-8556-cd237e89fcb8" providerId="AD" clId="Web-{2FC0D382-82B9-4525-8173-E9F76008A8EF}" dt="2024-11-06T22:52:50.660" v="194" actId="1076"/>
      <pc:docMkLst>
        <pc:docMk/>
      </pc:docMkLst>
      <pc:sldChg chg="modSp">
        <pc:chgData name="Schubert, Mike" userId="S::mike.schubert@honeywell.com::2fd370ec-284a-4e27-8556-cd237e89fcb8" providerId="AD" clId="Web-{2FC0D382-82B9-4525-8173-E9F76008A8EF}" dt="2024-11-06T22:34:13.100" v="18" actId="20577"/>
        <pc:sldMkLst>
          <pc:docMk/>
          <pc:sldMk cId="3523580738" sldId="2147480454"/>
        </pc:sldMkLst>
        <pc:spChg chg="mod">
          <ac:chgData name="Schubert, Mike" userId="S::mike.schubert@honeywell.com::2fd370ec-284a-4e27-8556-cd237e89fcb8" providerId="AD" clId="Web-{2FC0D382-82B9-4525-8173-E9F76008A8EF}" dt="2024-11-06T22:34:13.100" v="18" actId="20577"/>
          <ac:spMkLst>
            <pc:docMk/>
            <pc:sldMk cId="3523580738" sldId="2147480454"/>
            <ac:spMk id="4" creationId="{C68D7549-544B-46E3-B567-9F1F705B4E2C}"/>
          </ac:spMkLst>
        </pc:spChg>
      </pc:sldChg>
      <pc:sldChg chg="addSp modSp">
        <pc:chgData name="Schubert, Mike" userId="S::mike.schubert@honeywell.com::2fd370ec-284a-4e27-8556-cd237e89fcb8" providerId="AD" clId="Web-{2FC0D382-82B9-4525-8173-E9F76008A8EF}" dt="2024-11-06T22:41:52.056" v="77" actId="20577"/>
        <pc:sldMkLst>
          <pc:docMk/>
          <pc:sldMk cId="3064189427" sldId="2147483234"/>
        </pc:sldMkLst>
        <pc:spChg chg="add mod">
          <ac:chgData name="Schubert, Mike" userId="S::mike.schubert@honeywell.com::2fd370ec-284a-4e27-8556-cd237e89fcb8" providerId="AD" clId="Web-{2FC0D382-82B9-4525-8173-E9F76008A8EF}" dt="2024-11-06T22:41:52.056" v="77" actId="20577"/>
          <ac:spMkLst>
            <pc:docMk/>
            <pc:sldMk cId="3064189427" sldId="2147483234"/>
            <ac:spMk id="3" creationId="{B2710E61-EA71-1064-426F-370CA4F856C2}"/>
          </ac:spMkLst>
        </pc:spChg>
        <pc:spChg chg="mod">
          <ac:chgData name="Schubert, Mike" userId="S::mike.schubert@honeywell.com::2fd370ec-284a-4e27-8556-cd237e89fcb8" providerId="AD" clId="Web-{2FC0D382-82B9-4525-8173-E9F76008A8EF}" dt="2024-11-06T22:39:56.239" v="31" actId="20577"/>
          <ac:spMkLst>
            <pc:docMk/>
            <pc:sldMk cId="3064189427" sldId="2147483234"/>
            <ac:spMk id="7" creationId="{CBAFFCA1-6F23-46B2-860C-11B91CD1E022}"/>
          </ac:spMkLst>
        </pc:spChg>
        <pc:spChg chg="mod">
          <ac:chgData name="Schubert, Mike" userId="S::mike.schubert@honeywell.com::2fd370ec-284a-4e27-8556-cd237e89fcb8" providerId="AD" clId="Web-{2FC0D382-82B9-4525-8173-E9F76008A8EF}" dt="2024-11-06T22:36:43.215" v="25" actId="1076"/>
          <ac:spMkLst>
            <pc:docMk/>
            <pc:sldMk cId="3064189427" sldId="2147483234"/>
            <ac:spMk id="10" creationId="{2B82AB11-7060-4128-885D-33E289A0D081}"/>
          </ac:spMkLst>
        </pc:spChg>
        <pc:picChg chg="mod">
          <ac:chgData name="Schubert, Mike" userId="S::mike.schubert@honeywell.com::2fd370ec-284a-4e27-8556-cd237e89fcb8" providerId="AD" clId="Web-{2FC0D382-82B9-4525-8173-E9F76008A8EF}" dt="2024-11-06T22:36:40.340" v="24" actId="1076"/>
          <ac:picMkLst>
            <pc:docMk/>
            <pc:sldMk cId="3064189427" sldId="2147483234"/>
            <ac:picMk id="6" creationId="{4E4F9196-AC09-304F-D559-6002FB18E9BE}"/>
          </ac:picMkLst>
        </pc:picChg>
        <pc:picChg chg="mod">
          <ac:chgData name="Schubert, Mike" userId="S::mike.schubert@honeywell.com::2fd370ec-284a-4e27-8556-cd237e89fcb8" providerId="AD" clId="Web-{2FC0D382-82B9-4525-8173-E9F76008A8EF}" dt="2024-11-06T22:36:35.637" v="23" actId="1076"/>
          <ac:picMkLst>
            <pc:docMk/>
            <pc:sldMk cId="3064189427" sldId="2147483234"/>
            <ac:picMk id="8" creationId="{92AAE7C7-F7B2-49D3-BD07-6C6C9F30E600}"/>
          </ac:picMkLst>
        </pc:picChg>
        <pc:picChg chg="mod">
          <ac:chgData name="Schubert, Mike" userId="S::mike.schubert@honeywell.com::2fd370ec-284a-4e27-8556-cd237e89fcb8" providerId="AD" clId="Web-{2FC0D382-82B9-4525-8173-E9F76008A8EF}" dt="2024-11-06T22:36:20.261" v="21" actId="1076"/>
          <ac:picMkLst>
            <pc:docMk/>
            <pc:sldMk cId="3064189427" sldId="2147483234"/>
            <ac:picMk id="13" creationId="{FD8457A5-1F78-9E34-10FF-A4A08BBCB836}"/>
          </ac:picMkLst>
        </pc:picChg>
        <pc:picChg chg="add mod modCrop">
          <ac:chgData name="Schubert, Mike" userId="S::mike.schubert@honeywell.com::2fd370ec-284a-4e27-8556-cd237e89fcb8" providerId="AD" clId="Web-{2FC0D382-82B9-4525-8173-E9F76008A8EF}" dt="2024-11-06T22:41:20.976" v="66" actId="14100"/>
          <ac:picMkLst>
            <pc:docMk/>
            <pc:sldMk cId="3064189427" sldId="2147483234"/>
            <ac:picMk id="15" creationId="{7E045220-290B-CD44-2C11-4AD8BC8F08C5}"/>
          </ac:picMkLst>
        </pc:picChg>
      </pc:sldChg>
      <pc:sldChg chg="addSp delSp modSp">
        <pc:chgData name="Schubert, Mike" userId="S::mike.schubert@honeywell.com::2fd370ec-284a-4e27-8556-cd237e89fcb8" providerId="AD" clId="Web-{2FC0D382-82B9-4525-8173-E9F76008A8EF}" dt="2024-11-06T22:52:50.660" v="194" actId="1076"/>
        <pc:sldMkLst>
          <pc:docMk/>
          <pc:sldMk cId="3749549044" sldId="2147483235"/>
        </pc:sldMkLst>
        <pc:spChg chg="del">
          <ac:chgData name="Schubert, Mike" userId="S::mike.schubert@honeywell.com::2fd370ec-284a-4e27-8556-cd237e89fcb8" providerId="AD" clId="Web-{2FC0D382-82B9-4525-8173-E9F76008A8EF}" dt="2024-11-06T22:48:14.743" v="136"/>
          <ac:spMkLst>
            <pc:docMk/>
            <pc:sldMk cId="3749549044" sldId="2147483235"/>
            <ac:spMk id="3" creationId="{F1E43BBD-BD62-6FB9-4C17-0187273A422C}"/>
          </ac:spMkLst>
        </pc:spChg>
        <pc:spChg chg="mod">
          <ac:chgData name="Schubert, Mike" userId="S::mike.schubert@honeywell.com::2fd370ec-284a-4e27-8556-cd237e89fcb8" providerId="AD" clId="Web-{2FC0D382-82B9-4525-8173-E9F76008A8EF}" dt="2024-11-06T22:49:48.465" v="158" actId="1076"/>
          <ac:spMkLst>
            <pc:docMk/>
            <pc:sldMk cId="3749549044" sldId="2147483235"/>
            <ac:spMk id="4" creationId="{6701620A-6DE3-2C73-C5C7-848A5F7D946E}"/>
          </ac:spMkLst>
        </pc:spChg>
        <pc:spChg chg="mod">
          <ac:chgData name="Schubert, Mike" userId="S::mike.schubert@honeywell.com::2fd370ec-284a-4e27-8556-cd237e89fcb8" providerId="AD" clId="Web-{2FC0D382-82B9-4525-8173-E9F76008A8EF}" dt="2024-11-06T22:51:41.626" v="179" actId="1076"/>
          <ac:spMkLst>
            <pc:docMk/>
            <pc:sldMk cId="3749549044" sldId="2147483235"/>
            <ac:spMk id="6" creationId="{C86F4A04-25A3-0385-A8B7-8565F409EA1E}"/>
          </ac:spMkLst>
        </pc:spChg>
        <pc:spChg chg="mod">
          <ac:chgData name="Schubert, Mike" userId="S::mike.schubert@honeywell.com::2fd370ec-284a-4e27-8556-cd237e89fcb8" providerId="AD" clId="Web-{2FC0D382-82B9-4525-8173-E9F76008A8EF}" dt="2024-11-06T22:52:16.549" v="186" actId="1076"/>
          <ac:spMkLst>
            <pc:docMk/>
            <pc:sldMk cId="3749549044" sldId="2147483235"/>
            <ac:spMk id="7" creationId="{E8CFFFB6-456B-4976-9587-A3BACDC412A3}"/>
          </ac:spMkLst>
        </pc:spChg>
        <pc:spChg chg="del">
          <ac:chgData name="Schubert, Mike" userId="S::mike.schubert@honeywell.com::2fd370ec-284a-4e27-8556-cd237e89fcb8" providerId="AD" clId="Web-{2FC0D382-82B9-4525-8173-E9F76008A8EF}" dt="2024-11-06T22:43:35.357" v="104"/>
          <ac:spMkLst>
            <pc:docMk/>
            <pc:sldMk cId="3749549044" sldId="2147483235"/>
            <ac:spMk id="8" creationId="{A09C8A10-5BA5-4B21-BDB0-7BEABF302CD2}"/>
          </ac:spMkLst>
        </pc:spChg>
        <pc:spChg chg="del">
          <ac:chgData name="Schubert, Mike" userId="S::mike.schubert@honeywell.com::2fd370ec-284a-4e27-8556-cd237e89fcb8" providerId="AD" clId="Web-{2FC0D382-82B9-4525-8173-E9F76008A8EF}" dt="2024-11-06T22:43:39.669" v="105"/>
          <ac:spMkLst>
            <pc:docMk/>
            <pc:sldMk cId="3749549044" sldId="2147483235"/>
            <ac:spMk id="10" creationId="{8358EEF1-D7A5-4BC5-9BF8-E15A86D03281}"/>
          </ac:spMkLst>
        </pc:spChg>
        <pc:spChg chg="del">
          <ac:chgData name="Schubert, Mike" userId="S::mike.schubert@honeywell.com::2fd370ec-284a-4e27-8556-cd237e89fcb8" providerId="AD" clId="Web-{2FC0D382-82B9-4525-8173-E9F76008A8EF}" dt="2024-11-06T22:43:43.435" v="106"/>
          <ac:spMkLst>
            <pc:docMk/>
            <pc:sldMk cId="3749549044" sldId="2147483235"/>
            <ac:spMk id="12" creationId="{59CAE95B-00C7-4563-BFE4-A114F33FC0D7}"/>
          </ac:spMkLst>
        </pc:spChg>
        <pc:spChg chg="mod">
          <ac:chgData name="Schubert, Mike" userId="S::mike.schubert@honeywell.com::2fd370ec-284a-4e27-8556-cd237e89fcb8" providerId="AD" clId="Web-{2FC0D382-82B9-4525-8173-E9F76008A8EF}" dt="2024-11-06T22:52:50.660" v="194" actId="1076"/>
          <ac:spMkLst>
            <pc:docMk/>
            <pc:sldMk cId="3749549044" sldId="2147483235"/>
            <ac:spMk id="13" creationId="{77DF78A7-9B89-40C9-8EA8-D177050523E3}"/>
          </ac:spMkLst>
        </pc:spChg>
        <pc:spChg chg="mod">
          <ac:chgData name="Schubert, Mike" userId="S::mike.schubert@honeywell.com::2fd370ec-284a-4e27-8556-cd237e89fcb8" providerId="AD" clId="Web-{2FC0D382-82B9-4525-8173-E9F76008A8EF}" dt="2024-11-06T22:49:37.918" v="155" actId="1076"/>
          <ac:spMkLst>
            <pc:docMk/>
            <pc:sldMk cId="3749549044" sldId="2147483235"/>
            <ac:spMk id="14" creationId="{CA3D05F1-A696-4226-8365-7CF6E31436C1}"/>
          </ac:spMkLst>
        </pc:spChg>
        <pc:spChg chg="del">
          <ac:chgData name="Schubert, Mike" userId="S::mike.schubert@honeywell.com::2fd370ec-284a-4e27-8556-cd237e89fcb8" providerId="AD" clId="Web-{2FC0D382-82B9-4525-8173-E9F76008A8EF}" dt="2024-11-06T22:48:55.854" v="149"/>
          <ac:spMkLst>
            <pc:docMk/>
            <pc:sldMk cId="3749549044" sldId="2147483235"/>
            <ac:spMk id="15" creationId="{D6DD3A08-7392-5D14-1081-F16D611F61FA}"/>
          </ac:spMkLst>
        </pc:spChg>
        <pc:spChg chg="mod">
          <ac:chgData name="Schubert, Mike" userId="S::mike.schubert@honeywell.com::2fd370ec-284a-4e27-8556-cd237e89fcb8" providerId="AD" clId="Web-{2FC0D382-82B9-4525-8173-E9F76008A8EF}" dt="2024-11-06T22:52:26.722" v="189" actId="1076"/>
          <ac:spMkLst>
            <pc:docMk/>
            <pc:sldMk cId="3749549044" sldId="2147483235"/>
            <ac:spMk id="16" creationId="{00000000-0000-0000-0000-000000000000}"/>
          </ac:spMkLst>
        </pc:spChg>
        <pc:spChg chg="mod">
          <ac:chgData name="Schubert, Mike" userId="S::mike.schubert@honeywell.com::2fd370ec-284a-4e27-8556-cd237e89fcb8" providerId="AD" clId="Web-{2FC0D382-82B9-4525-8173-E9F76008A8EF}" dt="2024-11-06T22:52:38.863" v="191" actId="1076"/>
          <ac:spMkLst>
            <pc:docMk/>
            <pc:sldMk cId="3749549044" sldId="2147483235"/>
            <ac:spMk id="18" creationId="{E7F06831-61AA-DA05-3310-83B0D418705A}"/>
          </ac:spMkLst>
        </pc:spChg>
        <pc:spChg chg="add del mod">
          <ac:chgData name="Schubert, Mike" userId="S::mike.schubert@honeywell.com::2fd370ec-284a-4e27-8556-cd237e89fcb8" providerId="AD" clId="Web-{2FC0D382-82B9-4525-8173-E9F76008A8EF}" dt="2024-11-06T22:51:14.234" v="175" actId="1076"/>
          <ac:spMkLst>
            <pc:docMk/>
            <pc:sldMk cId="3749549044" sldId="2147483235"/>
            <ac:spMk id="21" creationId="{F1E43BBD-BD62-6FB9-4C17-0187273A422C}"/>
          </ac:spMkLst>
        </pc:spChg>
        <pc:spChg chg="add del">
          <ac:chgData name="Schubert, Mike" userId="S::mike.schubert@honeywell.com::2fd370ec-284a-4e27-8556-cd237e89fcb8" providerId="AD" clId="Web-{2FC0D382-82B9-4525-8173-E9F76008A8EF}" dt="2024-11-06T22:51:03.078" v="173"/>
          <ac:spMkLst>
            <pc:docMk/>
            <pc:sldMk cId="3749549044" sldId="2147483235"/>
            <ac:spMk id="23" creationId="{F1E43BBD-BD62-6FB9-4C17-0187273A422C}"/>
          </ac:spMkLst>
        </pc:spChg>
        <pc:picChg chg="add mod modCrop">
          <ac:chgData name="Schubert, Mike" userId="S::mike.schubert@honeywell.com::2fd370ec-284a-4e27-8556-cd237e89fcb8" providerId="AD" clId="Web-{2FC0D382-82B9-4525-8173-E9F76008A8EF}" dt="2024-11-06T22:51:35.204" v="178" actId="14100"/>
          <ac:picMkLst>
            <pc:docMk/>
            <pc:sldMk cId="3749549044" sldId="2147483235"/>
            <ac:picMk id="5" creationId="{AA0C8C4C-C47D-7927-ADBF-9E121A4D6889}"/>
          </ac:picMkLst>
        </pc:picChg>
        <pc:picChg chg="add mod modCrop">
          <ac:chgData name="Schubert, Mike" userId="S::mike.schubert@honeywell.com::2fd370ec-284a-4e27-8556-cd237e89fcb8" providerId="AD" clId="Web-{2FC0D382-82B9-4525-8173-E9F76008A8EF}" dt="2024-11-06T22:49:45.184" v="157" actId="1076"/>
          <ac:picMkLst>
            <pc:docMk/>
            <pc:sldMk cId="3749549044" sldId="2147483235"/>
            <ac:picMk id="9" creationId="{9FF0F861-918A-64C4-F0E4-EFB894510ECD}"/>
          </ac:picMkLst>
        </pc:picChg>
        <pc:picChg chg="mod">
          <ac:chgData name="Schubert, Mike" userId="S::mike.schubert@honeywell.com::2fd370ec-284a-4e27-8556-cd237e89fcb8" providerId="AD" clId="Web-{2FC0D382-82B9-4525-8173-E9F76008A8EF}" dt="2024-11-06T22:52:20.268" v="187" actId="1076"/>
          <ac:picMkLst>
            <pc:docMk/>
            <pc:sldMk cId="3749549044" sldId="2147483235"/>
            <ac:picMk id="17" creationId="{00000000-0000-0000-0000-000000000000}"/>
          </ac:picMkLst>
        </pc:picChg>
        <pc:picChg chg="del">
          <ac:chgData name="Schubert, Mike" userId="S::mike.schubert@honeywell.com::2fd370ec-284a-4e27-8556-cd237e89fcb8" providerId="AD" clId="Web-{2FC0D382-82B9-4525-8173-E9F76008A8EF}" dt="2024-11-06T22:44:50.782" v="111"/>
          <ac:picMkLst>
            <pc:docMk/>
            <pc:sldMk cId="3749549044" sldId="2147483235"/>
            <ac:picMk id="19" creationId="{591E8AFA-5C97-8108-7301-882BAF9A92DE}"/>
          </ac:picMkLst>
        </pc:picChg>
        <pc:picChg chg="add mod modCrop">
          <ac:chgData name="Schubert, Mike" userId="S::mike.schubert@honeywell.com::2fd370ec-284a-4e27-8556-cd237e89fcb8" providerId="AD" clId="Web-{2FC0D382-82B9-4525-8173-E9F76008A8EF}" dt="2024-11-06T22:52:32.331" v="190" actId="1076"/>
          <ac:picMkLst>
            <pc:docMk/>
            <pc:sldMk cId="3749549044" sldId="2147483235"/>
            <ac:picMk id="20" creationId="{E632BEAA-C718-3659-0636-C7E2D9D95D8E}"/>
          </ac:picMkLst>
        </pc:picChg>
        <pc:picChg chg="add mod modCrop">
          <ac:chgData name="Schubert, Mike" userId="S::mike.schubert@honeywell.com::2fd370ec-284a-4e27-8556-cd237e89fcb8" providerId="AD" clId="Web-{2FC0D382-82B9-4525-8173-E9F76008A8EF}" dt="2024-11-06T22:50:50.202" v="170" actId="1076"/>
          <ac:picMkLst>
            <pc:docMk/>
            <pc:sldMk cId="3749549044" sldId="2147483235"/>
            <ac:picMk id="22" creationId="{3BF161C1-4FD2-8421-9C4D-EFA36C965AC1}"/>
          </ac:picMkLst>
        </pc:picChg>
      </pc:sldChg>
    </pc:docChg>
  </pc:docChgLst>
  <pc:docChgLst>
    <pc:chgData name="Owens, Todd" userId="S::todd.owens@honeywell.com::7e4cb497-8169-4a76-a849-18f8bcfb6b5f" providerId="AD" clId="Web-{32192962-B808-43AD-4155-F453CA93FFB1}"/>
    <pc:docChg chg="modSld">
      <pc:chgData name="Owens, Todd" userId="S::todd.owens@honeywell.com::7e4cb497-8169-4a76-a849-18f8bcfb6b5f" providerId="AD" clId="Web-{32192962-B808-43AD-4155-F453CA93FFB1}" dt="2024-11-11T14:27:59.391" v="0"/>
      <pc:docMkLst>
        <pc:docMk/>
      </pc:docMkLst>
      <pc:sldChg chg="mod modShow">
        <pc:chgData name="Owens, Todd" userId="S::todd.owens@honeywell.com::7e4cb497-8169-4a76-a849-18f8bcfb6b5f" providerId="AD" clId="Web-{32192962-B808-43AD-4155-F453CA93FFB1}" dt="2024-11-11T14:27:59.391" v="0"/>
        <pc:sldMkLst>
          <pc:docMk/>
          <pc:sldMk cId="386397435" sldId="2147483420"/>
        </pc:sldMkLst>
      </pc:sldChg>
    </pc:docChg>
  </pc:docChgLst>
  <pc:docChgLst>
    <pc:chgData name="Owens, Todd" userId="7e4cb497-8169-4a76-a849-18f8bcfb6b5f" providerId="ADAL" clId="{8BDB310F-FC4D-4976-9EDF-D2620A37B8A3}"/>
    <pc:docChg chg="custSel modSld">
      <pc:chgData name="Owens, Todd" userId="7e4cb497-8169-4a76-a849-18f8bcfb6b5f" providerId="ADAL" clId="{8BDB310F-FC4D-4976-9EDF-D2620A37B8A3}" dt="2024-11-11T14:34:33.348" v="133" actId="20577"/>
      <pc:docMkLst>
        <pc:docMk/>
      </pc:docMkLst>
      <pc:sldChg chg="modSp mod">
        <pc:chgData name="Owens, Todd" userId="7e4cb497-8169-4a76-a849-18f8bcfb6b5f" providerId="ADAL" clId="{8BDB310F-FC4D-4976-9EDF-D2620A37B8A3}" dt="2024-11-11T14:32:02.706" v="75" actId="20577"/>
        <pc:sldMkLst>
          <pc:docMk/>
          <pc:sldMk cId="1476873636" sldId="356"/>
        </pc:sldMkLst>
        <pc:spChg chg="mod">
          <ac:chgData name="Owens, Todd" userId="7e4cb497-8169-4a76-a849-18f8bcfb6b5f" providerId="ADAL" clId="{8BDB310F-FC4D-4976-9EDF-D2620A37B8A3}" dt="2024-11-11T14:32:02.706" v="75" actId="20577"/>
          <ac:spMkLst>
            <pc:docMk/>
            <pc:sldMk cId="1476873636" sldId="356"/>
            <ac:spMk id="7" creationId="{E2E6EF50-3069-BE2C-5A85-159005E4DB2E}"/>
          </ac:spMkLst>
        </pc:spChg>
      </pc:sldChg>
      <pc:sldChg chg="modSp mod">
        <pc:chgData name="Owens, Todd" userId="7e4cb497-8169-4a76-a849-18f8bcfb6b5f" providerId="ADAL" clId="{8BDB310F-FC4D-4976-9EDF-D2620A37B8A3}" dt="2024-11-11T14:34:33.348" v="133" actId="20577"/>
        <pc:sldMkLst>
          <pc:docMk/>
          <pc:sldMk cId="2123385283" sldId="2147483239"/>
        </pc:sldMkLst>
        <pc:spChg chg="mod">
          <ac:chgData name="Owens, Todd" userId="7e4cb497-8169-4a76-a849-18f8bcfb6b5f" providerId="ADAL" clId="{8BDB310F-FC4D-4976-9EDF-D2620A37B8A3}" dt="2024-11-11T14:34:33.348" v="133" actId="20577"/>
          <ac:spMkLst>
            <pc:docMk/>
            <pc:sldMk cId="2123385283" sldId="2147483239"/>
            <ac:spMk id="11" creationId="{FDDC0615-DC5C-061A-0DD8-BCF552485FE8}"/>
          </ac:spMkLst>
        </pc:spChg>
      </pc:sldChg>
      <pc:sldChg chg="modSp mod">
        <pc:chgData name="Owens, Todd" userId="7e4cb497-8169-4a76-a849-18f8bcfb6b5f" providerId="ADAL" clId="{8BDB310F-FC4D-4976-9EDF-D2620A37B8A3}" dt="2024-11-11T14:31:02.482" v="26" actId="1076"/>
        <pc:sldMkLst>
          <pc:docMk/>
          <pc:sldMk cId="1207704805" sldId="2147483244"/>
        </pc:sldMkLst>
        <pc:spChg chg="mod">
          <ac:chgData name="Owens, Todd" userId="7e4cb497-8169-4a76-a849-18f8bcfb6b5f" providerId="ADAL" clId="{8BDB310F-FC4D-4976-9EDF-D2620A37B8A3}" dt="2024-11-11T14:31:02.482" v="26" actId="1076"/>
          <ac:spMkLst>
            <pc:docMk/>
            <pc:sldMk cId="1207704805" sldId="2147483244"/>
            <ac:spMk id="2" creationId="{61D03D3A-84CD-4BD1-5DEB-B30DBF0F9A6C}"/>
          </ac:spMkLst>
        </pc:spChg>
        <pc:spChg chg="mod">
          <ac:chgData name="Owens, Todd" userId="7e4cb497-8169-4a76-a849-18f8bcfb6b5f" providerId="ADAL" clId="{8BDB310F-FC4D-4976-9EDF-D2620A37B8A3}" dt="2024-11-11T14:30:44.781" v="25" actId="14100"/>
          <ac:spMkLst>
            <pc:docMk/>
            <pc:sldMk cId="1207704805" sldId="2147483244"/>
            <ac:spMk id="5" creationId="{19CB304C-0960-F2FE-1BFA-3DAB70B3343D}"/>
          </ac:spMkLst>
        </pc:spChg>
      </pc:sldChg>
      <pc:sldChg chg="modSp mod">
        <pc:chgData name="Owens, Todd" userId="7e4cb497-8169-4a76-a849-18f8bcfb6b5f" providerId="ADAL" clId="{8BDB310F-FC4D-4976-9EDF-D2620A37B8A3}" dt="2024-11-11T14:31:40.381" v="63" actId="20577"/>
        <pc:sldMkLst>
          <pc:docMk/>
          <pc:sldMk cId="2564952411" sldId="2147483427"/>
        </pc:sldMkLst>
        <pc:spChg chg="mod">
          <ac:chgData name="Owens, Todd" userId="7e4cb497-8169-4a76-a849-18f8bcfb6b5f" providerId="ADAL" clId="{8BDB310F-FC4D-4976-9EDF-D2620A37B8A3}" dt="2024-11-11T14:31:40.381" v="63" actId="20577"/>
          <ac:spMkLst>
            <pc:docMk/>
            <pc:sldMk cId="2564952411" sldId="2147483427"/>
            <ac:spMk id="4" creationId="{3F0E5E02-6212-C711-08FC-CAD8E319224D}"/>
          </ac:spMkLst>
        </pc:spChg>
      </pc:sldChg>
    </pc:docChg>
  </pc:docChgLst>
  <pc:docChgLst>
    <pc:chgData name="A da Costa Richeti, Danielle" userId="S::danielle.richeti@honeywell.com::21e1147a-56ea-4093-a8a5-978f9ec6a32d" providerId="AD" clId="Web-{86039040-177F-466A-B793-404CAB63C398}"/>
    <pc:docChg chg="modSld">
      <pc:chgData name="A da Costa Richeti, Danielle" userId="S::danielle.richeti@honeywell.com::21e1147a-56ea-4093-a8a5-978f9ec6a32d" providerId="AD" clId="Web-{86039040-177F-466A-B793-404CAB63C398}" dt="2024-11-08T23:57:35.488" v="5" actId="1076"/>
      <pc:docMkLst>
        <pc:docMk/>
      </pc:docMkLst>
      <pc:sldChg chg="addSp modSp">
        <pc:chgData name="A da Costa Richeti, Danielle" userId="S::danielle.richeti@honeywell.com::21e1147a-56ea-4093-a8a5-978f9ec6a32d" providerId="AD" clId="Web-{86039040-177F-466A-B793-404CAB63C398}" dt="2024-11-08T23:57:35.488" v="5" actId="1076"/>
        <pc:sldMkLst>
          <pc:docMk/>
          <pc:sldMk cId="1207704805" sldId="2147483244"/>
        </pc:sldMkLst>
        <pc:spChg chg="add mod">
          <ac:chgData name="A da Costa Richeti, Danielle" userId="S::danielle.richeti@honeywell.com::21e1147a-56ea-4093-a8a5-978f9ec6a32d" providerId="AD" clId="Web-{86039040-177F-466A-B793-404CAB63C398}" dt="2024-11-08T23:57:35.488" v="5" actId="1076"/>
          <ac:spMkLst>
            <pc:docMk/>
            <pc:sldMk cId="1207704805" sldId="2147483244"/>
            <ac:spMk id="4" creationId="{F9E7B2F2-161E-0F12-58ED-03E6E8F2C56F}"/>
          </ac:spMkLst>
        </pc:spChg>
      </pc:sldChg>
    </pc:docChg>
  </pc:docChgLst>
  <pc:docChgLst>
    <pc:chgData name="Fleming, Malcolm" userId="b90a4bd5-7f00-4d9a-96bd-9e12bb1585de" providerId="ADAL" clId="{F77C6CBD-3F34-4E4C-ACE1-CCC73B67D58C}"/>
    <pc:docChg chg="undo custSel addSld delSld modSld sldOrd modSection">
      <pc:chgData name="Fleming, Malcolm" userId="b90a4bd5-7f00-4d9a-96bd-9e12bb1585de" providerId="ADAL" clId="{F77C6CBD-3F34-4E4C-ACE1-CCC73B67D58C}" dt="2024-11-06T19:10:09.875" v="3430" actId="47"/>
      <pc:docMkLst>
        <pc:docMk/>
      </pc:docMkLst>
      <pc:sldChg chg="del">
        <pc:chgData name="Fleming, Malcolm" userId="b90a4bd5-7f00-4d9a-96bd-9e12bb1585de" providerId="ADAL" clId="{F77C6CBD-3F34-4E4C-ACE1-CCC73B67D58C}" dt="2024-11-06T00:14:11.743" v="1712" actId="47"/>
        <pc:sldMkLst>
          <pc:docMk/>
          <pc:sldMk cId="3870627682" sldId="303"/>
        </pc:sldMkLst>
      </pc:sldChg>
      <pc:sldChg chg="modSp add mod ord modNotes">
        <pc:chgData name="Fleming, Malcolm" userId="b90a4bd5-7f00-4d9a-96bd-9e12bb1585de" providerId="ADAL" clId="{F77C6CBD-3F34-4E4C-ACE1-CCC73B67D58C}" dt="2024-11-06T19:09:34.058" v="3429" actId="20577"/>
        <pc:sldMkLst>
          <pc:docMk/>
          <pc:sldMk cId="1964004173" sldId="313"/>
        </pc:sldMkLst>
        <pc:spChg chg="mod">
          <ac:chgData name="Fleming, Malcolm" userId="b90a4bd5-7f00-4d9a-96bd-9e12bb1585de" providerId="ADAL" clId="{F77C6CBD-3F34-4E4C-ACE1-CCC73B67D58C}" dt="2024-11-06T19:09:34.058" v="3429" actId="20577"/>
          <ac:spMkLst>
            <pc:docMk/>
            <pc:sldMk cId="1964004173" sldId="313"/>
            <ac:spMk id="2" creationId="{A8049F62-A41E-4390-BD86-40D0C19C089B}"/>
          </ac:spMkLst>
        </pc:spChg>
        <pc:spChg chg="mod">
          <ac:chgData name="Fleming, Malcolm" userId="b90a4bd5-7f00-4d9a-96bd-9e12bb1585de" providerId="ADAL" clId="{F77C6CBD-3F34-4E4C-ACE1-CCC73B67D58C}" dt="2024-11-06T19:08:43.556" v="3409" actId="2711"/>
          <ac:spMkLst>
            <pc:docMk/>
            <pc:sldMk cId="1964004173" sldId="313"/>
            <ac:spMk id="66" creationId="{DD1F7EB6-B19E-4CD7-B68E-D65ADEF7E939}"/>
          </ac:spMkLst>
        </pc:spChg>
        <pc:spChg chg="mod">
          <ac:chgData name="Fleming, Malcolm" userId="b90a4bd5-7f00-4d9a-96bd-9e12bb1585de" providerId="ADAL" clId="{F77C6CBD-3F34-4E4C-ACE1-CCC73B67D58C}" dt="2024-11-06T19:08:43.556" v="3409" actId="2711"/>
          <ac:spMkLst>
            <pc:docMk/>
            <pc:sldMk cId="1964004173" sldId="313"/>
            <ac:spMk id="75" creationId="{160228B5-115F-4305-8537-05CAE9C4B5B7}"/>
          </ac:spMkLst>
        </pc:spChg>
        <pc:spChg chg="mod">
          <ac:chgData name="Fleming, Malcolm" userId="b90a4bd5-7f00-4d9a-96bd-9e12bb1585de" providerId="ADAL" clId="{F77C6CBD-3F34-4E4C-ACE1-CCC73B67D58C}" dt="2024-11-06T19:08:43.556" v="3409" actId="2711"/>
          <ac:spMkLst>
            <pc:docMk/>
            <pc:sldMk cId="1964004173" sldId="313"/>
            <ac:spMk id="77" creationId="{CA57793A-9D30-45AE-8872-9184936EFA41}"/>
          </ac:spMkLst>
        </pc:spChg>
        <pc:spChg chg="mod">
          <ac:chgData name="Fleming, Malcolm" userId="b90a4bd5-7f00-4d9a-96bd-9e12bb1585de" providerId="ADAL" clId="{F77C6CBD-3F34-4E4C-ACE1-CCC73B67D58C}" dt="2024-11-06T19:08:43.556" v="3409" actId="2711"/>
          <ac:spMkLst>
            <pc:docMk/>
            <pc:sldMk cId="1964004173" sldId="313"/>
            <ac:spMk id="79" creationId="{F28965D5-8864-4F50-98C5-C7512A15325E}"/>
          </ac:spMkLst>
        </pc:spChg>
        <pc:spChg chg="mod">
          <ac:chgData name="Fleming, Malcolm" userId="b90a4bd5-7f00-4d9a-96bd-9e12bb1585de" providerId="ADAL" clId="{F77C6CBD-3F34-4E4C-ACE1-CCC73B67D58C}" dt="2024-11-06T19:08:43.556" v="3409" actId="2711"/>
          <ac:spMkLst>
            <pc:docMk/>
            <pc:sldMk cId="1964004173" sldId="313"/>
            <ac:spMk id="81" creationId="{D0603725-8F63-4780-A3AC-5365C4895535}"/>
          </ac:spMkLst>
        </pc:spChg>
        <pc:spChg chg="mod">
          <ac:chgData name="Fleming, Malcolm" userId="b90a4bd5-7f00-4d9a-96bd-9e12bb1585de" providerId="ADAL" clId="{F77C6CBD-3F34-4E4C-ACE1-CCC73B67D58C}" dt="2024-11-06T19:08:43.556" v="3409" actId="2711"/>
          <ac:spMkLst>
            <pc:docMk/>
            <pc:sldMk cId="1964004173" sldId="313"/>
            <ac:spMk id="83" creationId="{A5176EC0-DBDF-467C-A200-7A739AF0B00D}"/>
          </ac:spMkLst>
        </pc:spChg>
        <pc:spChg chg="mod">
          <ac:chgData name="Fleming, Malcolm" userId="b90a4bd5-7f00-4d9a-96bd-9e12bb1585de" providerId="ADAL" clId="{F77C6CBD-3F34-4E4C-ACE1-CCC73B67D58C}" dt="2024-11-06T19:08:43.556" v="3409" actId="2711"/>
          <ac:spMkLst>
            <pc:docMk/>
            <pc:sldMk cId="1964004173" sldId="313"/>
            <ac:spMk id="85" creationId="{D508C0F6-1E38-4F0E-BB38-169407A038F9}"/>
          </ac:spMkLst>
        </pc:spChg>
        <pc:spChg chg="mod">
          <ac:chgData name="Fleming, Malcolm" userId="b90a4bd5-7f00-4d9a-96bd-9e12bb1585de" providerId="ADAL" clId="{F77C6CBD-3F34-4E4C-ACE1-CCC73B67D58C}" dt="2024-11-06T19:09:25.876" v="3418" actId="20577"/>
          <ac:spMkLst>
            <pc:docMk/>
            <pc:sldMk cId="1964004173" sldId="313"/>
            <ac:spMk id="87" creationId="{4AF74F3D-C170-43EC-9C01-7A3D941B60F6}"/>
          </ac:spMkLst>
        </pc:spChg>
      </pc:sldChg>
      <pc:sldChg chg="add del ord">
        <pc:chgData name="Fleming, Malcolm" userId="b90a4bd5-7f00-4d9a-96bd-9e12bb1585de" providerId="ADAL" clId="{F77C6CBD-3F34-4E4C-ACE1-CCC73B67D58C}" dt="2024-11-06T19:10:09.875" v="3430" actId="47"/>
        <pc:sldMkLst>
          <pc:docMk/>
          <pc:sldMk cId="3032793469" sldId="484"/>
        </pc:sldMkLst>
      </pc:sldChg>
      <pc:sldChg chg="ord">
        <pc:chgData name="Fleming, Malcolm" userId="b90a4bd5-7f00-4d9a-96bd-9e12bb1585de" providerId="ADAL" clId="{F77C6CBD-3F34-4E4C-ACE1-CCC73B67D58C}" dt="2024-11-05T23:47:20.152" v="0" actId="20578"/>
        <pc:sldMkLst>
          <pc:docMk/>
          <pc:sldMk cId="911313440" sldId="2147480455"/>
        </pc:sldMkLst>
      </pc:sldChg>
      <pc:sldChg chg="addSp delSp modSp mod modNotesTx">
        <pc:chgData name="Fleming, Malcolm" userId="b90a4bd5-7f00-4d9a-96bd-9e12bb1585de" providerId="ADAL" clId="{F77C6CBD-3F34-4E4C-ACE1-CCC73B67D58C}" dt="2024-11-06T19:08:24.430" v="3408" actId="478"/>
        <pc:sldMkLst>
          <pc:docMk/>
          <pc:sldMk cId="3265769468" sldId="2147483248"/>
        </pc:sldMkLst>
        <pc:spChg chg="mod">
          <ac:chgData name="Fleming, Malcolm" userId="b90a4bd5-7f00-4d9a-96bd-9e12bb1585de" providerId="ADAL" clId="{F77C6CBD-3F34-4E4C-ACE1-CCC73B67D58C}" dt="2024-11-06T00:13:56.127" v="1711" actId="20577"/>
          <ac:spMkLst>
            <pc:docMk/>
            <pc:sldMk cId="3265769468" sldId="2147483248"/>
            <ac:spMk id="2" creationId="{473B4E93-4339-71B9-78A3-46FCA9806E1C}"/>
          </ac:spMkLst>
        </pc:spChg>
        <pc:spChg chg="del mod">
          <ac:chgData name="Fleming, Malcolm" userId="b90a4bd5-7f00-4d9a-96bd-9e12bb1585de" providerId="ADAL" clId="{F77C6CBD-3F34-4E4C-ACE1-CCC73B67D58C}" dt="2024-11-06T19:08:24.430" v="3408" actId="478"/>
          <ac:spMkLst>
            <pc:docMk/>
            <pc:sldMk cId="3265769468" sldId="2147483248"/>
            <ac:spMk id="3" creationId="{D7D461EE-B08F-9968-0B62-A36069C331A9}"/>
          </ac:spMkLst>
        </pc:spChg>
        <pc:spChg chg="mod">
          <ac:chgData name="Fleming, Malcolm" userId="b90a4bd5-7f00-4d9a-96bd-9e12bb1585de" providerId="ADAL" clId="{F77C6CBD-3F34-4E4C-ACE1-CCC73B67D58C}" dt="2024-11-06T00:04:42.387" v="575" actId="1038"/>
          <ac:spMkLst>
            <pc:docMk/>
            <pc:sldMk cId="3265769468" sldId="2147483248"/>
            <ac:spMk id="8" creationId="{13FB23D0-4E06-10DD-12DA-CAA19B8C9F28}"/>
          </ac:spMkLst>
        </pc:spChg>
        <pc:spChg chg="mod">
          <ac:chgData name="Fleming, Malcolm" userId="b90a4bd5-7f00-4d9a-96bd-9e12bb1585de" providerId="ADAL" clId="{F77C6CBD-3F34-4E4C-ACE1-CCC73B67D58C}" dt="2024-11-06T00:04:42.387" v="575" actId="1038"/>
          <ac:spMkLst>
            <pc:docMk/>
            <pc:sldMk cId="3265769468" sldId="2147483248"/>
            <ac:spMk id="9" creationId="{B1A4C56B-51AF-7DD4-FE18-F28057D58141}"/>
          </ac:spMkLst>
        </pc:spChg>
        <pc:spChg chg="mod">
          <ac:chgData name="Fleming, Malcolm" userId="b90a4bd5-7f00-4d9a-96bd-9e12bb1585de" providerId="ADAL" clId="{F77C6CBD-3F34-4E4C-ACE1-CCC73B67D58C}" dt="2024-11-06T00:04:42.387" v="575" actId="1038"/>
          <ac:spMkLst>
            <pc:docMk/>
            <pc:sldMk cId="3265769468" sldId="2147483248"/>
            <ac:spMk id="10" creationId="{B3FCE8B5-5687-CAE6-E672-0B732F7BD790}"/>
          </ac:spMkLst>
        </pc:spChg>
        <pc:spChg chg="mod">
          <ac:chgData name="Fleming, Malcolm" userId="b90a4bd5-7f00-4d9a-96bd-9e12bb1585de" providerId="ADAL" clId="{F77C6CBD-3F34-4E4C-ACE1-CCC73B67D58C}" dt="2024-11-06T00:04:42.387" v="575" actId="1038"/>
          <ac:spMkLst>
            <pc:docMk/>
            <pc:sldMk cId="3265769468" sldId="2147483248"/>
            <ac:spMk id="12" creationId="{B5341A77-FA91-4825-D876-0D66A78A3936}"/>
          </ac:spMkLst>
        </pc:spChg>
        <pc:spChg chg="mod">
          <ac:chgData name="Fleming, Malcolm" userId="b90a4bd5-7f00-4d9a-96bd-9e12bb1585de" providerId="ADAL" clId="{F77C6CBD-3F34-4E4C-ACE1-CCC73B67D58C}" dt="2024-11-06T00:04:42.387" v="575" actId="1038"/>
          <ac:spMkLst>
            <pc:docMk/>
            <pc:sldMk cId="3265769468" sldId="2147483248"/>
            <ac:spMk id="15" creationId="{566F1256-3E21-CF2A-D08D-A31F4471695D}"/>
          </ac:spMkLst>
        </pc:spChg>
        <pc:spChg chg="mod">
          <ac:chgData name="Fleming, Malcolm" userId="b90a4bd5-7f00-4d9a-96bd-9e12bb1585de" providerId="ADAL" clId="{F77C6CBD-3F34-4E4C-ACE1-CCC73B67D58C}" dt="2024-11-06T00:04:42.387" v="575" actId="1038"/>
          <ac:spMkLst>
            <pc:docMk/>
            <pc:sldMk cId="3265769468" sldId="2147483248"/>
            <ac:spMk id="16" creationId="{F8878B22-92F6-E4BD-D2BE-200496C09C2D}"/>
          </ac:spMkLst>
        </pc:spChg>
        <pc:spChg chg="mod">
          <ac:chgData name="Fleming, Malcolm" userId="b90a4bd5-7f00-4d9a-96bd-9e12bb1585de" providerId="ADAL" clId="{F77C6CBD-3F34-4E4C-ACE1-CCC73B67D58C}" dt="2024-11-06T00:04:42.387" v="575" actId="1038"/>
          <ac:spMkLst>
            <pc:docMk/>
            <pc:sldMk cId="3265769468" sldId="2147483248"/>
            <ac:spMk id="18" creationId="{18157E33-B6AA-124A-5475-79775F023ACF}"/>
          </ac:spMkLst>
        </pc:spChg>
        <pc:spChg chg="mod">
          <ac:chgData name="Fleming, Malcolm" userId="b90a4bd5-7f00-4d9a-96bd-9e12bb1585de" providerId="ADAL" clId="{F77C6CBD-3F34-4E4C-ACE1-CCC73B67D58C}" dt="2024-11-06T00:04:42.387" v="575" actId="1038"/>
          <ac:spMkLst>
            <pc:docMk/>
            <pc:sldMk cId="3265769468" sldId="2147483248"/>
            <ac:spMk id="19" creationId="{A4437150-38BE-6417-4704-D323FC0F3BBD}"/>
          </ac:spMkLst>
        </pc:spChg>
        <pc:spChg chg="mod">
          <ac:chgData name="Fleming, Malcolm" userId="b90a4bd5-7f00-4d9a-96bd-9e12bb1585de" providerId="ADAL" clId="{F77C6CBD-3F34-4E4C-ACE1-CCC73B67D58C}" dt="2024-11-06T00:04:42.387" v="575" actId="1038"/>
          <ac:spMkLst>
            <pc:docMk/>
            <pc:sldMk cId="3265769468" sldId="2147483248"/>
            <ac:spMk id="20" creationId="{087C52C9-C462-7C97-FA9E-609CE7BD94BD}"/>
          </ac:spMkLst>
        </pc:spChg>
        <pc:spChg chg="mod">
          <ac:chgData name="Fleming, Malcolm" userId="b90a4bd5-7f00-4d9a-96bd-9e12bb1585de" providerId="ADAL" clId="{F77C6CBD-3F34-4E4C-ACE1-CCC73B67D58C}" dt="2024-11-06T00:04:42.387" v="575" actId="1038"/>
          <ac:spMkLst>
            <pc:docMk/>
            <pc:sldMk cId="3265769468" sldId="2147483248"/>
            <ac:spMk id="21" creationId="{9DD312D7-A2A8-4385-0E11-A864DA74AB31}"/>
          </ac:spMkLst>
        </pc:spChg>
        <pc:spChg chg="mod">
          <ac:chgData name="Fleming, Malcolm" userId="b90a4bd5-7f00-4d9a-96bd-9e12bb1585de" providerId="ADAL" clId="{F77C6CBD-3F34-4E4C-ACE1-CCC73B67D58C}" dt="2024-11-06T00:04:42.387" v="575" actId="1038"/>
          <ac:spMkLst>
            <pc:docMk/>
            <pc:sldMk cId="3265769468" sldId="2147483248"/>
            <ac:spMk id="22" creationId="{586D1897-6E6A-4CF1-E534-D3180DB5EAF5}"/>
          </ac:spMkLst>
        </pc:spChg>
        <pc:spChg chg="del mod topLvl">
          <ac:chgData name="Fleming, Malcolm" userId="b90a4bd5-7f00-4d9a-96bd-9e12bb1585de" providerId="ADAL" clId="{F77C6CBD-3F34-4E4C-ACE1-CCC73B67D58C}" dt="2024-11-06T00:01:44.140" v="339" actId="478"/>
          <ac:spMkLst>
            <pc:docMk/>
            <pc:sldMk cId="3265769468" sldId="2147483248"/>
            <ac:spMk id="26" creationId="{274C62E2-99B0-CDD3-15E3-1BA2D48AD383}"/>
          </ac:spMkLst>
        </pc:spChg>
        <pc:spChg chg="mod topLvl">
          <ac:chgData name="Fleming, Malcolm" userId="b90a4bd5-7f00-4d9a-96bd-9e12bb1585de" providerId="ADAL" clId="{F77C6CBD-3F34-4E4C-ACE1-CCC73B67D58C}" dt="2024-11-06T00:15:33.558" v="1740" actId="20577"/>
          <ac:spMkLst>
            <pc:docMk/>
            <pc:sldMk cId="3265769468" sldId="2147483248"/>
            <ac:spMk id="27" creationId="{9DFAD558-4F17-3A96-E233-B881C8F334DF}"/>
          </ac:spMkLst>
        </pc:spChg>
        <pc:spChg chg="del mod topLvl">
          <ac:chgData name="Fleming, Malcolm" userId="b90a4bd5-7f00-4d9a-96bd-9e12bb1585de" providerId="ADAL" clId="{F77C6CBD-3F34-4E4C-ACE1-CCC73B67D58C}" dt="2024-11-05T23:59:35.955" v="265" actId="478"/>
          <ac:spMkLst>
            <pc:docMk/>
            <pc:sldMk cId="3265769468" sldId="2147483248"/>
            <ac:spMk id="32" creationId="{CED60C3A-2BAD-F75D-9BBD-5C813133652E}"/>
          </ac:spMkLst>
        </pc:spChg>
        <pc:spChg chg="mod topLvl">
          <ac:chgData name="Fleming, Malcolm" userId="b90a4bd5-7f00-4d9a-96bd-9e12bb1585de" providerId="ADAL" clId="{F77C6CBD-3F34-4E4C-ACE1-CCC73B67D58C}" dt="2024-11-06T17:55:48.296" v="3321" actId="20577"/>
          <ac:spMkLst>
            <pc:docMk/>
            <pc:sldMk cId="3265769468" sldId="2147483248"/>
            <ac:spMk id="33" creationId="{C464D316-E5F1-9498-3FDA-A6669B905774}"/>
          </ac:spMkLst>
        </pc:spChg>
        <pc:spChg chg="del mod topLvl">
          <ac:chgData name="Fleming, Malcolm" userId="b90a4bd5-7f00-4d9a-96bd-9e12bb1585de" providerId="ADAL" clId="{F77C6CBD-3F34-4E4C-ACE1-CCC73B67D58C}" dt="2024-11-05T23:53:48.234" v="4" actId="478"/>
          <ac:spMkLst>
            <pc:docMk/>
            <pc:sldMk cId="3265769468" sldId="2147483248"/>
            <ac:spMk id="37" creationId="{7F8BF961-6278-799E-19B3-BC387AA0355F}"/>
          </ac:spMkLst>
        </pc:spChg>
        <pc:spChg chg="mod topLvl">
          <ac:chgData name="Fleming, Malcolm" userId="b90a4bd5-7f00-4d9a-96bd-9e12bb1585de" providerId="ADAL" clId="{F77C6CBD-3F34-4E4C-ACE1-CCC73B67D58C}" dt="2024-11-05T23:59:49.643" v="268" actId="20577"/>
          <ac:spMkLst>
            <pc:docMk/>
            <pc:sldMk cId="3265769468" sldId="2147483248"/>
            <ac:spMk id="38" creationId="{0A50525B-97BF-C550-427D-FB0F673CC47C}"/>
          </ac:spMkLst>
        </pc:spChg>
        <pc:spChg chg="del mod topLvl">
          <ac:chgData name="Fleming, Malcolm" userId="b90a4bd5-7f00-4d9a-96bd-9e12bb1585de" providerId="ADAL" clId="{F77C6CBD-3F34-4E4C-ACE1-CCC73B67D58C}" dt="2024-11-05T23:56:47.973" v="32" actId="478"/>
          <ac:spMkLst>
            <pc:docMk/>
            <pc:sldMk cId="3265769468" sldId="2147483248"/>
            <ac:spMk id="48" creationId="{42ACEA0C-A2C0-3EB7-2D16-9D81DFB3BA9F}"/>
          </ac:spMkLst>
        </pc:spChg>
        <pc:spChg chg="mod topLvl">
          <ac:chgData name="Fleming, Malcolm" userId="b90a4bd5-7f00-4d9a-96bd-9e12bb1585de" providerId="ADAL" clId="{F77C6CBD-3F34-4E4C-ACE1-CCC73B67D58C}" dt="2024-11-06T17:57:30.982" v="3351" actId="20577"/>
          <ac:spMkLst>
            <pc:docMk/>
            <pc:sldMk cId="3265769468" sldId="2147483248"/>
            <ac:spMk id="49" creationId="{C0FA6E97-E47B-33CC-100C-B13B44CBB771}"/>
          </ac:spMkLst>
        </pc:spChg>
        <pc:grpChg chg="add del mod">
          <ac:chgData name="Fleming, Malcolm" userId="b90a4bd5-7f00-4d9a-96bd-9e12bb1585de" providerId="ADAL" clId="{F77C6CBD-3F34-4E4C-ACE1-CCC73B67D58C}" dt="2024-11-06T00:04:42.387" v="575" actId="1038"/>
          <ac:grpSpMkLst>
            <pc:docMk/>
            <pc:sldMk cId="3265769468" sldId="2147483248"/>
            <ac:grpSpMk id="7" creationId="{76072AE6-1FCA-A1DA-50F1-598A40563CF6}"/>
          </ac:grpSpMkLst>
        </pc:grpChg>
        <pc:grpChg chg="del">
          <ac:chgData name="Fleming, Malcolm" userId="b90a4bd5-7f00-4d9a-96bd-9e12bb1585de" providerId="ADAL" clId="{F77C6CBD-3F34-4E4C-ACE1-CCC73B67D58C}" dt="2024-11-06T00:01:44.140" v="339" actId="478"/>
          <ac:grpSpMkLst>
            <pc:docMk/>
            <pc:sldMk cId="3265769468" sldId="2147483248"/>
            <ac:grpSpMk id="25" creationId="{0DF58166-FF1E-6593-BD3E-384DAC389146}"/>
          </ac:grpSpMkLst>
        </pc:grpChg>
        <pc:grpChg chg="del">
          <ac:chgData name="Fleming, Malcolm" userId="b90a4bd5-7f00-4d9a-96bd-9e12bb1585de" providerId="ADAL" clId="{F77C6CBD-3F34-4E4C-ACE1-CCC73B67D58C}" dt="2024-11-05T23:59:35.955" v="265" actId="478"/>
          <ac:grpSpMkLst>
            <pc:docMk/>
            <pc:sldMk cId="3265769468" sldId="2147483248"/>
            <ac:grpSpMk id="31" creationId="{A4F92ACF-E6AF-13CD-2FFC-C474DD319AA6}"/>
          </ac:grpSpMkLst>
        </pc:grpChg>
        <pc:grpChg chg="del">
          <ac:chgData name="Fleming, Malcolm" userId="b90a4bd5-7f00-4d9a-96bd-9e12bb1585de" providerId="ADAL" clId="{F77C6CBD-3F34-4E4C-ACE1-CCC73B67D58C}" dt="2024-11-05T23:53:48.234" v="4" actId="478"/>
          <ac:grpSpMkLst>
            <pc:docMk/>
            <pc:sldMk cId="3265769468" sldId="2147483248"/>
            <ac:grpSpMk id="36" creationId="{5EEECF7F-F3E2-97B6-CABE-71424342F7AE}"/>
          </ac:grpSpMkLst>
        </pc:grpChg>
        <pc:grpChg chg="mod">
          <ac:chgData name="Fleming, Malcolm" userId="b90a4bd5-7f00-4d9a-96bd-9e12bb1585de" providerId="ADAL" clId="{F77C6CBD-3F34-4E4C-ACE1-CCC73B67D58C}" dt="2024-11-06T00:04:42.387" v="575" actId="1038"/>
          <ac:grpSpMkLst>
            <pc:docMk/>
            <pc:sldMk cId="3265769468" sldId="2147483248"/>
            <ac:grpSpMk id="45" creationId="{970CFB7C-60A8-A727-235E-3D05375DF101}"/>
          </ac:grpSpMkLst>
        </pc:grpChg>
        <pc:grpChg chg="del">
          <ac:chgData name="Fleming, Malcolm" userId="b90a4bd5-7f00-4d9a-96bd-9e12bb1585de" providerId="ADAL" clId="{F77C6CBD-3F34-4E4C-ACE1-CCC73B67D58C}" dt="2024-11-05T23:56:47.973" v="32" actId="478"/>
          <ac:grpSpMkLst>
            <pc:docMk/>
            <pc:sldMk cId="3265769468" sldId="2147483248"/>
            <ac:grpSpMk id="47" creationId="{1F066526-9E40-CCFD-8545-F15EB2B445C7}"/>
          </ac:grpSpMkLst>
        </pc:grpChg>
        <pc:picChg chg="mod">
          <ac:chgData name="Fleming, Malcolm" userId="b90a4bd5-7f00-4d9a-96bd-9e12bb1585de" providerId="ADAL" clId="{F77C6CBD-3F34-4E4C-ACE1-CCC73B67D58C}" dt="2024-11-06T00:04:42.387" v="575" actId="1038"/>
          <ac:picMkLst>
            <pc:docMk/>
            <pc:sldMk cId="3265769468" sldId="2147483248"/>
            <ac:picMk id="14" creationId="{AD6CB142-6923-C7D3-90CC-06D87ABB990F}"/>
          </ac:picMkLst>
        </pc:picChg>
        <pc:picChg chg="add del">
          <ac:chgData name="Fleming, Malcolm" userId="b90a4bd5-7f00-4d9a-96bd-9e12bb1585de" providerId="ADAL" clId="{F77C6CBD-3F34-4E4C-ACE1-CCC73B67D58C}" dt="2024-11-06T00:04:31.256" v="544" actId="478"/>
          <ac:picMkLst>
            <pc:docMk/>
            <pc:sldMk cId="3265769468" sldId="2147483248"/>
            <ac:picMk id="1026" creationId="{8DAB4019-6BBC-50A4-77C2-037A21891B65}"/>
          </ac:picMkLst>
        </pc:picChg>
        <pc:cxnChg chg="mod">
          <ac:chgData name="Fleming, Malcolm" userId="b90a4bd5-7f00-4d9a-96bd-9e12bb1585de" providerId="ADAL" clId="{F77C6CBD-3F34-4E4C-ACE1-CCC73B67D58C}" dt="2024-11-06T00:05:21.864" v="582" actId="14100"/>
          <ac:cxnSpMkLst>
            <pc:docMk/>
            <pc:sldMk cId="3265769468" sldId="2147483248"/>
            <ac:cxnSpMk id="24" creationId="{F6672263-754C-E608-C519-03C8E300E5E6}"/>
          </ac:cxnSpMkLst>
        </pc:cxnChg>
        <pc:cxnChg chg="mod">
          <ac:chgData name="Fleming, Malcolm" userId="b90a4bd5-7f00-4d9a-96bd-9e12bb1585de" providerId="ADAL" clId="{F77C6CBD-3F34-4E4C-ACE1-CCC73B67D58C}" dt="2024-11-06T00:05:06.099" v="579" actId="14100"/>
          <ac:cxnSpMkLst>
            <pc:docMk/>
            <pc:sldMk cId="3265769468" sldId="2147483248"/>
            <ac:cxnSpMk id="30" creationId="{802FD951-44B4-9E9A-18E5-4FF9C38E582F}"/>
          </ac:cxnSpMkLst>
        </pc:cxnChg>
        <pc:cxnChg chg="mod">
          <ac:chgData name="Fleming, Malcolm" userId="b90a4bd5-7f00-4d9a-96bd-9e12bb1585de" providerId="ADAL" clId="{F77C6CBD-3F34-4E4C-ACE1-CCC73B67D58C}" dt="2024-11-06T00:04:59.850" v="577" actId="14100"/>
          <ac:cxnSpMkLst>
            <pc:docMk/>
            <pc:sldMk cId="3265769468" sldId="2147483248"/>
            <ac:cxnSpMk id="35" creationId="{04567C9C-7594-7881-900D-B35C789F4A5C}"/>
          </ac:cxnSpMkLst>
        </pc:cxnChg>
        <pc:cxnChg chg="mod">
          <ac:chgData name="Fleming, Malcolm" userId="b90a4bd5-7f00-4d9a-96bd-9e12bb1585de" providerId="ADAL" clId="{F77C6CBD-3F34-4E4C-ACE1-CCC73B67D58C}" dt="2024-11-06T17:57:40.055" v="3353" actId="14100"/>
          <ac:cxnSpMkLst>
            <pc:docMk/>
            <pc:sldMk cId="3265769468" sldId="2147483248"/>
            <ac:cxnSpMk id="46" creationId="{8163EBA6-6D1C-6ED8-BC29-DF0BF1DC3F81}"/>
          </ac:cxnSpMkLst>
        </pc:cxnChg>
      </pc:sldChg>
      <pc:sldChg chg="del">
        <pc:chgData name="Fleming, Malcolm" userId="b90a4bd5-7f00-4d9a-96bd-9e12bb1585de" providerId="ADAL" clId="{F77C6CBD-3F34-4E4C-ACE1-CCC73B67D58C}" dt="2024-11-06T00:14:11.743" v="1712" actId="47"/>
        <pc:sldMkLst>
          <pc:docMk/>
          <pc:sldMk cId="3076292046" sldId="214748324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honeywellprod.sharepoint.com/teams/SPEXData/Shared%20Documents/SPEX%20Data/Red%20Bin%20-%20AOG%20-%20ISS%20-%20ERB%20KPIs%20-%20Cop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dirty="0"/>
              <a:t>SPEX Red &amp; Yellow Bins 2024</a:t>
            </a:r>
          </a:p>
        </c:rich>
      </c:tx>
      <c:layout>
        <c:manualLayout>
          <c:xMode val="edge"/>
          <c:yMode val="edge"/>
          <c:x val="0.34894394969261439"/>
          <c:y val="3.687333928619747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4282706803675152E-2"/>
          <c:y val="0.12548591739933854"/>
          <c:w val="0.93864317600579317"/>
          <c:h val="0.66065746266021685"/>
        </c:manualLayout>
      </c:layout>
      <c:barChart>
        <c:barDir val="col"/>
        <c:grouping val="stacked"/>
        <c:varyColors val="0"/>
        <c:ser>
          <c:idx val="0"/>
          <c:order val="0"/>
          <c:tx>
            <c:strRef>
              <c:f>'SPEX-ISS Red Bin'!$C$5:$D$5</c:f>
              <c:strCache>
                <c:ptCount val="2"/>
                <c:pt idx="0">
                  <c:v>Red Bins</c:v>
                </c:pt>
                <c:pt idx="1">
                  <c:v>WOW</c:v>
                </c:pt>
              </c:strCache>
            </c:strRef>
          </c:tx>
          <c:spPr>
            <a:solidFill>
              <a:schemeClr val="accent1"/>
            </a:solidFill>
            <a:ln>
              <a:noFill/>
            </a:ln>
            <a:effectLst/>
          </c:spPr>
          <c:invertIfNegative val="0"/>
          <c:cat>
            <c:strRef>
              <c:f>'SPEX-ISS Red Bin'!$ED$4:$GI$4</c:f>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f>'SPEX-ISS Red Bin'!$EG$5:$ET$5</c:f>
            </c:numRef>
          </c:val>
          <c:extLst>
            <c:ext xmlns:c16="http://schemas.microsoft.com/office/drawing/2014/chart" uri="{C3380CC4-5D6E-409C-BE32-E72D297353CC}">
              <c16:uniqueId val="{00000000-D603-4B8C-9185-BF1DE7E3D96E}"/>
            </c:ext>
          </c:extLst>
        </c:ser>
        <c:ser>
          <c:idx val="1"/>
          <c:order val="1"/>
          <c:tx>
            <c:strRef>
              <c:f>'SPEX-ISS Red Bin'!$C$6:$D$6</c:f>
              <c:strCache>
                <c:ptCount val="2"/>
                <c:pt idx="0">
                  <c:v>Red Bins</c:v>
                </c:pt>
                <c:pt idx="1">
                  <c:v>Actual</c:v>
                </c:pt>
              </c:strCache>
            </c:strRef>
          </c:tx>
          <c:spPr>
            <a:solidFill>
              <a:schemeClr val="accent1"/>
            </a:solidFill>
            <a:ln>
              <a:noFill/>
            </a:ln>
            <a:effectLst/>
          </c:spPr>
          <c:invertIfNegative val="0"/>
          <c:dLbls>
            <c:spPr>
              <a:noFill/>
              <a:ln>
                <a:noFill/>
              </a:ln>
              <a:effectLst/>
            </c:spPr>
            <c:txPr>
              <a:bodyPr rot="-5400000" spcFirstLastPara="1" vertOverflow="ellipsis" wrap="square" anchor="ctr" anchorCtr="1"/>
              <a:lstStyle/>
              <a:p>
                <a:pPr>
                  <a:defRPr sz="9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PEX-ISS Red Bin'!$ED$4:$GI$4</c:f>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f>'SPEX-ISS Red Bin'!$ED$6:$GI$6</c:f>
              <c:numCache>
                <c:formatCode>General</c:formatCode>
                <c:ptCount val="45"/>
                <c:pt idx="0">
                  <c:v>316</c:v>
                </c:pt>
                <c:pt idx="1">
                  <c:v>336</c:v>
                </c:pt>
                <c:pt idx="2">
                  <c:v>341</c:v>
                </c:pt>
                <c:pt idx="3">
                  <c:v>331</c:v>
                </c:pt>
                <c:pt idx="4">
                  <c:v>336</c:v>
                </c:pt>
                <c:pt idx="5">
                  <c:v>325</c:v>
                </c:pt>
                <c:pt idx="6">
                  <c:v>317</c:v>
                </c:pt>
                <c:pt idx="7">
                  <c:v>320</c:v>
                </c:pt>
                <c:pt idx="8">
                  <c:v>318</c:v>
                </c:pt>
                <c:pt idx="9">
                  <c:v>322</c:v>
                </c:pt>
                <c:pt idx="10">
                  <c:v>334</c:v>
                </c:pt>
                <c:pt idx="11">
                  <c:v>328</c:v>
                </c:pt>
                <c:pt idx="12">
                  <c:v>322</c:v>
                </c:pt>
                <c:pt idx="13">
                  <c:v>321</c:v>
                </c:pt>
                <c:pt idx="14">
                  <c:v>313</c:v>
                </c:pt>
                <c:pt idx="15">
                  <c:v>300</c:v>
                </c:pt>
                <c:pt idx="16">
                  <c:v>300</c:v>
                </c:pt>
                <c:pt idx="17">
                  <c:v>296</c:v>
                </c:pt>
                <c:pt idx="18">
                  <c:v>290</c:v>
                </c:pt>
                <c:pt idx="19">
                  <c:v>277</c:v>
                </c:pt>
                <c:pt idx="20">
                  <c:v>283</c:v>
                </c:pt>
                <c:pt idx="21">
                  <c:v>269</c:v>
                </c:pt>
                <c:pt idx="22">
                  <c:v>268</c:v>
                </c:pt>
                <c:pt idx="23">
                  <c:v>265</c:v>
                </c:pt>
                <c:pt idx="24">
                  <c:v>276</c:v>
                </c:pt>
                <c:pt idx="25">
                  <c:v>276</c:v>
                </c:pt>
                <c:pt idx="26">
                  <c:v>285</c:v>
                </c:pt>
                <c:pt idx="27">
                  <c:v>280</c:v>
                </c:pt>
                <c:pt idx="28">
                  <c:v>280</c:v>
                </c:pt>
                <c:pt idx="29">
                  <c:v>276</c:v>
                </c:pt>
                <c:pt idx="30">
                  <c:v>274</c:v>
                </c:pt>
                <c:pt idx="31">
                  <c:v>275</c:v>
                </c:pt>
                <c:pt idx="32">
                  <c:v>276</c:v>
                </c:pt>
                <c:pt idx="33">
                  <c:v>280</c:v>
                </c:pt>
                <c:pt idx="34">
                  <c:v>275</c:v>
                </c:pt>
                <c:pt idx="35">
                  <c:v>271</c:v>
                </c:pt>
                <c:pt idx="36">
                  <c:v>259</c:v>
                </c:pt>
                <c:pt idx="37">
                  <c:v>247</c:v>
                </c:pt>
                <c:pt idx="38">
                  <c:v>252</c:v>
                </c:pt>
                <c:pt idx="39">
                  <c:v>248</c:v>
                </c:pt>
                <c:pt idx="40">
                  <c:v>232</c:v>
                </c:pt>
                <c:pt idx="41">
                  <c:v>226</c:v>
                </c:pt>
                <c:pt idx="42">
                  <c:v>228</c:v>
                </c:pt>
                <c:pt idx="43">
                  <c:v>226</c:v>
                </c:pt>
                <c:pt idx="44">
                  <c:v>217</c:v>
                </c:pt>
              </c:numCache>
            </c:numRef>
          </c:val>
          <c:extLst>
            <c:ext xmlns:c16="http://schemas.microsoft.com/office/drawing/2014/chart" uri="{C3380CC4-5D6E-409C-BE32-E72D297353CC}">
              <c16:uniqueId val="{00000001-D603-4B8C-9185-BF1DE7E3D96E}"/>
            </c:ext>
          </c:extLst>
        </c:ser>
        <c:ser>
          <c:idx val="3"/>
          <c:order val="3"/>
          <c:tx>
            <c:strRef>
              <c:f>'SPEX-ISS Red Bin'!$C$8:$D$8</c:f>
              <c:strCache>
                <c:ptCount val="2"/>
                <c:pt idx="0">
                  <c:v>Yellow Bins</c:v>
                </c:pt>
                <c:pt idx="1">
                  <c:v>Actual</c:v>
                </c:pt>
              </c:strCache>
            </c:strRef>
          </c:tx>
          <c:spPr>
            <a:solidFill>
              <a:srgbClr val="FFC000"/>
            </a:solidFill>
            <a:ln>
              <a:noFill/>
            </a:ln>
            <a:effectLst/>
          </c:spPr>
          <c:invertIfNegative val="0"/>
          <c:dLbls>
            <c:dLbl>
              <c:idx val="1"/>
              <c:layout>
                <c:manualLayout>
                  <c:x val="1.552192471866511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603-4B8C-9185-BF1DE7E3D96E}"/>
                </c:ext>
              </c:extLst>
            </c:dLbl>
            <c:dLbl>
              <c:idx val="2"/>
              <c:layout>
                <c:manualLayout>
                  <c:x val="1.5521924718665113E-3"/>
                  <c:y val="5.97907324364723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03-4B8C-9185-BF1DE7E3D96E}"/>
                </c:ext>
              </c:extLst>
            </c:dLbl>
            <c:dLbl>
              <c:idx val="3"/>
              <c:layout>
                <c:manualLayout>
                  <c:x val="-1.5521924718665113E-3"/>
                  <c:y val="-2.989536621823644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603-4B8C-9185-BF1DE7E3D96E}"/>
                </c:ext>
              </c:extLst>
            </c:dLbl>
            <c:dLbl>
              <c:idx val="8"/>
              <c:layout>
                <c:manualLayout>
                  <c:x val="-2.8456533251918962E-17"/>
                  <c:y val="5.97907324364723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03-4B8C-9185-BF1DE7E3D96E}"/>
                </c:ext>
              </c:extLst>
            </c:dLbl>
            <c:dLbl>
              <c:idx val="11"/>
              <c:layout>
                <c:manualLayout>
                  <c:x val="0"/>
                  <c:y val="8.96860986547085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03-4B8C-9185-BF1DE7E3D96E}"/>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PEX-ISS Red Bin'!$ED$4:$GI$4</c:f>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f>'SPEX-ISS Red Bin'!$ED$8:$GI$8</c:f>
              <c:numCache>
                <c:formatCode>General</c:formatCode>
                <c:ptCount val="45"/>
                <c:pt idx="0">
                  <c:v>46</c:v>
                </c:pt>
                <c:pt idx="1">
                  <c:v>41</c:v>
                </c:pt>
                <c:pt idx="2">
                  <c:v>35</c:v>
                </c:pt>
                <c:pt idx="3">
                  <c:v>43</c:v>
                </c:pt>
                <c:pt idx="4">
                  <c:v>46</c:v>
                </c:pt>
                <c:pt idx="5">
                  <c:v>46</c:v>
                </c:pt>
                <c:pt idx="6">
                  <c:v>36</c:v>
                </c:pt>
                <c:pt idx="7">
                  <c:v>46</c:v>
                </c:pt>
                <c:pt idx="8">
                  <c:v>41</c:v>
                </c:pt>
                <c:pt idx="9">
                  <c:v>34</c:v>
                </c:pt>
                <c:pt idx="10">
                  <c:v>25</c:v>
                </c:pt>
                <c:pt idx="11">
                  <c:v>35</c:v>
                </c:pt>
                <c:pt idx="12">
                  <c:v>28</c:v>
                </c:pt>
                <c:pt idx="13">
                  <c:v>33</c:v>
                </c:pt>
                <c:pt idx="14">
                  <c:v>35</c:v>
                </c:pt>
                <c:pt idx="15">
                  <c:v>40</c:v>
                </c:pt>
                <c:pt idx="16">
                  <c:v>35</c:v>
                </c:pt>
                <c:pt idx="17">
                  <c:v>39</c:v>
                </c:pt>
                <c:pt idx="18">
                  <c:v>36</c:v>
                </c:pt>
                <c:pt idx="19">
                  <c:v>34</c:v>
                </c:pt>
                <c:pt idx="20">
                  <c:v>25</c:v>
                </c:pt>
                <c:pt idx="21">
                  <c:v>36</c:v>
                </c:pt>
                <c:pt idx="22">
                  <c:v>36</c:v>
                </c:pt>
                <c:pt idx="23">
                  <c:v>35</c:v>
                </c:pt>
                <c:pt idx="24">
                  <c:v>28</c:v>
                </c:pt>
                <c:pt idx="25">
                  <c:v>29</c:v>
                </c:pt>
                <c:pt idx="26">
                  <c:v>31</c:v>
                </c:pt>
                <c:pt idx="27">
                  <c:v>35</c:v>
                </c:pt>
                <c:pt idx="28">
                  <c:v>27</c:v>
                </c:pt>
                <c:pt idx="29">
                  <c:v>30</c:v>
                </c:pt>
                <c:pt idx="30">
                  <c:v>32</c:v>
                </c:pt>
                <c:pt idx="31">
                  <c:v>42</c:v>
                </c:pt>
                <c:pt idx="32">
                  <c:v>41</c:v>
                </c:pt>
                <c:pt idx="33">
                  <c:v>34</c:v>
                </c:pt>
                <c:pt idx="34">
                  <c:v>30</c:v>
                </c:pt>
                <c:pt idx="35">
                  <c:v>28</c:v>
                </c:pt>
                <c:pt idx="36">
                  <c:v>29</c:v>
                </c:pt>
                <c:pt idx="37">
                  <c:v>36</c:v>
                </c:pt>
                <c:pt idx="38">
                  <c:v>35</c:v>
                </c:pt>
                <c:pt idx="39">
                  <c:v>36</c:v>
                </c:pt>
                <c:pt idx="40">
                  <c:v>35</c:v>
                </c:pt>
                <c:pt idx="41">
                  <c:v>31</c:v>
                </c:pt>
                <c:pt idx="42">
                  <c:v>31</c:v>
                </c:pt>
                <c:pt idx="43">
                  <c:v>35</c:v>
                </c:pt>
                <c:pt idx="44">
                  <c:v>32</c:v>
                </c:pt>
              </c:numCache>
            </c:numRef>
          </c:val>
          <c:extLst>
            <c:ext xmlns:c16="http://schemas.microsoft.com/office/drawing/2014/chart" uri="{C3380CC4-5D6E-409C-BE32-E72D297353CC}">
              <c16:uniqueId val="{00000007-D603-4B8C-9185-BF1DE7E3D96E}"/>
            </c:ext>
          </c:extLst>
        </c:ser>
        <c:dLbls>
          <c:showLegendKey val="0"/>
          <c:showVal val="0"/>
          <c:showCatName val="0"/>
          <c:showSerName val="0"/>
          <c:showPercent val="0"/>
          <c:showBubbleSize val="0"/>
        </c:dLbls>
        <c:gapWidth val="50"/>
        <c:overlap val="100"/>
        <c:axId val="879197455"/>
        <c:axId val="879198415"/>
        <c:extLst>
          <c:ext xmlns:c15="http://schemas.microsoft.com/office/drawing/2012/chart" uri="{02D57815-91ED-43cb-92C2-25804820EDAC}">
            <c15:filteredBarSeries>
              <c15:ser>
                <c:idx val="2"/>
                <c:order val="2"/>
                <c:tx>
                  <c:strRef>
                    <c:extLst>
                      <c:ext uri="{02D57815-91ED-43cb-92C2-25804820EDAC}">
                        <c15:formulaRef>
                          <c15:sqref>'SPEX-ISS Red Bin'!$C$7:$D$7</c15:sqref>
                        </c15:formulaRef>
                      </c:ext>
                    </c:extLst>
                    <c:strCache>
                      <c:ptCount val="2"/>
                      <c:pt idx="0">
                        <c:v>Yellow Bins</c:v>
                      </c:pt>
                      <c:pt idx="1">
                        <c:v>WOW</c:v>
                      </c:pt>
                    </c:strCache>
                  </c:strRef>
                </c:tx>
                <c:spPr>
                  <a:solidFill>
                    <a:schemeClr val="accent3"/>
                  </a:solidFill>
                  <a:ln>
                    <a:noFill/>
                  </a:ln>
                  <a:effectLst/>
                </c:spPr>
                <c:invertIfNegative val="0"/>
                <c:cat>
                  <c:strRef>
                    <c:extLst>
                      <c:ext uri="{02D57815-91ED-43cb-92C2-25804820EDAC}">
                        <c15:formulaRef>
                          <c15:sqref>'SPEX-ISS Red Bin'!$ED$4:$GI$4</c15:sqref>
                        </c15:formulaRef>
                      </c:ext>
                    </c:extLst>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extLst>
                      <c:ext uri="{02D57815-91ED-43cb-92C2-25804820EDAC}">
                        <c15:formulaRef>
                          <c15:sqref>'SPEX-ISS Red Bin'!$EG$7:$ET$7</c15:sqref>
                        </c15:formulaRef>
                      </c:ext>
                    </c:extLst>
                    <c:numCache>
                      <c:formatCode>0%</c:formatCode>
                      <c:ptCount val="14"/>
                      <c:pt idx="0">
                        <c:v>0.22857142857142856</c:v>
                      </c:pt>
                      <c:pt idx="1">
                        <c:v>6.9767441860465115E-2</c:v>
                      </c:pt>
                      <c:pt idx="2">
                        <c:v>0</c:v>
                      </c:pt>
                      <c:pt idx="3">
                        <c:v>-0.21739130434782608</c:v>
                      </c:pt>
                      <c:pt idx="4">
                        <c:v>0.27777777777777779</c:v>
                      </c:pt>
                      <c:pt idx="5">
                        <c:v>-0.10869565217391304</c:v>
                      </c:pt>
                      <c:pt idx="6">
                        <c:v>-0.17073170731707318</c:v>
                      </c:pt>
                      <c:pt idx="7">
                        <c:v>-0.26470588235294118</c:v>
                      </c:pt>
                      <c:pt idx="8">
                        <c:v>0.4</c:v>
                      </c:pt>
                      <c:pt idx="9">
                        <c:v>-0.2</c:v>
                      </c:pt>
                      <c:pt idx="10">
                        <c:v>0.17857142857142858</c:v>
                      </c:pt>
                      <c:pt idx="11">
                        <c:v>6.0606060606060608E-2</c:v>
                      </c:pt>
                      <c:pt idx="12">
                        <c:v>0.14285714285714285</c:v>
                      </c:pt>
                      <c:pt idx="13">
                        <c:v>-0.125</c:v>
                      </c:pt>
                    </c:numCache>
                  </c:numRef>
                </c:val>
                <c:extLst>
                  <c:ext xmlns:c16="http://schemas.microsoft.com/office/drawing/2014/chart" uri="{C3380CC4-5D6E-409C-BE32-E72D297353CC}">
                    <c16:uniqueId val="{00000008-D603-4B8C-9185-BF1DE7E3D96E}"/>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PEX-ISS Red Bin'!$C$9:$D$9</c15:sqref>
                        </c15:formulaRef>
                      </c:ext>
                    </c:extLst>
                    <c:strCache>
                      <c:ptCount val="2"/>
                      <c:pt idx="0">
                        <c:v>GREEN (21+ days)</c:v>
                      </c:pt>
                      <c:pt idx="1">
                        <c:v>WOW</c:v>
                      </c:pt>
                    </c:strCache>
                  </c:strRef>
                </c:tx>
                <c:spPr>
                  <a:solidFill>
                    <a:schemeClr val="accent5"/>
                  </a:solidFill>
                  <a:ln>
                    <a:noFill/>
                  </a:ln>
                  <a:effectLst/>
                </c:spPr>
                <c:invertIfNegative val="0"/>
                <c:cat>
                  <c:strRef>
                    <c:extLst xmlns:c15="http://schemas.microsoft.com/office/drawing/2012/chart">
                      <c:ext xmlns:c15="http://schemas.microsoft.com/office/drawing/2012/chart" uri="{02D57815-91ED-43cb-92C2-25804820EDAC}">
                        <c15:formulaRef>
                          <c15:sqref>'SPEX-ISS Red Bin'!$ED$4:$GI$4</c15:sqref>
                        </c15:formulaRef>
                      </c:ext>
                    </c:extLst>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extLst xmlns:c15="http://schemas.microsoft.com/office/drawing/2012/chart">
                      <c:ext xmlns:c15="http://schemas.microsoft.com/office/drawing/2012/chart" uri="{02D57815-91ED-43cb-92C2-25804820EDAC}">
                        <c15:formulaRef>
                          <c15:sqref>'SPEX-ISS Red Bin'!$EG$9:$ET$9</c15:sqref>
                        </c15:formulaRef>
                      </c:ext>
                    </c:extLst>
                    <c:numCache>
                      <c:formatCode>0%</c:formatCode>
                      <c:ptCount val="14"/>
                      <c:pt idx="0">
                        <c:v>-8.5653104925053538E-3</c:v>
                      </c:pt>
                      <c:pt idx="1">
                        <c:v>-4.3196544276457886E-3</c:v>
                      </c:pt>
                      <c:pt idx="2">
                        <c:v>4.3383947939262474E-3</c:v>
                      </c:pt>
                      <c:pt idx="3">
                        <c:v>4.3196544276457886E-3</c:v>
                      </c:pt>
                      <c:pt idx="4">
                        <c:v>-6.4516129032258064E-3</c:v>
                      </c:pt>
                      <c:pt idx="5">
                        <c:v>4.329004329004329E-3</c:v>
                      </c:pt>
                      <c:pt idx="6">
                        <c:v>2.1551724137931034E-3</c:v>
                      </c:pt>
                      <c:pt idx="7">
                        <c:v>-2.6881720430107529E-3</c:v>
                      </c:pt>
                      <c:pt idx="8">
                        <c:v>-8.0862533692722376E-3</c:v>
                      </c:pt>
                      <c:pt idx="9">
                        <c:v>4.8913043478260873E-3</c:v>
                      </c:pt>
                      <c:pt idx="10">
                        <c:v>-3.7858301784748512E-3</c:v>
                      </c:pt>
                      <c:pt idx="11">
                        <c:v>1.6286644951140066E-3</c:v>
                      </c:pt>
                      <c:pt idx="12">
                        <c:v>-2.4390243902439025E-2</c:v>
                      </c:pt>
                      <c:pt idx="13">
                        <c:v>-1.6666666666666668E-3</c:v>
                      </c:pt>
                    </c:numCache>
                  </c:numRef>
                </c:val>
                <c:extLst xmlns:c15="http://schemas.microsoft.com/office/drawing/2012/chart">
                  <c:ext xmlns:c16="http://schemas.microsoft.com/office/drawing/2014/chart" uri="{C3380CC4-5D6E-409C-BE32-E72D297353CC}">
                    <c16:uniqueId val="{00000009-D603-4B8C-9185-BF1DE7E3D96E}"/>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PEX-ISS Red Bin'!$C$10:$D$10</c15:sqref>
                        </c15:formulaRef>
                      </c:ext>
                    </c:extLst>
                    <c:strCache>
                      <c:ptCount val="2"/>
                      <c:pt idx="0">
                        <c:v>GREEN (21+ days)</c:v>
                      </c:pt>
                      <c:pt idx="1">
                        <c:v>Actual</c:v>
                      </c:pt>
                    </c:strCache>
                  </c:strRef>
                </c:tx>
                <c:spPr>
                  <a:solidFill>
                    <a:schemeClr val="accent6"/>
                  </a:solidFill>
                  <a:ln>
                    <a:noFill/>
                  </a:ln>
                  <a:effectLst/>
                </c:spPr>
                <c:invertIfNegative val="0"/>
                <c:cat>
                  <c:strRef>
                    <c:extLst xmlns:c15="http://schemas.microsoft.com/office/drawing/2012/chart">
                      <c:ext xmlns:c15="http://schemas.microsoft.com/office/drawing/2012/chart" uri="{02D57815-91ED-43cb-92C2-25804820EDAC}">
                        <c15:formulaRef>
                          <c15:sqref>'SPEX-ISS Red Bin'!$ED$4:$GI$4</c15:sqref>
                        </c15:formulaRef>
                      </c:ext>
                    </c:extLst>
                    <c:strCache>
                      <c:ptCount val="45"/>
                      <c:pt idx="0">
                        <c:v>WK01</c:v>
                      </c:pt>
                      <c:pt idx="1">
                        <c:v>WK02</c:v>
                      </c:pt>
                      <c:pt idx="2">
                        <c:v>WK03</c:v>
                      </c:pt>
                      <c:pt idx="3">
                        <c:v>WK04</c:v>
                      </c:pt>
                      <c:pt idx="4">
                        <c:v>WK05</c:v>
                      </c:pt>
                      <c:pt idx="5">
                        <c:v>WK06</c:v>
                      </c:pt>
                      <c:pt idx="6">
                        <c:v>WK07</c:v>
                      </c:pt>
                      <c:pt idx="7">
                        <c:v>WK08</c:v>
                      </c:pt>
                      <c:pt idx="8">
                        <c:v>WK09</c:v>
                      </c:pt>
                      <c:pt idx="9">
                        <c:v>WK10</c:v>
                      </c:pt>
                      <c:pt idx="10">
                        <c:v>WK11</c:v>
                      </c:pt>
                      <c:pt idx="11">
                        <c:v>WK12</c:v>
                      </c:pt>
                      <c:pt idx="12">
                        <c:v>WK13</c:v>
                      </c:pt>
                      <c:pt idx="13">
                        <c:v>WK14</c:v>
                      </c:pt>
                      <c:pt idx="14">
                        <c:v>WK15</c:v>
                      </c:pt>
                      <c:pt idx="15">
                        <c:v>WK16</c:v>
                      </c:pt>
                      <c:pt idx="16">
                        <c:v>WK17</c:v>
                      </c:pt>
                      <c:pt idx="17">
                        <c:v>WK18</c:v>
                      </c:pt>
                      <c:pt idx="18">
                        <c:v>WK19</c:v>
                      </c:pt>
                      <c:pt idx="19">
                        <c:v>WK20</c:v>
                      </c:pt>
                      <c:pt idx="20">
                        <c:v>WK21</c:v>
                      </c:pt>
                      <c:pt idx="21">
                        <c:v>WK22</c:v>
                      </c:pt>
                      <c:pt idx="22">
                        <c:v>WK23</c:v>
                      </c:pt>
                      <c:pt idx="23">
                        <c:v>WK24</c:v>
                      </c:pt>
                      <c:pt idx="24">
                        <c:v>WK25</c:v>
                      </c:pt>
                      <c:pt idx="25">
                        <c:v>WK26</c:v>
                      </c:pt>
                      <c:pt idx="26">
                        <c:v>WK27</c:v>
                      </c:pt>
                      <c:pt idx="27">
                        <c:v>WK28</c:v>
                      </c:pt>
                      <c:pt idx="28">
                        <c:v>WK29</c:v>
                      </c:pt>
                      <c:pt idx="29">
                        <c:v>WK30</c:v>
                      </c:pt>
                      <c:pt idx="30">
                        <c:v>WK31</c:v>
                      </c:pt>
                      <c:pt idx="31">
                        <c:v>WK32</c:v>
                      </c:pt>
                      <c:pt idx="32">
                        <c:v>WK33</c:v>
                      </c:pt>
                      <c:pt idx="33">
                        <c:v>WK34</c:v>
                      </c:pt>
                      <c:pt idx="34">
                        <c:v>WK35</c:v>
                      </c:pt>
                      <c:pt idx="35">
                        <c:v>WK36</c:v>
                      </c:pt>
                      <c:pt idx="36">
                        <c:v>WK37</c:v>
                      </c:pt>
                      <c:pt idx="37">
                        <c:v>WK38</c:v>
                      </c:pt>
                      <c:pt idx="38">
                        <c:v>WK39</c:v>
                      </c:pt>
                      <c:pt idx="39">
                        <c:v>WK40</c:v>
                      </c:pt>
                      <c:pt idx="40">
                        <c:v>WK41</c:v>
                      </c:pt>
                      <c:pt idx="41">
                        <c:v>WK42</c:v>
                      </c:pt>
                      <c:pt idx="42">
                        <c:v>WK43</c:v>
                      </c:pt>
                      <c:pt idx="43">
                        <c:v>WK44</c:v>
                      </c:pt>
                      <c:pt idx="44">
                        <c:v>WK45</c:v>
                      </c:pt>
                    </c:strCache>
                  </c:strRef>
                </c:cat>
                <c:val>
                  <c:numRef>
                    <c:extLst xmlns:c15="http://schemas.microsoft.com/office/drawing/2012/chart">
                      <c:ext xmlns:c15="http://schemas.microsoft.com/office/drawing/2012/chart" uri="{02D57815-91ED-43cb-92C2-25804820EDAC}">
                        <c15:formulaRef>
                          <c15:sqref>'SPEX-ISS Red Bin'!$EG$10:$ET$10</c15:sqref>
                        </c15:formulaRef>
                      </c:ext>
                    </c:extLst>
                    <c:numCache>
                      <c:formatCode>General</c:formatCode>
                      <c:ptCount val="14"/>
                      <c:pt idx="0">
                        <c:v>1852</c:v>
                      </c:pt>
                      <c:pt idx="1">
                        <c:v>1844</c:v>
                      </c:pt>
                      <c:pt idx="2">
                        <c:v>1852</c:v>
                      </c:pt>
                      <c:pt idx="3">
                        <c:v>1860</c:v>
                      </c:pt>
                      <c:pt idx="4">
                        <c:v>1848</c:v>
                      </c:pt>
                      <c:pt idx="5">
                        <c:v>1856</c:v>
                      </c:pt>
                      <c:pt idx="6">
                        <c:v>1860</c:v>
                      </c:pt>
                      <c:pt idx="7">
                        <c:v>1855</c:v>
                      </c:pt>
                      <c:pt idx="8">
                        <c:v>1840</c:v>
                      </c:pt>
                      <c:pt idx="9">
                        <c:v>1849</c:v>
                      </c:pt>
                      <c:pt idx="10">
                        <c:v>1842</c:v>
                      </c:pt>
                      <c:pt idx="11">
                        <c:v>1845</c:v>
                      </c:pt>
                      <c:pt idx="12">
                        <c:v>1800</c:v>
                      </c:pt>
                      <c:pt idx="13">
                        <c:v>1797</c:v>
                      </c:pt>
                    </c:numCache>
                  </c:numRef>
                </c:val>
                <c:extLst xmlns:c15="http://schemas.microsoft.com/office/drawing/2012/chart">
                  <c:ext xmlns:c16="http://schemas.microsoft.com/office/drawing/2014/chart" uri="{C3380CC4-5D6E-409C-BE32-E72D297353CC}">
                    <c16:uniqueId val="{0000000A-D603-4B8C-9185-BF1DE7E3D96E}"/>
                  </c:ext>
                </c:extLst>
              </c15:ser>
            </c15:filteredBarSeries>
          </c:ext>
        </c:extLst>
      </c:barChart>
      <c:catAx>
        <c:axId val="87919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79198415"/>
        <c:crosses val="autoZero"/>
        <c:auto val="1"/>
        <c:lblAlgn val="ctr"/>
        <c:lblOffset val="100"/>
        <c:noMultiLvlLbl val="0"/>
      </c:catAx>
      <c:valAx>
        <c:axId val="8791984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879197455"/>
        <c:crosses val="autoZero"/>
        <c:crossBetween val="between"/>
        <c:majorUnit val="5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solidFill>
      <a:round/>
    </a:ln>
    <a:effectLst/>
  </c:spPr>
  <c:txPr>
    <a:bodyPr/>
    <a:lstStyle/>
    <a:p>
      <a:pPr>
        <a:defRPr b="1"/>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helf Health</c:v>
                </c:pt>
              </c:strCache>
            </c:strRef>
          </c:tx>
          <c:dPt>
            <c:idx val="0"/>
            <c:bubble3D val="0"/>
            <c:spPr>
              <a:solidFill>
                <a:srgbClr val="00B050"/>
              </a:solidFill>
              <a:ln w="19050">
                <a:solidFill>
                  <a:schemeClr val="lt1"/>
                </a:solidFill>
              </a:ln>
              <a:effectLst/>
            </c:spPr>
            <c:extLst>
              <c:ext xmlns:c16="http://schemas.microsoft.com/office/drawing/2014/chart" uri="{C3380CC4-5D6E-409C-BE32-E72D297353CC}">
                <c16:uniqueId val="{00000001-01FE-45C6-BAC7-29812BB849DF}"/>
              </c:ext>
            </c:extLst>
          </c:dPt>
          <c:dPt>
            <c:idx val="1"/>
            <c:bubble3D val="0"/>
            <c:spPr>
              <a:solidFill>
                <a:srgbClr val="FFFF00"/>
              </a:solidFill>
              <a:ln w="19050">
                <a:solidFill>
                  <a:schemeClr val="lt1"/>
                </a:solidFill>
              </a:ln>
              <a:effectLst/>
            </c:spPr>
            <c:extLst>
              <c:ext xmlns:c16="http://schemas.microsoft.com/office/drawing/2014/chart" uri="{C3380CC4-5D6E-409C-BE32-E72D297353CC}">
                <c16:uniqueId val="{00000002-01FE-45C6-BAC7-29812BB849DF}"/>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3-01FE-45C6-BAC7-29812BB849DF}"/>
              </c:ext>
            </c:extLst>
          </c:dPt>
          <c:dLbls>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Green</c:v>
                </c:pt>
                <c:pt idx="1">
                  <c:v>Yellow</c:v>
                </c:pt>
                <c:pt idx="2">
                  <c:v>Red</c:v>
                </c:pt>
              </c:strCache>
            </c:strRef>
          </c:cat>
          <c:val>
            <c:numRef>
              <c:f>Sheet1!$B$2:$B$4</c:f>
              <c:numCache>
                <c:formatCode>General</c:formatCode>
                <c:ptCount val="3"/>
                <c:pt idx="0">
                  <c:v>1824</c:v>
                </c:pt>
                <c:pt idx="1">
                  <c:v>32</c:v>
                </c:pt>
                <c:pt idx="2">
                  <c:v>217</c:v>
                </c:pt>
              </c:numCache>
            </c:numRef>
          </c:val>
          <c:extLst>
            <c:ext xmlns:c16="http://schemas.microsoft.com/office/drawing/2014/chart" uri="{C3380CC4-5D6E-409C-BE32-E72D297353CC}">
              <c16:uniqueId val="{00000000-01FE-45C6-BAC7-29812BB849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a:xfrm>
            <a:off x="0" y="1"/>
            <a:ext cx="3169920" cy="480060"/>
          </a:xfrm>
          <a:prstGeom prst="rect">
            <a:avLst/>
          </a:prstGeom>
          <a:noFill/>
          <a:ln w="9525">
            <a:noFill/>
            <a:miter lim="800000"/>
          </a:ln>
          <a:effectLst/>
        </p:spPr>
        <p:txBody>
          <a:bodyPr vert="horz" wrap="square" lIns="96648" tIns="48325" rIns="96648" bIns="48325" numCol="1" anchor="t" anchorCtr="0" compatLnSpc="1">
            <a:prstTxWarp prst="textNoShape">
              <a:avLst/>
            </a:prstTxWarp>
          </a:bodyPr>
          <a:lstStyle>
            <a:lvl1pPr>
              <a:defRPr sz="1300"/>
            </a:lvl1pPr>
          </a:lstStyle>
          <a:p>
            <a:pPr>
              <a:defRPr/>
            </a:pPr>
            <a:endParaRPr lang="en-US"/>
          </a:p>
        </p:txBody>
      </p:sp>
      <p:sp>
        <p:nvSpPr>
          <p:cNvPr id="14339" name="Rectangle 3"/>
          <p:cNvSpPr>
            <a:spLocks noGrp="1" noChangeArrowheads="1"/>
          </p:cNvSpPr>
          <p:nvPr>
            <p:ph type="dt" sz="quarter" idx="1"/>
          </p:nvPr>
        </p:nvSpPr>
        <p:spPr>
          <a:xfrm>
            <a:off x="4143587" y="1"/>
            <a:ext cx="3169920" cy="480060"/>
          </a:xfrm>
          <a:prstGeom prst="rect">
            <a:avLst/>
          </a:prstGeom>
          <a:noFill/>
          <a:ln w="9525">
            <a:noFill/>
            <a:miter lim="800000"/>
          </a:ln>
          <a:effectLst/>
        </p:spPr>
        <p:txBody>
          <a:bodyPr vert="horz" wrap="square" lIns="96648" tIns="48325" rIns="96648" bIns="48325" numCol="1" anchor="t" anchorCtr="0" compatLnSpc="1">
            <a:prstTxWarp prst="textNoShape">
              <a:avLst/>
            </a:prstTxWarp>
          </a:bodyPr>
          <a:lstStyle>
            <a:lvl1pPr algn="r">
              <a:defRPr sz="1300"/>
            </a:lvl1pPr>
          </a:lstStyle>
          <a:p>
            <a:pPr>
              <a:defRPr/>
            </a:pPr>
            <a:endParaRPr lang="en-US"/>
          </a:p>
        </p:txBody>
      </p:sp>
      <p:sp>
        <p:nvSpPr>
          <p:cNvPr id="14340" name="Rectangle 4"/>
          <p:cNvSpPr>
            <a:spLocks noGrp="1" noChangeArrowheads="1"/>
          </p:cNvSpPr>
          <p:nvPr>
            <p:ph type="ftr" sz="quarter" idx="2"/>
          </p:nvPr>
        </p:nvSpPr>
        <p:spPr>
          <a:xfrm>
            <a:off x="0" y="9119475"/>
            <a:ext cx="7315200" cy="480060"/>
          </a:xfrm>
          <a:prstGeom prst="rect">
            <a:avLst/>
          </a:prstGeom>
          <a:noFill/>
          <a:ln w="9525">
            <a:noFill/>
            <a:miter lim="800000"/>
          </a:ln>
          <a:effectLst/>
        </p:spPr>
        <p:txBody>
          <a:bodyPr vert="horz" wrap="square" lIns="96648" tIns="48325" rIns="96648" bIns="48325" numCol="1" anchor="b" anchorCtr="0" compatLnSpc="1">
            <a:prstTxWarp prst="textNoShape">
              <a:avLst/>
            </a:prstTxWarp>
          </a:bodyPr>
          <a:lstStyle>
            <a:lvl1pPr>
              <a:defRPr sz="1300"/>
            </a:lvl1pPr>
          </a:lstStyle>
          <a:p>
            <a:pPr algn="ctr">
              <a:defRPr/>
            </a:pPr>
            <a:endParaRPr lang="en-US"/>
          </a:p>
        </p:txBody>
      </p:sp>
      <p:sp>
        <p:nvSpPr>
          <p:cNvPr id="14341" name="Rectangle 5"/>
          <p:cNvSpPr>
            <a:spLocks noGrp="1" noChangeArrowheads="1"/>
          </p:cNvSpPr>
          <p:nvPr>
            <p:ph type="sldNum" sz="quarter" idx="3"/>
          </p:nvPr>
        </p:nvSpPr>
        <p:spPr>
          <a:xfrm>
            <a:off x="4143587" y="9119475"/>
            <a:ext cx="3169920" cy="480060"/>
          </a:xfrm>
          <a:prstGeom prst="rect">
            <a:avLst/>
          </a:prstGeom>
          <a:noFill/>
          <a:ln w="9525">
            <a:noFill/>
            <a:miter lim="800000"/>
          </a:ln>
          <a:effectLst/>
        </p:spPr>
        <p:txBody>
          <a:bodyPr vert="horz" wrap="square" lIns="96648" tIns="48325" rIns="96648" bIns="48325" numCol="1" anchor="b" anchorCtr="0" compatLnSpc="1">
            <a:prstTxWarp prst="textNoShape">
              <a:avLst/>
            </a:prstTxWarp>
          </a:bodyPr>
          <a:lstStyle>
            <a:lvl1pPr algn="r">
              <a:defRPr sz="1300"/>
            </a:lvl1pPr>
          </a:lstStyle>
          <a:p>
            <a:pPr>
              <a:defRPr/>
            </a:pPr>
            <a:fld id="{41E89D00-6AC6-4713-9353-6EC6B99B2A2C}" type="slidenum">
              <a:rPr lang="en-US"/>
              <a:pPr>
                <a:defRPr/>
              </a:pPr>
              <a:t>‹#›</a:t>
            </a:fld>
            <a:endParaRPr lang="en-US"/>
          </a:p>
        </p:txBody>
      </p:sp>
    </p:spTree>
    <p:extLst>
      <p:ext uri="{BB962C8B-B14F-4D97-AF65-F5344CB8AC3E}">
        <p14:creationId xmlns:p14="http://schemas.microsoft.com/office/powerpoint/2010/main" val="39008692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6648" tIns="48325" rIns="96648" bIns="48325" rtlCol="0"/>
          <a:lstStyle>
            <a:lvl1pPr algn="l">
              <a:defRPr sz="1300"/>
            </a:lvl1pPr>
          </a:lstStyle>
          <a:p>
            <a:endParaRPr lang="en-US"/>
          </a:p>
        </p:txBody>
      </p:sp>
      <p:sp>
        <p:nvSpPr>
          <p:cNvPr id="3" name="Date Placeholder 2"/>
          <p:cNvSpPr>
            <a:spLocks noGrp="1"/>
          </p:cNvSpPr>
          <p:nvPr>
            <p:ph type="dt" idx="1"/>
          </p:nvPr>
        </p:nvSpPr>
        <p:spPr>
          <a:xfrm>
            <a:off x="4143587" y="1"/>
            <a:ext cx="3169920" cy="480060"/>
          </a:xfrm>
          <a:prstGeom prst="rect">
            <a:avLst/>
          </a:prstGeom>
        </p:spPr>
        <p:txBody>
          <a:bodyPr vert="horz" lIns="96648" tIns="48325" rIns="96648" bIns="48325" rtlCol="0"/>
          <a:lstStyle>
            <a:lvl1pPr algn="r">
              <a:defRPr sz="1300"/>
            </a:lvl1pPr>
          </a:lstStyle>
          <a:p>
            <a:fld id="{2ED24CD1-7059-4C50-9EB6-B7B4EAA9F4C8}" type="datetimeFigureOut">
              <a:rPr lang="en-US" smtClean="0"/>
              <a:pPr/>
              <a:t>11/12/2024</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48" tIns="48325" rIns="96648" bIns="48325" rtlCol="0" anchor="ctr"/>
          <a:lstStyle/>
          <a:p>
            <a:endParaRPr lang="en-US"/>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48" tIns="48325" rIns="96648" bIns="4832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7315200" cy="480060"/>
          </a:xfrm>
          <a:prstGeom prst="rect">
            <a:avLst/>
          </a:prstGeom>
        </p:spPr>
        <p:txBody>
          <a:bodyPr vert="horz" lIns="96648" tIns="48325" rIns="96648" bIns="48325" rtlCol="0" anchor="b"/>
          <a:lstStyle>
            <a:lvl1pPr algn="ctr">
              <a:defRPr lang="en-US"/>
            </a:lvl1pPr>
          </a:lstStyle>
          <a:p>
            <a:endParaRPr lang="en-US"/>
          </a:p>
        </p:txBody>
      </p:sp>
      <p:sp>
        <p:nvSpPr>
          <p:cNvPr id="7" name="Slide Number Placeholder 6"/>
          <p:cNvSpPr>
            <a:spLocks noGrp="1"/>
          </p:cNvSpPr>
          <p:nvPr>
            <p:ph type="sldNum" sz="quarter" idx="5"/>
          </p:nvPr>
        </p:nvSpPr>
        <p:spPr>
          <a:xfrm>
            <a:off x="4143587" y="9119475"/>
            <a:ext cx="3169920" cy="480060"/>
          </a:xfrm>
          <a:prstGeom prst="rect">
            <a:avLst/>
          </a:prstGeom>
        </p:spPr>
        <p:txBody>
          <a:bodyPr vert="horz" lIns="96648" tIns="48325" rIns="96648" bIns="48325" rtlCol="0" anchor="b"/>
          <a:lstStyle>
            <a:lvl1pPr algn="r">
              <a:defRPr sz="1300"/>
            </a:lvl1pPr>
          </a:lstStyle>
          <a:p>
            <a:fld id="{FFE04ED5-3365-46C1-9D5D-A76A369743BB}" type="slidenum">
              <a:rPr lang="en-US" smtClean="0"/>
              <a:pPr/>
              <a:t>‹#›</a:t>
            </a:fld>
            <a:endParaRPr lang="en-US"/>
          </a:p>
        </p:txBody>
      </p:sp>
    </p:spTree>
    <p:extLst>
      <p:ext uri="{BB962C8B-B14F-4D97-AF65-F5344CB8AC3E}">
        <p14:creationId xmlns:p14="http://schemas.microsoft.com/office/powerpoint/2010/main" val="134032896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a:prstGeom prst="rect">
            <a:avLst/>
          </a:prstGeom>
        </p:spPr>
      </p:sp>
      <p:sp>
        <p:nvSpPr>
          <p:cNvPr id="3" name="Notes Placeholder 2"/>
          <p:cNvSpPr>
            <a:spLocks noGrp="1"/>
          </p:cNvSpPr>
          <p:nvPr>
            <p:ph type="body" idx="1"/>
          </p:nvPr>
        </p:nvSpPr>
        <p:spPr>
          <a:xfrm>
            <a:off x="731520" y="4560571"/>
            <a:ext cx="5852160" cy="4320540"/>
          </a:xfrm>
          <a:prstGeom prst="rect">
            <a:avLst/>
          </a:prstGeom>
        </p:spPr>
        <p:txBody>
          <a:bodyPr>
            <a:normAutofit/>
          </a:bodyPr>
          <a:lstStyle/>
          <a:p>
            <a:endParaRPr lang="en-US"/>
          </a:p>
        </p:txBody>
      </p:sp>
      <p:sp>
        <p:nvSpPr>
          <p:cNvPr id="4" name="Slide Number Placeholder 3"/>
          <p:cNvSpPr>
            <a:spLocks noGrp="1"/>
          </p:cNvSpPr>
          <p:nvPr>
            <p:ph type="sldNum" sz="quarter" idx="10"/>
          </p:nvPr>
        </p:nvSpPr>
        <p:spPr>
          <a:xfrm>
            <a:off x="4143587" y="9119475"/>
            <a:ext cx="3169920" cy="480060"/>
          </a:xfrm>
          <a:prstGeom prst="rect">
            <a:avLst/>
          </a:prstGeom>
        </p:spPr>
        <p:txBody>
          <a:bodyPr/>
          <a:lstStyle/>
          <a:p>
            <a:pPr defTabSz="914277">
              <a:defRPr/>
            </a:pPr>
            <a:fld id="{FFE04ED5-3365-46C1-9D5D-A76A369743BB}" type="slidenum">
              <a:rPr lang="en-US">
                <a:solidFill>
                  <a:prstClr val="black"/>
                </a:solidFill>
              </a:rPr>
              <a:pPr defTabSz="914277">
                <a:defRPr/>
              </a:pPr>
              <a:t>1</a:t>
            </a:fld>
            <a:endParaRPr lang="en-US">
              <a:solidFill>
                <a:prstClr val="black"/>
              </a:solidFill>
            </a:endParaRPr>
          </a:p>
        </p:txBody>
      </p:sp>
    </p:spTree>
    <p:extLst>
      <p:ext uri="{BB962C8B-B14F-4D97-AF65-F5344CB8AC3E}">
        <p14:creationId xmlns:p14="http://schemas.microsoft.com/office/powerpoint/2010/main" val="428873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0</a:t>
            </a:fld>
            <a:endParaRPr lang="en-US"/>
          </a:p>
        </p:txBody>
      </p:sp>
    </p:spTree>
    <p:extLst>
      <p:ext uri="{BB962C8B-B14F-4D97-AF65-F5344CB8AC3E}">
        <p14:creationId xmlns:p14="http://schemas.microsoft.com/office/powerpoint/2010/main" val="3338949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1</a:t>
            </a:fld>
            <a:endParaRPr lang="en-US"/>
          </a:p>
        </p:txBody>
      </p:sp>
    </p:spTree>
    <p:extLst>
      <p:ext uri="{BB962C8B-B14F-4D97-AF65-F5344CB8AC3E}">
        <p14:creationId xmlns:p14="http://schemas.microsoft.com/office/powerpoint/2010/main" val="23307974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2</a:t>
            </a:fld>
            <a:endParaRPr lang="en-US"/>
          </a:p>
        </p:txBody>
      </p:sp>
    </p:spTree>
    <p:extLst>
      <p:ext uri="{BB962C8B-B14F-4D97-AF65-F5344CB8AC3E}">
        <p14:creationId xmlns:p14="http://schemas.microsoft.com/office/powerpoint/2010/main" val="3928866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3</a:t>
            </a:fld>
            <a:endParaRPr lang="en-US"/>
          </a:p>
        </p:txBody>
      </p:sp>
    </p:spTree>
    <p:extLst>
      <p:ext uri="{BB962C8B-B14F-4D97-AF65-F5344CB8AC3E}">
        <p14:creationId xmlns:p14="http://schemas.microsoft.com/office/powerpoint/2010/main" val="2117204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3237">
              <a:defRPr/>
            </a:pPr>
            <a:endParaRPr lang="en-US">
              <a:solidFill>
                <a:prstClr val="black"/>
              </a:solidFill>
              <a:latin typeface="Honeywell Sans Medium"/>
            </a:endParaRPr>
          </a:p>
        </p:txBody>
      </p:sp>
      <p:sp>
        <p:nvSpPr>
          <p:cNvPr id="5" name="Footer Placeholder 4" hidden="1"/>
          <p:cNvSpPr>
            <a:spLocks noGrp="1"/>
          </p:cNvSpPr>
          <p:nvPr>
            <p:ph type="ftr" sz="quarter" idx="4"/>
          </p:nvPr>
        </p:nvSpPr>
        <p:spPr>
          <a:xfrm>
            <a:off x="0" y="8842030"/>
            <a:ext cx="7023100" cy="467071"/>
          </a:xfrm>
        </p:spPr>
        <p:txBody>
          <a:bodyPr/>
          <a:lstStyle/>
          <a:p>
            <a:pPr defTabSz="933237">
              <a:defRPr/>
            </a:pPr>
            <a:endParaRPr lang="en-US"/>
          </a:p>
        </p:txBody>
      </p:sp>
      <p:sp>
        <p:nvSpPr>
          <p:cNvPr id="6" name="Slide Number Placeholder 5"/>
          <p:cNvSpPr>
            <a:spLocks noGrp="1"/>
          </p:cNvSpPr>
          <p:nvPr>
            <p:ph type="sldNum" sz="quarter" idx="5"/>
          </p:nvPr>
        </p:nvSpPr>
        <p:spPr/>
        <p:txBody>
          <a:bodyPr/>
          <a:lstStyle/>
          <a:p>
            <a:pPr defTabSz="933237">
              <a:defRPr/>
            </a:pPr>
            <a:fld id="{ED70284F-7E88-4545-9BB2-221688BE3F3A}" type="slidenum">
              <a:rPr lang="en-US">
                <a:solidFill>
                  <a:prstClr val="black"/>
                </a:solidFill>
                <a:latin typeface="Honeywell Sans Medium"/>
              </a:rPr>
              <a:pPr defTabSz="933237">
                <a:defRPr/>
              </a:pPr>
              <a:t>14</a:t>
            </a:fld>
            <a:endParaRPr lang="en-US">
              <a:solidFill>
                <a:prstClr val="black"/>
              </a:solidFill>
              <a:latin typeface="Honeywell Sans Medium"/>
            </a:endParaRPr>
          </a:p>
        </p:txBody>
      </p:sp>
    </p:spTree>
    <p:extLst>
      <p:ext uri="{BB962C8B-B14F-4D97-AF65-F5344CB8AC3E}">
        <p14:creationId xmlns:p14="http://schemas.microsoft.com/office/powerpoint/2010/main" val="2410603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33237">
              <a:defRPr/>
            </a:pPr>
            <a:endParaRPr lang="en-US">
              <a:solidFill>
                <a:prstClr val="black"/>
              </a:solidFill>
              <a:latin typeface="Honeywell Sans Medium"/>
            </a:endParaRPr>
          </a:p>
        </p:txBody>
      </p:sp>
      <p:sp>
        <p:nvSpPr>
          <p:cNvPr id="5" name="Footer Placeholder 4" hidden="1"/>
          <p:cNvSpPr>
            <a:spLocks noGrp="1"/>
          </p:cNvSpPr>
          <p:nvPr>
            <p:ph type="ftr" sz="quarter" idx="4"/>
          </p:nvPr>
        </p:nvSpPr>
        <p:spPr>
          <a:xfrm>
            <a:off x="0" y="8842030"/>
            <a:ext cx="7023100" cy="467071"/>
          </a:xfrm>
        </p:spPr>
        <p:txBody>
          <a:bodyPr/>
          <a:lstStyle/>
          <a:p>
            <a:pPr defTabSz="933237">
              <a:defRPr/>
            </a:pPr>
            <a:endParaRPr lang="en-US"/>
          </a:p>
        </p:txBody>
      </p:sp>
      <p:sp>
        <p:nvSpPr>
          <p:cNvPr id="6" name="Slide Number Placeholder 5"/>
          <p:cNvSpPr>
            <a:spLocks noGrp="1"/>
          </p:cNvSpPr>
          <p:nvPr>
            <p:ph type="sldNum" sz="quarter" idx="5"/>
          </p:nvPr>
        </p:nvSpPr>
        <p:spPr/>
        <p:txBody>
          <a:bodyPr/>
          <a:lstStyle/>
          <a:p>
            <a:pPr defTabSz="933237">
              <a:defRPr/>
            </a:pPr>
            <a:fld id="{ED70284F-7E88-4545-9BB2-221688BE3F3A}" type="slidenum">
              <a:rPr lang="en-US">
                <a:solidFill>
                  <a:prstClr val="black"/>
                </a:solidFill>
                <a:latin typeface="Honeywell Sans Medium"/>
              </a:rPr>
              <a:pPr defTabSz="933237">
                <a:defRPr/>
              </a:pPr>
              <a:t>15</a:t>
            </a:fld>
            <a:endParaRPr lang="en-US">
              <a:solidFill>
                <a:prstClr val="black"/>
              </a:solidFill>
              <a:latin typeface="Honeywell Sans Medium"/>
            </a:endParaRPr>
          </a:p>
        </p:txBody>
      </p:sp>
    </p:spTree>
    <p:extLst>
      <p:ext uri="{BB962C8B-B14F-4D97-AF65-F5344CB8AC3E}">
        <p14:creationId xmlns:p14="http://schemas.microsoft.com/office/powerpoint/2010/main" val="1422783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6</a:t>
            </a:fld>
            <a:endParaRPr lang="en-US"/>
          </a:p>
        </p:txBody>
      </p:sp>
    </p:spTree>
    <p:extLst>
      <p:ext uri="{BB962C8B-B14F-4D97-AF65-F5344CB8AC3E}">
        <p14:creationId xmlns:p14="http://schemas.microsoft.com/office/powerpoint/2010/main" val="1461759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7</a:t>
            </a:fld>
            <a:endParaRPr lang="en-US"/>
          </a:p>
        </p:txBody>
      </p:sp>
    </p:spTree>
    <p:extLst>
      <p:ext uri="{BB962C8B-B14F-4D97-AF65-F5344CB8AC3E}">
        <p14:creationId xmlns:p14="http://schemas.microsoft.com/office/powerpoint/2010/main" val="22991027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8</a:t>
            </a:fld>
            <a:endParaRPr lang="en-US"/>
          </a:p>
        </p:txBody>
      </p:sp>
    </p:spTree>
    <p:extLst>
      <p:ext uri="{BB962C8B-B14F-4D97-AF65-F5344CB8AC3E}">
        <p14:creationId xmlns:p14="http://schemas.microsoft.com/office/powerpoint/2010/main" val="19841751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19</a:t>
            </a:fld>
            <a:endParaRPr lang="en-US"/>
          </a:p>
        </p:txBody>
      </p:sp>
    </p:spTree>
    <p:extLst>
      <p:ext uri="{BB962C8B-B14F-4D97-AF65-F5344CB8AC3E}">
        <p14:creationId xmlns:p14="http://schemas.microsoft.com/office/powerpoint/2010/main" val="215919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4143587" y="9119474"/>
            <a:ext cx="3169920" cy="480061"/>
          </a:xfrm>
          <a:prstGeom prst="rect">
            <a:avLst/>
          </a:prstGeom>
          <a:ln/>
        </p:spPr>
        <p:txBody>
          <a:bodyPr lIns="96638" tIns="48320" rIns="96638" bIns="48320"/>
          <a:lstStyle/>
          <a:p>
            <a:pPr defTabSz="965069" eaLnBrk="1" hangingPunct="1">
              <a:defRPr/>
            </a:pPr>
            <a:fld id="{62BDFF3A-326A-41B0-8C74-277F8CF99510}" type="slidenum">
              <a:rPr lang="en-US">
                <a:solidFill>
                  <a:prstClr val="black"/>
                </a:solidFill>
                <a:latin typeface="Arial" pitchFamily="34" charset="0"/>
              </a:rPr>
              <a:pPr defTabSz="965069" eaLnBrk="1" hangingPunct="1">
                <a:defRPr/>
              </a:pPr>
              <a:t>2</a:t>
            </a:fld>
            <a:endParaRPr lang="en-US">
              <a:solidFill>
                <a:prstClr val="black"/>
              </a:solidFill>
              <a:latin typeface="Arial" pitchFamily="34" charset="0"/>
            </a:endParaRPr>
          </a:p>
        </p:txBody>
      </p:sp>
      <p:sp>
        <p:nvSpPr>
          <p:cNvPr id="22530" name="Rectangle 7"/>
          <p:cNvSpPr txBox="1">
            <a:spLocks noGrp="1" noChangeArrowheads="1"/>
          </p:cNvSpPr>
          <p:nvPr/>
        </p:nvSpPr>
        <p:spPr bwMode="auto">
          <a:xfrm>
            <a:off x="4143587" y="9119474"/>
            <a:ext cx="3169920" cy="480061"/>
          </a:xfrm>
          <a:prstGeom prst="rect">
            <a:avLst/>
          </a:prstGeom>
          <a:noFill/>
          <a:ln w="9525">
            <a:noFill/>
            <a:miter lim="800000"/>
            <a:headEnd/>
            <a:tailEnd/>
          </a:ln>
        </p:spPr>
        <p:txBody>
          <a:bodyPr lIns="96638" tIns="48320" rIns="96638" bIns="48320" anchor="b"/>
          <a:lstStyle/>
          <a:p>
            <a:pPr algn="r" defTabSz="914277" eaLnBrk="1" hangingPunct="1">
              <a:defRPr/>
            </a:pPr>
            <a:fld id="{8A914AD9-FBE9-44AD-9CA7-25E2422C9153}" type="slidenum">
              <a:rPr lang="en-US" sz="1300">
                <a:solidFill>
                  <a:prstClr val="black"/>
                </a:solidFill>
              </a:rPr>
              <a:pPr algn="r" defTabSz="914277" eaLnBrk="1" hangingPunct="1">
                <a:defRPr/>
              </a:pPr>
              <a:t>2</a:t>
            </a:fld>
            <a:endParaRPr lang="en-US" sz="1300">
              <a:solidFill>
                <a:prstClr val="black"/>
              </a:solidFill>
            </a:endParaRPr>
          </a:p>
        </p:txBody>
      </p:sp>
      <p:sp>
        <p:nvSpPr>
          <p:cNvPr id="22531" name="Rectangle 2"/>
          <p:cNvSpPr>
            <a:spLocks noGrp="1" noRot="1" noChangeAspect="1" noChangeArrowheads="1" noTextEdit="1"/>
          </p:cNvSpPr>
          <p:nvPr>
            <p:ph type="sldImg"/>
          </p:nvPr>
        </p:nvSpPr>
        <p:spPr>
          <a:xfrm>
            <a:off x="458788" y="720725"/>
            <a:ext cx="6400800" cy="3600450"/>
          </a:xfrm>
          <a:ln/>
        </p:spPr>
      </p:sp>
      <p:sp>
        <p:nvSpPr>
          <p:cNvPr id="22532" name="Rectangle 3"/>
          <p:cNvSpPr>
            <a:spLocks noGrp="1" noChangeArrowheads="1"/>
          </p:cNvSpPr>
          <p:nvPr>
            <p:ph type="body" idx="1"/>
          </p:nvPr>
        </p:nvSpPr>
        <p:spPr>
          <a:xfrm>
            <a:off x="975361" y="4558904"/>
            <a:ext cx="5364480" cy="4323874"/>
          </a:xfrm>
        </p:spPr>
        <p:txBody>
          <a:bodyPr/>
          <a:lstStyle/>
          <a:p>
            <a:pPr eaLnBrk="1" hangingPunct="1"/>
            <a:endParaRPr lang="en-US"/>
          </a:p>
        </p:txBody>
      </p:sp>
    </p:spTree>
    <p:extLst>
      <p:ext uri="{BB962C8B-B14F-4D97-AF65-F5344CB8AC3E}">
        <p14:creationId xmlns:p14="http://schemas.microsoft.com/office/powerpoint/2010/main" val="2419054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B5BD8-C687-A2C0-8255-980CDFCBFE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ED90EF-F000-A62D-809A-F3CF362E8C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8A35A-4FEB-DB10-F7E6-7ED205F36D21}"/>
              </a:ext>
            </a:extLst>
          </p:cNvPr>
          <p:cNvSpPr>
            <a:spLocks noGrp="1"/>
          </p:cNvSpPr>
          <p:nvPr>
            <p:ph type="body" idx="1"/>
          </p:nvPr>
        </p:nvSpPr>
        <p:spPr/>
        <p:txBody>
          <a:bodyPr/>
          <a:lstStyle/>
          <a:p>
            <a:r>
              <a:rPr lang="en-US" dirty="0">
                <a:cs typeface="Arial"/>
              </a:rPr>
              <a:t>Estimated Ship Date notes: </a:t>
            </a:r>
          </a:p>
          <a:p>
            <a:endParaRPr lang="en-US" dirty="0">
              <a:cs typeface="Arial"/>
            </a:endParaRPr>
          </a:p>
          <a:p>
            <a:r>
              <a:rPr lang="en-US" dirty="0">
                <a:cs typeface="Arial"/>
              </a:rPr>
              <a:t>3 Dashboards will be used to monitor the fidelity of the shipment dates that are being provided to our customers</a:t>
            </a:r>
          </a:p>
          <a:p>
            <a:pPr marL="228600" indent="-228600">
              <a:buAutoNum type="arabicPeriod"/>
            </a:pPr>
            <a:r>
              <a:rPr lang="en-US" dirty="0">
                <a:cs typeface="Arial"/>
              </a:rPr>
              <a:t># of Past due Basic Finish Dates – Will allow us to see where we need to prioritize resources to provide a date that will allow the customers to plan their operations</a:t>
            </a:r>
          </a:p>
          <a:p>
            <a:pPr marL="228600" indent="-228600">
              <a:buAutoNum type="arabicPeriod"/>
            </a:pPr>
            <a:r>
              <a:rPr lang="en-US" dirty="0">
                <a:cs typeface="Arial"/>
              </a:rPr>
              <a:t># of Basic Finish Date changes – Will allow us to see how many times on average Basic finish dates are being updated. Goal is to keep this as low as possible so customer are not experiencing constantly changing dates </a:t>
            </a:r>
          </a:p>
          <a:p>
            <a:pPr marL="228600" indent="-228600">
              <a:buAutoNum type="arabicPeriod"/>
            </a:pPr>
            <a:r>
              <a:rPr lang="en-US" dirty="0">
                <a:cs typeface="Arial"/>
              </a:rPr>
              <a:t>Variance between Basic finish date and actual shipment date – This will show how late or early we are on average based on the dates that are being provided to the customer. The goal is to keep this as close to 0 as possible</a:t>
            </a:r>
          </a:p>
          <a:p>
            <a:pPr marL="0" indent="0">
              <a:buNone/>
            </a:pPr>
            <a:r>
              <a:rPr lang="en-US" dirty="0">
                <a:cs typeface="Arial"/>
              </a:rPr>
              <a:t>All Dashboards will show orders by plant, customer, part number so we do not lose improvement opportunities in the averages of larger datasets. </a:t>
            </a:r>
          </a:p>
          <a:p>
            <a:pPr marL="0" indent="0">
              <a:buNone/>
            </a:pPr>
            <a:endParaRPr lang="en-US" dirty="0">
              <a:cs typeface="Arial"/>
            </a:endParaRPr>
          </a:p>
          <a:p>
            <a:pPr marL="0" indent="0">
              <a:buNone/>
            </a:pPr>
            <a:r>
              <a:rPr lang="en-US" dirty="0">
                <a:cs typeface="Arial"/>
              </a:rPr>
              <a:t>An SAP enhancement is being developed to update all past due Basic Finish Dates based on the recent demonstrated performance by plant, customer, material. This will standardize date management across all Honeywell repair centers. </a:t>
            </a:r>
          </a:p>
        </p:txBody>
      </p:sp>
      <p:sp>
        <p:nvSpPr>
          <p:cNvPr id="4" name="Slide Number Placeholder 3">
            <a:extLst>
              <a:ext uri="{FF2B5EF4-FFF2-40B4-BE49-F238E27FC236}">
                <a16:creationId xmlns:a16="http://schemas.microsoft.com/office/drawing/2014/main" id="{C11F08F8-40DE-A93A-0601-B9434CCEA407}"/>
              </a:ext>
            </a:extLst>
          </p:cNvPr>
          <p:cNvSpPr>
            <a:spLocks noGrp="1"/>
          </p:cNvSpPr>
          <p:nvPr>
            <p:ph type="sldNum" sz="quarter" idx="5"/>
          </p:nvPr>
        </p:nvSpPr>
        <p:spPr/>
        <p:txBody>
          <a:bodyPr/>
          <a:lstStyle/>
          <a:p>
            <a:pPr defTabSz="929579">
              <a:defRPr/>
            </a:pPr>
            <a:fld id="{ED70284F-7E88-4545-9BB2-221688BE3F3A}" type="slidenum">
              <a:rPr lang="en-US">
                <a:solidFill>
                  <a:prstClr val="black"/>
                </a:solidFill>
                <a:latin typeface="Calibri" panose="020F0502020204030204"/>
              </a:rPr>
              <a:pPr defTabSz="929579">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1180500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21</a:t>
            </a:fld>
            <a:endParaRPr lang="en-US"/>
          </a:p>
        </p:txBody>
      </p:sp>
    </p:spTree>
    <p:extLst>
      <p:ext uri="{BB962C8B-B14F-4D97-AF65-F5344CB8AC3E}">
        <p14:creationId xmlns:p14="http://schemas.microsoft.com/office/powerpoint/2010/main" val="2986828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A297C4-EEBE-410B-9379-1299829B0351}" type="slidenum">
              <a:rPr lang="en-US" smtClean="0"/>
              <a:t>22</a:t>
            </a:fld>
            <a:endParaRPr lang="en-US"/>
          </a:p>
        </p:txBody>
      </p:sp>
    </p:spTree>
    <p:extLst>
      <p:ext uri="{BB962C8B-B14F-4D97-AF65-F5344CB8AC3E}">
        <p14:creationId xmlns:p14="http://schemas.microsoft.com/office/powerpoint/2010/main" val="22347135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algn="l" rtl="0" eaLnBrk="1" fontAlgn="b" latinLnBrk="0" hangingPunct="1">
              <a:spcBef>
                <a:spcPts val="0"/>
              </a:spcBef>
              <a:spcAft>
                <a:spcPts val="0"/>
              </a:spcAft>
            </a:pPr>
            <a:r>
              <a:rPr lang="en-US"/>
              <a:t>JOSMINE BREEDA– </a:t>
            </a:r>
            <a:r>
              <a:rPr lang="en-US" sz="800" b="0" i="0" u="none" strike="noStrike" kern="1200">
                <a:solidFill>
                  <a:srgbClr val="000000"/>
                </a:solidFill>
                <a:effectLst/>
                <a:latin typeface="Honeywell Sans Web" panose="02010503040101060203" pitchFamily="2" charset="0"/>
              </a:rPr>
              <a:t>India, Sri Lanka, Nepal, Bangladesh</a:t>
            </a:r>
          </a:p>
          <a:p>
            <a:pPr rtl="0" eaLnBrk="1" fontAlgn="b" latinLnBrk="0" hangingPunct="1"/>
            <a:r>
              <a:rPr lang="en-US" sz="3600" b="0" i="0" u="none" strike="noStrike">
                <a:effectLst/>
                <a:latin typeface="Arial" panose="020B0604020202020204" pitchFamily="34" charset="0"/>
              </a:rPr>
              <a:t>JIRI HUML – Albania, Armenia, Aruba, Azerbaijan, Belarus, Bulgaria, Bosnia &amp; Herzegovina, Croatia, Czech Republic, Georgia, Germany, Kazakhstan, Macedonia, Malta, Moldova, Republic of Montenegro, Russia, Serbia, Slovenia, Turkey, Ukraine, Uzbekistan</a:t>
            </a:r>
          </a:p>
          <a:p>
            <a:pPr marL="0" marR="0" lvl="0" indent="0" algn="l" defTabSz="914400" rtl="0" eaLnBrk="1" fontAlgn="b" latinLnBrk="0" hangingPunct="1">
              <a:lnSpc>
                <a:spcPct val="100000"/>
              </a:lnSpc>
              <a:spcBef>
                <a:spcPts val="0"/>
              </a:spcBef>
              <a:spcAft>
                <a:spcPts val="0"/>
              </a:spcAft>
              <a:buClrTx/>
              <a:buSzTx/>
              <a:buFontTx/>
              <a:buNone/>
              <a:tabLst/>
              <a:defRPr/>
            </a:pPr>
            <a:r>
              <a:rPr lang="en-US" sz="3600" b="0" i="0" u="none" strike="noStrike">
                <a:effectLst/>
                <a:latin typeface="Arial" panose="020B0604020202020204" pitchFamily="34" charset="0"/>
              </a:rPr>
              <a:t>MIKE VIRANDO– United Kingdom, Ireland, Africa (</a:t>
            </a:r>
            <a:r>
              <a:rPr lang="en-US" sz="3600" b="0" i="0" u="none" strike="noStrike" kern="1200">
                <a:solidFill>
                  <a:srgbClr val="000000"/>
                </a:solidFill>
                <a:effectLst/>
                <a:latin typeface="Honeywell Sans Web" panose="02010503040101060203" pitchFamily="2" charset="0"/>
              </a:rPr>
              <a:t>Angola, Botswana, Cameroon, Chad, Congo (DRC +ROC), Djibouti, Egypt, Equatorial Guinea, Ethiopia, Gabon, Libya, Madagascar, </a:t>
            </a:r>
            <a:r>
              <a:rPr lang="en-US" sz="6000" b="0" i="0" u="none" strike="noStrike" kern="1200">
                <a:solidFill>
                  <a:schemeClr val="tx1"/>
                </a:solidFill>
                <a:effectLst/>
                <a:latin typeface="+mn-lt"/>
                <a:ea typeface="+mn-ea"/>
                <a:cs typeface="+mn-cs"/>
              </a:rPr>
              <a:t>Malawi, Mauritius, Mozambique, Namibia, Nigeria, Reunion, Seychelles, South Africa, Tanzania, Uganda, Zambia, Zimbabwe)</a:t>
            </a:r>
            <a:endParaRPr lang="en-US" sz="9600" b="0" i="0" u="none" strike="noStrike">
              <a:effectLst/>
              <a:latin typeface="Arial" panose="020B0604020202020204" pitchFamily="34" charset="0"/>
            </a:endParaRPr>
          </a:p>
          <a:p>
            <a:pPr marL="0" algn="l" rtl="0" eaLnBrk="1" fontAlgn="b" latinLnBrk="0" hangingPunct="1">
              <a:spcBef>
                <a:spcPts val="0"/>
              </a:spcBef>
              <a:spcAft>
                <a:spcPts val="0"/>
              </a:spcAft>
            </a:pPr>
            <a:r>
              <a:rPr lang="en-US" sz="3600" b="0" i="0" u="none" strike="noStrike">
                <a:effectLst/>
                <a:latin typeface="Arial" panose="020B0604020202020204" pitchFamily="34" charset="0"/>
              </a:rPr>
              <a:t>ALEX TREJO – Afghanistan, Bahrain, Denmark, Egypt, Finland, Gibraltar, Greece, Iceland, Iraq, Israel, Jordan, Kuwait, Lebanon, Netherlands, Norway, Oman, Pakistan, Portugal, Qatar, Saudi Arabia, Sweden, United Arab Emirates, Yemen</a:t>
            </a:r>
          </a:p>
          <a:p>
            <a:pPr marL="0" algn="l" rtl="0" eaLnBrk="1" fontAlgn="b" latinLnBrk="0" hangingPunct="1">
              <a:spcBef>
                <a:spcPts val="0"/>
              </a:spcBef>
              <a:spcAft>
                <a:spcPts val="0"/>
              </a:spcAft>
            </a:pPr>
            <a:r>
              <a:rPr lang="en-US" sz="3600" b="0" i="0" u="none" strike="noStrike">
                <a:effectLst/>
                <a:latin typeface="Arial" panose="020B0604020202020204" pitchFamily="34" charset="0"/>
              </a:rPr>
              <a:t>ANNA TOMOVA – Andorra, Belgium, Estonia, France, Latvia, Liechtenstein, Lithuania, Luxembourg, Monaco, San Marino, Switzerlan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A4096B-BB26-4E8F-9FA5-307E54D331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330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630632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Header Placeholder 3">
            <a:extLst>
              <a:ext uri="{FF2B5EF4-FFF2-40B4-BE49-F238E27FC236}">
                <a16:creationId xmlns:a16="http://schemas.microsoft.com/office/drawing/2014/main" id="{F80CFF12-A31A-4336-8061-034BFE63A0E5}"/>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Honeywell Sans Medium"/>
              <a:ea typeface="+mn-ea"/>
              <a:cs typeface="+mn-cs"/>
            </a:endParaRPr>
          </a:p>
        </p:txBody>
      </p:sp>
      <p:sp>
        <p:nvSpPr>
          <p:cNvPr id="46085" name="Footer Placeholder 4" hidden="1"/>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755079" indent="-290289">
              <a:defRPr>
                <a:solidFill>
                  <a:schemeClr val="tx1"/>
                </a:solidFill>
                <a:latin typeface="Arial" panose="020B0604020202020204" pitchFamily="34" charset="0"/>
                <a:cs typeface="Arial" panose="020B0604020202020204" pitchFamily="34" charset="0"/>
              </a:defRPr>
            </a:lvl2pPr>
            <a:lvl3pPr marL="1161157" indent="-231579">
              <a:defRPr>
                <a:solidFill>
                  <a:schemeClr val="tx1"/>
                </a:solidFill>
                <a:latin typeface="Arial" panose="020B0604020202020204" pitchFamily="34" charset="0"/>
                <a:cs typeface="Arial" panose="020B0604020202020204" pitchFamily="34" charset="0"/>
              </a:defRPr>
            </a:lvl3pPr>
            <a:lvl4pPr marL="1625947" indent="-231579">
              <a:defRPr>
                <a:solidFill>
                  <a:schemeClr val="tx1"/>
                </a:solidFill>
                <a:latin typeface="Arial" panose="020B0604020202020204" pitchFamily="34" charset="0"/>
                <a:cs typeface="Arial" panose="020B0604020202020204" pitchFamily="34" charset="0"/>
              </a:defRPr>
            </a:lvl4pPr>
            <a:lvl5pPr marL="2090735" indent="-231579">
              <a:defRPr>
                <a:solidFill>
                  <a:schemeClr val="tx1"/>
                </a:solidFill>
                <a:latin typeface="Arial" panose="020B0604020202020204" pitchFamily="34" charset="0"/>
                <a:cs typeface="Arial" panose="020B0604020202020204" pitchFamily="34" charset="0"/>
              </a:defRPr>
            </a:lvl5pPr>
            <a:lvl6pPr marL="2560417" indent="-231579" defTabSz="46968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30098" indent="-231579" defTabSz="46968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99780" indent="-231579" defTabSz="46968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69462" indent="-231579" defTabSz="46968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lang="en-US" altLang="en-US"/>
          </a:p>
        </p:txBody>
      </p:sp>
      <p:sp>
        <p:nvSpPr>
          <p:cNvPr id="6" name="Slide Number Placeholder 5">
            <a:extLst>
              <a:ext uri="{FF2B5EF4-FFF2-40B4-BE49-F238E27FC236}">
                <a16:creationId xmlns:a16="http://schemas.microsoft.com/office/drawing/2014/main" id="{0A3B5B5A-4C87-45D1-B71E-017CFDC06E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9BCE9F-A96B-4612-9F06-C53A2053F6E5}" type="slidenum">
              <a:rPr kumimoji="0" lang="en-US" sz="1200" b="0" i="0" u="none" strike="noStrike" kern="1200" cap="none" spc="0" normalizeH="0" baseline="0" noProof="0" smtClean="0">
                <a:ln>
                  <a:noFill/>
                </a:ln>
                <a:solidFill>
                  <a:prstClr val="black"/>
                </a:solidFill>
                <a:effectLst/>
                <a:uLnTx/>
                <a:uFillTx/>
                <a:latin typeface="Honeywell Sans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Honeywell Sans Medium"/>
              <a:ea typeface="+mn-ea"/>
              <a:cs typeface="+mn-cs"/>
            </a:endParaRPr>
          </a:p>
        </p:txBody>
      </p:sp>
    </p:spTree>
    <p:extLst>
      <p:ext uri="{BB962C8B-B14F-4D97-AF65-F5344CB8AC3E}">
        <p14:creationId xmlns:p14="http://schemas.microsoft.com/office/powerpoint/2010/main" val="1337170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51819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27</a:t>
            </a:fld>
            <a:endParaRPr lang="en-US"/>
          </a:p>
        </p:txBody>
      </p:sp>
    </p:spTree>
    <p:extLst>
      <p:ext uri="{BB962C8B-B14F-4D97-AF65-F5344CB8AC3E}">
        <p14:creationId xmlns:p14="http://schemas.microsoft.com/office/powerpoint/2010/main" val="41349350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28</a:t>
            </a:fld>
            <a:endParaRPr lang="en-US"/>
          </a:p>
        </p:txBody>
      </p:sp>
    </p:spTree>
    <p:extLst>
      <p:ext uri="{BB962C8B-B14F-4D97-AF65-F5344CB8AC3E}">
        <p14:creationId xmlns:p14="http://schemas.microsoft.com/office/powerpoint/2010/main" val="1147348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a:t>Today, customers are restricted to uploading files no larger than 10 MB and are limited in the file formats they can use. This constraint is particularly problematic in urgent Aircraft on Ground (AOG) events where timely access to comprehensive engineering data is critical. As a result, customers are forced to wait for a case to be opened before they can email the necessary data, causing significant delays. These restrictions on file size and format, coupled with the procedural delay, impede swift resolution and efficient handling of AOG situations, ultimately impacting operational efficiency and customer satisfaction.</a:t>
            </a:r>
          </a:p>
          <a:p>
            <a:endParaRPr lang="en-US"/>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Keith,</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Part of the consent decree exit actions included turning off the ATS email address and transitioning to webforms.  We did this because we cannot control what customers email us and SFDC is not ITAR compliant.  We also wanted to minimize the risk of 500/600 series data going into SFDC as well.  We worked with Allen and the export control team on this action.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Therefore, Customers could no longer email us product download files and are complaining about the multiple interactions required to send us our own product download files.  For example, our #1 cause volume driver is decoding product Flight History Decode Databases (FHDB) and Pilatus refused to use the process so we have a work around in place right now.  In addition, NetJets shared with us that this is very painful when their maintenance control is trying to manage a fleet of 1000 A/C and now they have use the webform and have multiple interactions to send us files to review.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What else do you need?</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Best regards,</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a:effectLst/>
                <a:latin typeface="Arial" panose="020B0604020202020204" pitchFamily="34" charset="0"/>
                <a:ea typeface="Aptos" panose="020B0004020202020204" pitchFamily="34" charset="0"/>
                <a:cs typeface="Aptos" panose="020B0004020202020204" pitchFamily="34" charset="0"/>
              </a:rPr>
              <a:t> </a:t>
            </a: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a:solidFill>
                  <a:srgbClr val="595959"/>
                </a:solidFill>
                <a:effectLst/>
                <a:latin typeface="Arial" panose="020B0604020202020204" pitchFamily="34" charset="0"/>
                <a:ea typeface="Aptos" panose="020B0004020202020204" pitchFamily="34" charset="0"/>
                <a:cs typeface="Aptos" panose="020B0004020202020204" pitchFamily="34" charset="0"/>
              </a:rPr>
              <a:t>Malcolm Fleming</a:t>
            </a: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787946-F38A-442D-8B4B-7C33473CC7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454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noChangeArrowheads="1"/>
          </p:cNvSpPr>
          <p:nvPr>
            <p:ph type="sldNum" sz="quarter" idx="5"/>
          </p:nvPr>
        </p:nvSpPr>
        <p:spPr>
          <a:xfrm>
            <a:off x="4143587" y="9119474"/>
            <a:ext cx="3169920" cy="480061"/>
          </a:xfrm>
          <a:prstGeom prst="rect">
            <a:avLst/>
          </a:prstGeom>
          <a:ln/>
        </p:spPr>
        <p:txBody>
          <a:bodyPr lIns="96638" tIns="48320" rIns="96638" bIns="48320"/>
          <a:lstStyle/>
          <a:p>
            <a:pPr defTabSz="965069" eaLnBrk="1" hangingPunct="1">
              <a:defRPr/>
            </a:pPr>
            <a:fld id="{62BDFF3A-326A-41B0-8C74-277F8CF99510}" type="slidenum">
              <a:rPr lang="en-US">
                <a:solidFill>
                  <a:prstClr val="black"/>
                </a:solidFill>
                <a:latin typeface="Arial" pitchFamily="34" charset="0"/>
              </a:rPr>
              <a:pPr defTabSz="965069" eaLnBrk="1" hangingPunct="1">
                <a:defRPr/>
              </a:pPr>
              <a:t>3</a:t>
            </a:fld>
            <a:endParaRPr lang="en-US">
              <a:solidFill>
                <a:prstClr val="black"/>
              </a:solidFill>
              <a:latin typeface="Arial" pitchFamily="34" charset="0"/>
            </a:endParaRPr>
          </a:p>
        </p:txBody>
      </p:sp>
      <p:sp>
        <p:nvSpPr>
          <p:cNvPr id="22530" name="Rectangle 7"/>
          <p:cNvSpPr txBox="1">
            <a:spLocks noGrp="1" noChangeArrowheads="1"/>
          </p:cNvSpPr>
          <p:nvPr/>
        </p:nvSpPr>
        <p:spPr bwMode="auto">
          <a:xfrm>
            <a:off x="4143587" y="9119474"/>
            <a:ext cx="3169920" cy="480061"/>
          </a:xfrm>
          <a:prstGeom prst="rect">
            <a:avLst/>
          </a:prstGeom>
          <a:noFill/>
          <a:ln w="9525">
            <a:noFill/>
            <a:miter lim="800000"/>
            <a:headEnd/>
            <a:tailEnd/>
          </a:ln>
        </p:spPr>
        <p:txBody>
          <a:bodyPr lIns="96638" tIns="48320" rIns="96638" bIns="48320" anchor="b"/>
          <a:lstStyle/>
          <a:p>
            <a:pPr algn="r" defTabSz="914277" eaLnBrk="1" hangingPunct="1">
              <a:defRPr/>
            </a:pPr>
            <a:fld id="{8A914AD9-FBE9-44AD-9CA7-25E2422C9153}" type="slidenum">
              <a:rPr lang="en-US" sz="1300">
                <a:solidFill>
                  <a:prstClr val="black"/>
                </a:solidFill>
              </a:rPr>
              <a:pPr algn="r" defTabSz="914277" eaLnBrk="1" hangingPunct="1">
                <a:defRPr/>
              </a:pPr>
              <a:t>3</a:t>
            </a:fld>
            <a:endParaRPr lang="en-US" sz="1300">
              <a:solidFill>
                <a:prstClr val="black"/>
              </a:solidFill>
            </a:endParaRPr>
          </a:p>
        </p:txBody>
      </p:sp>
      <p:sp>
        <p:nvSpPr>
          <p:cNvPr id="22531" name="Rectangle 2"/>
          <p:cNvSpPr>
            <a:spLocks noGrp="1" noRot="1" noChangeAspect="1" noChangeArrowheads="1" noTextEdit="1"/>
          </p:cNvSpPr>
          <p:nvPr>
            <p:ph type="sldImg"/>
          </p:nvPr>
        </p:nvSpPr>
        <p:spPr>
          <a:xfrm>
            <a:off x="458788" y="720725"/>
            <a:ext cx="6400800" cy="3600450"/>
          </a:xfrm>
          <a:ln/>
        </p:spPr>
      </p:sp>
      <p:sp>
        <p:nvSpPr>
          <p:cNvPr id="22532" name="Rectangle 3"/>
          <p:cNvSpPr>
            <a:spLocks noGrp="1" noChangeArrowheads="1"/>
          </p:cNvSpPr>
          <p:nvPr>
            <p:ph type="body" idx="1"/>
          </p:nvPr>
        </p:nvSpPr>
        <p:spPr>
          <a:xfrm>
            <a:off x="975361" y="4558904"/>
            <a:ext cx="5364480" cy="4323874"/>
          </a:xfrm>
        </p:spPr>
        <p:txBody>
          <a:bodyPr/>
          <a:lstStyle/>
          <a:p>
            <a:pPr eaLnBrk="1" hangingPunct="1"/>
            <a:endParaRPr lang="en-US"/>
          </a:p>
        </p:txBody>
      </p:sp>
    </p:spTree>
    <p:extLst>
      <p:ext uri="{BB962C8B-B14F-4D97-AF65-F5344CB8AC3E}">
        <p14:creationId xmlns:p14="http://schemas.microsoft.com/office/powerpoint/2010/main" val="27993855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30</a:t>
            </a:fld>
            <a:endParaRPr lang="en-US"/>
          </a:p>
        </p:txBody>
      </p:sp>
    </p:spTree>
    <p:extLst>
      <p:ext uri="{BB962C8B-B14F-4D97-AF65-F5344CB8AC3E}">
        <p14:creationId xmlns:p14="http://schemas.microsoft.com/office/powerpoint/2010/main" val="9006549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31</a:t>
            </a:fld>
            <a:endParaRPr lang="en-US"/>
          </a:p>
        </p:txBody>
      </p:sp>
    </p:spTree>
    <p:extLst>
      <p:ext uri="{BB962C8B-B14F-4D97-AF65-F5344CB8AC3E}">
        <p14:creationId xmlns:p14="http://schemas.microsoft.com/office/powerpoint/2010/main" val="2899308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32</a:t>
            </a:fld>
            <a:endParaRPr lang="en-US"/>
          </a:p>
        </p:txBody>
      </p:sp>
    </p:spTree>
    <p:extLst>
      <p:ext uri="{BB962C8B-B14F-4D97-AF65-F5344CB8AC3E}">
        <p14:creationId xmlns:p14="http://schemas.microsoft.com/office/powerpoint/2010/main" val="16301820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33</a:t>
            </a:fld>
            <a:endParaRPr lang="en-US"/>
          </a:p>
        </p:txBody>
      </p:sp>
    </p:spTree>
    <p:extLst>
      <p:ext uri="{BB962C8B-B14F-4D97-AF65-F5344CB8AC3E}">
        <p14:creationId xmlns:p14="http://schemas.microsoft.com/office/powerpoint/2010/main" val="35394031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34</a:t>
            </a:fld>
            <a:endParaRPr lang="en-US"/>
          </a:p>
        </p:txBody>
      </p:sp>
    </p:spTree>
    <p:extLst>
      <p:ext uri="{BB962C8B-B14F-4D97-AF65-F5344CB8AC3E}">
        <p14:creationId xmlns:p14="http://schemas.microsoft.com/office/powerpoint/2010/main" val="19211331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35</a:t>
            </a:fld>
            <a:endParaRPr lang="en-US"/>
          </a:p>
        </p:txBody>
      </p:sp>
    </p:spTree>
    <p:extLst>
      <p:ext uri="{BB962C8B-B14F-4D97-AF65-F5344CB8AC3E}">
        <p14:creationId xmlns:p14="http://schemas.microsoft.com/office/powerpoint/2010/main" val="38823583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Notes</a:t>
            </a:r>
            <a:r>
              <a:rPr lang="en-US" b="1" dirty="0"/>
              <a:t>:</a:t>
            </a:r>
          </a:p>
          <a:p>
            <a:pPr marL="0" indent="0">
              <a:buFont typeface="Arial" panose="020B0604020202020204" pitchFamily="34" charset="0"/>
              <a:buNone/>
            </a:pPr>
            <a:r>
              <a:rPr lang="en-US" dirty="0"/>
              <a:t>Released 4 RNP and 7 Guided Visual Procedures since Q2</a:t>
            </a:r>
          </a:p>
          <a:p>
            <a:pPr marL="171450" indent="-171450" eaLnBrk="1" fontAlgn="auto" hangingPunct="1">
              <a:spcBef>
                <a:spcPts val="0"/>
              </a:spcBef>
              <a:spcAft>
                <a:spcPts val="0"/>
              </a:spcAft>
              <a:buFont typeface="Arial" panose="020B0604020202020204" pitchFamily="34" charset="0"/>
              <a:buChar char="•"/>
              <a:defRPr/>
            </a:pPr>
            <a:r>
              <a:rPr lang="en-US" sz="1200" kern="0" dirty="0">
                <a:solidFill>
                  <a:prstClr val="black"/>
                </a:solidFill>
                <a:highlight>
                  <a:srgbClr val="FFFF00"/>
                </a:highlight>
                <a:latin typeface="Arial"/>
                <a:cs typeface="Arial" pitchFamily="34" charset="0"/>
              </a:rPr>
              <a:t>RNP | Two for Chicago Exec (KPWK)Hailey (KSUN), and Telluride (KTEX).  Aspen. </a:t>
            </a:r>
          </a:p>
          <a:p>
            <a:pPr marL="171450" indent="-171450" eaLnBrk="1" fontAlgn="auto" hangingPunct="1">
              <a:spcBef>
                <a:spcPts val="0"/>
              </a:spcBef>
              <a:spcAft>
                <a:spcPts val="0"/>
              </a:spcAft>
              <a:buFont typeface="Arial" panose="020B0604020202020204" pitchFamily="34" charset="0"/>
              <a:buChar char="•"/>
              <a:defRPr/>
            </a:pPr>
            <a:r>
              <a:rPr lang="en-US" altLang="ko-KR" sz="1200" kern="0" dirty="0">
                <a:solidFill>
                  <a:prstClr val="black"/>
                </a:solidFill>
                <a:highlight>
                  <a:srgbClr val="FFFF00"/>
                </a:highlight>
                <a:latin typeface="Arial"/>
                <a:cs typeface="Arial" pitchFamily="34" charset="0"/>
              </a:rPr>
              <a:t>FMS Guided Visuals | Cabo San Lucas (MMSL), San Francisco (KSFO), two for Burbank (KBUR),Truckee/Tahoe (KTRK), &amp; two for Singapore/Seletar (WSSL)</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36</a:t>
            </a:fld>
            <a:endParaRPr lang="en-US"/>
          </a:p>
        </p:txBody>
      </p:sp>
    </p:spTree>
    <p:extLst>
      <p:ext uri="{BB962C8B-B14F-4D97-AF65-F5344CB8AC3E}">
        <p14:creationId xmlns:p14="http://schemas.microsoft.com/office/powerpoint/2010/main" val="31660195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171450" indent="-171450">
              <a:buFont typeface="Arial" panose="020B0604020202020204" pitchFamily="34" charset="0"/>
              <a:buChar char="•"/>
            </a:pPr>
            <a:r>
              <a:rPr lang="en-US" dirty="0"/>
              <a:t>This slide summarizes 8 critical activities GTO is driving to improve our relationship with Pilatus, their service centers, and operator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t starts with increasing our FSE skillset, as shown in the middle of the left-hand side of this chart.  Pilatus APEX cases are number one case volume driver for ATS and complicated to T/S.   This is also an enabler to increasing our engagement with the Pilatus Service Center network, which includes close to 80 different channel partners and distributor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Moving to the right hand of this slide, </a:t>
            </a:r>
          </a:p>
          <a:p>
            <a:pPr marL="342900" lvl="2" indent="-171450">
              <a:buFont typeface="Arial" panose="020B0604020202020204" pitchFamily="34" charset="0"/>
              <a:buChar char="•"/>
            </a:pPr>
            <a:r>
              <a:rPr lang="en-US" dirty="0"/>
              <a:t>We’re working with Pilatus to make it easier to T/S APEX by adding ~5000 new CAS messages to the PC-24 APEX system.  These CAS messages are like fault codes on your care.  This project these new fault codes will help us resolve 60% of our cases faster and address 40% of NFFs that we have today.  When I was in Switzerland a few weeks ago the Pilatus Avionics leader shared that success looks like regular LDI updates based on what we’re seeing in the field so going forward we’re going to do periodic updates.</a:t>
            </a:r>
          </a:p>
          <a:p>
            <a:pPr marL="342900" lvl="2" indent="-171450">
              <a:buFont typeface="Arial" panose="020B0604020202020204" pitchFamily="34" charset="0"/>
              <a:buChar char="•"/>
            </a:pPr>
            <a:r>
              <a:rPr lang="en-US" dirty="0"/>
              <a:t>The second key enabler to improve our T/S is getting our FSEs the tools they need to do their job more effectively and our 2025 AOP includes an APEX FHDP app.</a:t>
            </a:r>
          </a:p>
          <a:p>
            <a:pPr marL="171450" lvl="2" indent="0">
              <a:buFont typeface="Arial" panose="020B0604020202020204" pitchFamily="34" charset="0"/>
              <a:buNone/>
            </a:pPr>
            <a:endParaRPr lang="en-US" dirty="0"/>
          </a:p>
          <a:p>
            <a:pPr marL="171450" lvl="2" indent="-171450" algn="l" defTabSz="914400" rtl="0" eaLnBrk="1" latinLnBrk="0" hangingPunct="1">
              <a:spcAft>
                <a:spcPts val="600"/>
              </a:spcAft>
              <a:buFont typeface="Arial" panose="020B0604020202020204" pitchFamily="34" charset="0"/>
              <a:buChar char="•"/>
            </a:pPr>
            <a:r>
              <a:rPr lang="en-US" sz="1200" b="1" kern="1200" dirty="0">
                <a:solidFill>
                  <a:schemeClr val="tx1"/>
                </a:solidFill>
                <a:latin typeface="+mn-lt"/>
                <a:ea typeface="+mn-ea"/>
                <a:cs typeface="+mn-cs"/>
              </a:rPr>
              <a:t>From a user experience perspective,</a:t>
            </a:r>
            <a:endParaRPr lang="en-US" sz="1200" b="0" kern="1200" dirty="0">
              <a:solidFill>
                <a:schemeClr val="tx1"/>
              </a:solidFill>
              <a:latin typeface="+mn-lt"/>
              <a:ea typeface="+mn-ea"/>
              <a:cs typeface="+mn-cs"/>
            </a:endParaRPr>
          </a:p>
          <a:p>
            <a:pPr marL="400050" lvl="3" indent="-171450" algn="l" defTabSz="914400" rtl="0" eaLnBrk="1" latinLnBrk="0" hangingPunct="1">
              <a:spcAft>
                <a:spcPts val="600"/>
              </a:spcAft>
              <a:buFont typeface="Arial" panose="020B0604020202020204" pitchFamily="34" charset="0"/>
              <a:buChar char="•"/>
            </a:pPr>
            <a:r>
              <a:rPr lang="en-US" sz="1000" b="0" kern="1200" dirty="0">
                <a:solidFill>
                  <a:schemeClr val="tx1"/>
                </a:solidFill>
                <a:latin typeface="+mn-lt"/>
                <a:ea typeface="+mn-ea"/>
                <a:cs typeface="+mn-cs"/>
              </a:rPr>
              <a:t>We have three key items.  </a:t>
            </a:r>
          </a:p>
          <a:p>
            <a:pPr marL="400050" lvl="3" indent="-171450" algn="l" defTabSz="914400" rtl="0" eaLnBrk="1" latinLnBrk="0" hangingPunct="1">
              <a:spcAft>
                <a:spcPts val="600"/>
              </a:spcAft>
              <a:buFont typeface="Arial" panose="020B0604020202020204" pitchFamily="34" charset="0"/>
              <a:buChar char="•"/>
            </a:pPr>
            <a:r>
              <a:rPr lang="en-US" sz="1000" b="0" kern="1200" dirty="0">
                <a:solidFill>
                  <a:schemeClr val="tx1"/>
                </a:solidFill>
                <a:latin typeface="+mn-lt"/>
                <a:ea typeface="+mn-ea"/>
                <a:cs typeface="+mn-cs"/>
              </a:rPr>
              <a:t>On the right hand of the slide, we need to enable wireless downloads of the APEX Flight History Database, or FHDB.  The Pilatus A/C often fly in remote locations and due to airworthiness regulations in other countries Pilots are only allowed to download the data wirelessly.  We have this capability with the legacy Maintenance Advisor App, but it is no longer available due to cyber security advancements. </a:t>
            </a:r>
          </a:p>
          <a:p>
            <a:pPr marL="400050" lvl="3" indent="-171450" algn="l" defTabSz="914400" rtl="0" eaLnBrk="1" latinLnBrk="0" hangingPunct="1">
              <a:spcAft>
                <a:spcPts val="600"/>
              </a:spcAft>
              <a:buFont typeface="Arial" panose="020B0604020202020204" pitchFamily="34" charset="0"/>
              <a:buChar char="•"/>
            </a:pPr>
            <a:r>
              <a:rPr lang="en-US" sz="1000" b="0" kern="1200" dirty="0">
                <a:solidFill>
                  <a:schemeClr val="tx1"/>
                </a:solidFill>
                <a:latin typeface="+mn-lt"/>
                <a:ea typeface="+mn-ea"/>
                <a:cs typeface="+mn-cs"/>
              </a:rPr>
              <a:t>On the lower right corner, we need to address process gaps for </a:t>
            </a:r>
            <a:r>
              <a:rPr lang="en-US" sz="1000" b="0" kern="1200" dirty="0" err="1">
                <a:solidFill>
                  <a:schemeClr val="tx1"/>
                </a:solidFill>
                <a:latin typeface="+mn-lt"/>
                <a:ea typeface="+mn-ea"/>
                <a:cs typeface="+mn-cs"/>
              </a:rPr>
              <a:t>DBs.</a:t>
            </a:r>
            <a:r>
              <a:rPr lang="en-US" sz="1000" b="0" kern="1200" dirty="0">
                <a:solidFill>
                  <a:schemeClr val="tx1"/>
                </a:solidFill>
                <a:latin typeface="+mn-lt"/>
                <a:ea typeface="+mn-ea"/>
                <a:cs typeface="+mn-cs"/>
              </a:rPr>
              <a:t>  While this is not easy, it’s critical to improving the Customer Experience and preventing system issues when uploading data, which can lead to AOGs and unnecessary spare part consumption.  </a:t>
            </a:r>
          </a:p>
          <a:p>
            <a:pPr marL="400050" lvl="3" indent="-171450" algn="l" defTabSz="914400" rtl="0" eaLnBrk="1" latinLnBrk="0" hangingPunct="1">
              <a:spcAft>
                <a:spcPts val="600"/>
              </a:spcAft>
              <a:buFont typeface="Arial" panose="020B0604020202020204" pitchFamily="34" charset="0"/>
              <a:buChar char="•"/>
            </a:pPr>
            <a:r>
              <a:rPr lang="en-US" sz="1000" b="0" kern="1200" dirty="0">
                <a:solidFill>
                  <a:schemeClr val="tx1"/>
                </a:solidFill>
                <a:latin typeface="+mn-lt"/>
                <a:ea typeface="+mn-ea"/>
                <a:cs typeface="+mn-cs"/>
              </a:rPr>
              <a:t>Lastly, moving to the upper right corner, one of the ways I want to address Service Cetner training gaps is to deploy IETM manuals for the PC-12 and PC25 Flight Line Maintenance Manuals.  This manual format will improve the customer experience and ease of use for our manual and allow us to embed T/S videos into the manuals, which will be a first for us. </a:t>
            </a:r>
          </a:p>
          <a:p>
            <a:pPr marL="400050" lvl="3" indent="-171450" algn="l" defTabSz="914400" rtl="0" eaLnBrk="1" latinLnBrk="0" hangingPunct="1">
              <a:spcAft>
                <a:spcPts val="600"/>
              </a:spcAft>
              <a:buFont typeface="Arial" panose="020B0604020202020204" pitchFamily="34" charset="0"/>
              <a:buChar char="•"/>
            </a:pPr>
            <a:endParaRPr lang="en-US" sz="1000" b="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ED70284F-7E88-4545-9BB2-221688BE3F3A}" type="slidenum">
              <a:rPr lang="en-US" smtClean="0"/>
              <a:t>37</a:t>
            </a:fld>
            <a:endParaRPr lang="en-US"/>
          </a:p>
        </p:txBody>
      </p:sp>
    </p:spTree>
    <p:extLst>
      <p:ext uri="{BB962C8B-B14F-4D97-AF65-F5344CB8AC3E}">
        <p14:creationId xmlns:p14="http://schemas.microsoft.com/office/powerpoint/2010/main" val="1540218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a:lnSpc>
                <a:spcPct val="107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ummar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Our strategy is to adopt the latest technology as an enabler for higher quality manuals, an enhanced customer experience, and to make it easier to maintain and refresh manuals.  In addition to this, we’ll be going live with a completely refreshed Tech Pubs portal page that will greatly improvement our digital experie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Details on each improvement area</a:t>
            </a: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Drive Improved Customer Satisfac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Airbus - improved score from D (3 years ago) to A today and goal to maintain top score 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Boeing – improved score from 80% (3 years ago) to 100% today and goal to maintain top score 10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BGA OEMS – improved scores from 3.5 / 5 (2 years ago) to 5 / 5 today and goal to maintain top score 5 / 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AIN Tech Manuals score improved from 7.5 (2 years ago) to 8.2 today and goal to improve to &gt;9.0 in next 3 yea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Faster Revision &amp; Release Cycl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Improved end to end authoring CT from 85 days (3 years ago) to 60 days (30%) and goal to reduce to 42 days in next 3 yea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Deliver Higher Quality Docume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PPM decreased from 1500 (3 years ago) to 500 today (30% improvement) and goal to achieve 250 PPM in next 3 yea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Reduced reported discrepancies monthly from 250 (2 years ago) to 170 today (32%) and goal to reduce to &lt;100 per mont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Convert Documents to S1000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Converted 3200 manuals to S1000D and goal is to convert total 4500 manua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dirty="0">
                <a:effectLst/>
                <a:latin typeface="Calibri" panose="020F0502020204030204" pitchFamily="34" charset="0"/>
                <a:ea typeface="Times New Roman" panose="02020603050405020304" pitchFamily="18" charset="0"/>
                <a:cs typeface="Times New Roman" panose="02020603050405020304" pitchFamily="18" charset="0"/>
              </a:rPr>
              <a:t>Enable IETM Manua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Times New Roman" panose="02020603050405020304" pitchFamily="18" charset="0"/>
                <a:cs typeface="Times New Roman" panose="02020603050405020304" pitchFamily="18" charset="0"/>
              </a:rPr>
              <a:t>Enabled 151 manuals with IETM features and end goal to enable 25% (&gt;1000) of manuals to IET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935661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07FD1-B608-93E0-8DB3-D9CD07733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A9D46-D732-129F-FF8C-9D3853DBAE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0DD02-4EEE-5230-91D3-736251C5F0EA}"/>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AC8F51DB-08A1-53AA-D978-B39CD1FF183B}"/>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6FC7A516-1FC5-FE5A-2FA5-D86B6137EBD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7EC72786-493C-6A0C-D9BB-21E41C768D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3E8BB-C363-4268-B23C-6DB39C67ED2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76468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4</a:t>
            </a:fld>
            <a:endParaRPr lang="en-US"/>
          </a:p>
        </p:txBody>
      </p:sp>
    </p:spTree>
    <p:extLst>
      <p:ext uri="{BB962C8B-B14F-4D97-AF65-F5344CB8AC3E}">
        <p14:creationId xmlns:p14="http://schemas.microsoft.com/office/powerpoint/2010/main" val="39145884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40</a:t>
            </a:fld>
            <a:endParaRPr lang="en-US"/>
          </a:p>
        </p:txBody>
      </p:sp>
    </p:spTree>
    <p:extLst>
      <p:ext uri="{BB962C8B-B14F-4D97-AF65-F5344CB8AC3E}">
        <p14:creationId xmlns:p14="http://schemas.microsoft.com/office/powerpoint/2010/main" val="156478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47044">
              <a:defRPr/>
            </a:pPr>
            <a:endParaRPr lang="en-US">
              <a:solidFill>
                <a:prstClr val="black"/>
              </a:solidFill>
            </a:endParaRPr>
          </a:p>
        </p:txBody>
      </p:sp>
      <p:sp>
        <p:nvSpPr>
          <p:cNvPr id="5" name="Footer Placeholder 4" hidden="1"/>
          <p:cNvSpPr>
            <a:spLocks noGrp="1"/>
          </p:cNvSpPr>
          <p:nvPr>
            <p:ph type="ftr" sz="quarter" idx="11"/>
          </p:nvPr>
        </p:nvSpPr>
        <p:spPr>
          <a:xfrm>
            <a:off x="0" y="9119475"/>
            <a:ext cx="7315200" cy="480060"/>
          </a:xfrm>
        </p:spPr>
        <p:txBody>
          <a:bodyPr/>
          <a:lstStyle/>
          <a:p>
            <a:pPr defTabSz="947044">
              <a:defRPr/>
            </a:pPr>
            <a:endParaRPr lang="en-US"/>
          </a:p>
        </p:txBody>
      </p:sp>
      <p:sp>
        <p:nvSpPr>
          <p:cNvPr id="6" name="Slide Number Placeholder 5"/>
          <p:cNvSpPr>
            <a:spLocks noGrp="1"/>
          </p:cNvSpPr>
          <p:nvPr>
            <p:ph type="sldNum" sz="quarter" idx="12"/>
          </p:nvPr>
        </p:nvSpPr>
        <p:spPr/>
        <p:txBody>
          <a:bodyPr/>
          <a:lstStyle/>
          <a:p>
            <a:pPr defTabSz="947044">
              <a:defRPr/>
            </a:pPr>
            <a:fld id="{FFE04ED5-3365-46C1-9D5D-A76A369743BB}" type="slidenum">
              <a:rPr lang="en-US">
                <a:solidFill>
                  <a:prstClr val="black"/>
                </a:solidFill>
              </a:rPr>
              <a:pPr defTabSz="947044">
                <a:defRPr/>
              </a:pPr>
              <a:t>5</a:t>
            </a:fld>
            <a:endParaRPr lang="en-US">
              <a:solidFill>
                <a:prstClr val="black"/>
              </a:solidFill>
            </a:endParaRPr>
          </a:p>
        </p:txBody>
      </p:sp>
    </p:spTree>
    <p:extLst>
      <p:ext uri="{BB962C8B-B14F-4D97-AF65-F5344CB8AC3E}">
        <p14:creationId xmlns:p14="http://schemas.microsoft.com/office/powerpoint/2010/main" val="4180845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6</a:t>
            </a:fld>
            <a:endParaRPr lang="en-US"/>
          </a:p>
        </p:txBody>
      </p:sp>
    </p:spTree>
    <p:extLst>
      <p:ext uri="{BB962C8B-B14F-4D97-AF65-F5344CB8AC3E}">
        <p14:creationId xmlns:p14="http://schemas.microsoft.com/office/powerpoint/2010/main" val="115017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14277">
              <a:defRPr/>
            </a:pPr>
            <a:endParaRPr lang="en-US">
              <a:solidFill>
                <a:prstClr val="black"/>
              </a:solidFill>
            </a:endParaRPr>
          </a:p>
        </p:txBody>
      </p:sp>
      <p:sp>
        <p:nvSpPr>
          <p:cNvPr id="5" name="Footer Placeholder 4" hidden="1"/>
          <p:cNvSpPr>
            <a:spLocks noGrp="1"/>
          </p:cNvSpPr>
          <p:nvPr>
            <p:ph type="ftr" sz="quarter" idx="11"/>
          </p:nvPr>
        </p:nvSpPr>
        <p:spPr>
          <a:xfrm>
            <a:off x="0" y="9119475"/>
            <a:ext cx="7315200" cy="480060"/>
          </a:xfrm>
        </p:spPr>
        <p:txBody>
          <a:bodyPr/>
          <a:lstStyle/>
          <a:p>
            <a:pPr defTabSz="914277">
              <a:defRPr/>
            </a:pPr>
            <a:endParaRPr lang="en-US"/>
          </a:p>
        </p:txBody>
      </p:sp>
      <p:sp>
        <p:nvSpPr>
          <p:cNvPr id="6" name="Slide Number Placeholder 5"/>
          <p:cNvSpPr>
            <a:spLocks noGrp="1"/>
          </p:cNvSpPr>
          <p:nvPr>
            <p:ph type="sldNum" sz="quarter" idx="12"/>
          </p:nvPr>
        </p:nvSpPr>
        <p:spPr/>
        <p:txBody>
          <a:bodyPr/>
          <a:lstStyle/>
          <a:p>
            <a:pPr defTabSz="914277">
              <a:defRPr/>
            </a:pPr>
            <a:fld id="{FFE04ED5-3365-46C1-9D5D-A76A369743BB}" type="slidenum">
              <a:rPr lang="en-US">
                <a:solidFill>
                  <a:prstClr val="black"/>
                </a:solidFill>
              </a:rPr>
              <a:pPr defTabSz="914277">
                <a:defRPr/>
              </a:pPr>
              <a:t>7</a:t>
            </a:fld>
            <a:endParaRPr lang="en-US">
              <a:solidFill>
                <a:prstClr val="black"/>
              </a:solidFill>
            </a:endParaRPr>
          </a:p>
        </p:txBody>
      </p:sp>
    </p:spTree>
    <p:extLst>
      <p:ext uri="{BB962C8B-B14F-4D97-AF65-F5344CB8AC3E}">
        <p14:creationId xmlns:p14="http://schemas.microsoft.com/office/powerpoint/2010/main" val="16066442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8</a:t>
            </a:fld>
            <a:endParaRPr lang="en-US"/>
          </a:p>
        </p:txBody>
      </p:sp>
    </p:spTree>
    <p:extLst>
      <p:ext uri="{BB962C8B-B14F-4D97-AF65-F5344CB8AC3E}">
        <p14:creationId xmlns:p14="http://schemas.microsoft.com/office/powerpoint/2010/main" val="150005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r>
              <a:rPr lang="en-US"/>
              <a:t>Classification:</a:t>
            </a:r>
            <a:r>
              <a:rPr lang="en-US">
                <a:solidFill>
                  <a:srgbClr val="000080"/>
                </a:solidFill>
              </a:rPr>
              <a:t> </a:t>
            </a:r>
            <a:r>
              <a:rPr lang="en-US"/>
              <a:t>Honeywell Unrestricted</a:t>
            </a:r>
          </a:p>
        </p:txBody>
      </p:sp>
      <p:sp>
        <p:nvSpPr>
          <p:cNvPr id="6" name="Slide Number Placeholder 5"/>
          <p:cNvSpPr>
            <a:spLocks noGrp="1"/>
          </p:cNvSpPr>
          <p:nvPr>
            <p:ph type="sldNum" sz="quarter" idx="5"/>
          </p:nvPr>
        </p:nvSpPr>
        <p:spPr/>
        <p:txBody>
          <a:bodyPr/>
          <a:lstStyle/>
          <a:p>
            <a:fld id="{FFE04ED5-3365-46C1-9D5D-A76A369743BB}" type="slidenum">
              <a:rPr lang="en-US" smtClean="0"/>
              <a:pPr/>
              <a:t>9</a:t>
            </a:fld>
            <a:endParaRPr lang="en-US"/>
          </a:p>
        </p:txBody>
      </p:sp>
    </p:spTree>
    <p:extLst>
      <p:ext uri="{BB962C8B-B14F-4D97-AF65-F5344CB8AC3E}">
        <p14:creationId xmlns:p14="http://schemas.microsoft.com/office/powerpoint/2010/main" val="3168203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25.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25.sv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5.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0.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1.sv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0.sv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27.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25.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25.sv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5.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3.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3.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3.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wmf"/><Relationship Id="rId1" Type="http://schemas.openxmlformats.org/officeDocument/2006/relationships/slideMaster" Target="../slideMasters/slideMaster10.xml"/><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5.jpe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34.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25.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27.svg"/></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32.sv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25.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25.sv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3.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7.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3.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wmf"/><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Box 1"/>
          <p:cNvSpPr txBox="1"/>
          <p:nvPr userDrawn="1"/>
        </p:nvSpPr>
        <p:spPr>
          <a:xfrm>
            <a:off x="5" y="2"/>
            <a:ext cx="12191999" cy="461665"/>
          </a:xfrm>
          <a:prstGeom prst="rect">
            <a:avLst/>
          </a:prstGeom>
          <a:solidFill>
            <a:schemeClr val="bg1"/>
          </a:solidFill>
        </p:spPr>
        <p:txBody>
          <a:bodyPr wrap="square" rtlCol="0">
            <a:spAutoFit/>
          </a:bodyPr>
          <a:lstStyle/>
          <a:p>
            <a:endParaRPr lang="en-US" sz="2400">
              <a:solidFill>
                <a:srgbClr val="000000"/>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68334"/>
            <a:ext cx="12203952" cy="1866900"/>
          </a:xfrm>
          <a:prstGeom prst="rect">
            <a:avLst/>
          </a:prstGeom>
        </p:spPr>
      </p:pic>
      <p:pic>
        <p:nvPicPr>
          <p:cNvPr id="10" name="Picture 9">
            <a:extLst>
              <a:ext uri="{FF2B5EF4-FFF2-40B4-BE49-F238E27FC236}">
                <a16:creationId xmlns:a16="http://schemas.microsoft.com/office/drawing/2014/main" id="{14053C1F-9AD3-41A4-9611-6FCE000FA6B4}"/>
              </a:ext>
            </a:extLst>
          </p:cNvPr>
          <p:cNvPicPr>
            <a:picLocks noChangeAspect="1"/>
          </p:cNvPicPr>
          <p:nvPr userDrawn="1"/>
        </p:nvPicPr>
        <p:blipFill>
          <a:blip r:embed="rId3"/>
          <a:stretch>
            <a:fillRect/>
          </a:stretch>
        </p:blipFill>
        <p:spPr>
          <a:xfrm>
            <a:off x="243647" y="226878"/>
            <a:ext cx="8354351" cy="364787"/>
          </a:xfrm>
          <a:prstGeom prst="rect">
            <a:avLst/>
          </a:prstGeom>
        </p:spPr>
      </p:pic>
    </p:spTree>
    <p:extLst>
      <p:ext uri="{BB962C8B-B14F-4D97-AF65-F5344CB8AC3E}">
        <p14:creationId xmlns:p14="http://schemas.microsoft.com/office/powerpoint/2010/main" val="51055752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Follow Up">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FF0000"/>
                </a:solidFill>
                <a:latin typeface="Arial"/>
              </a:rPr>
              <a:t>AGENDA FOLLOW UP  </a:t>
            </a:r>
            <a:r>
              <a:rPr lang="en-US" sz="1000" b="1" kern="0">
                <a:solidFill>
                  <a:srgbClr val="000000"/>
                </a:solidFill>
                <a:latin typeface="Arial"/>
              </a:rPr>
              <a:t>Initiator:                    	       Owner:   	     	      Initiation Date: 	     Original Commit Date:</a:t>
            </a:r>
          </a:p>
        </p:txBody>
      </p:sp>
      <p:sp>
        <p:nvSpPr>
          <p:cNvPr id="8" name="Rectangle 7"/>
          <p:cNvSpPr/>
          <p:nvPr userDrawn="1"/>
        </p:nvSpPr>
        <p:spPr>
          <a:xfrm>
            <a:off x="10388600" y="48376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 name="Rectangle 8"/>
          <p:cNvSpPr/>
          <p:nvPr userDrawn="1"/>
        </p:nvSpPr>
        <p:spPr>
          <a:xfrm>
            <a:off x="8564033" y="4850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6" name="Rectangle 15"/>
          <p:cNvSpPr/>
          <p:nvPr userDrawn="1"/>
        </p:nvSpPr>
        <p:spPr>
          <a:xfrm>
            <a:off x="10388600" y="51551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7" name="Rectangle 16"/>
          <p:cNvSpPr/>
          <p:nvPr userDrawn="1"/>
        </p:nvSpPr>
        <p:spPr>
          <a:xfrm>
            <a:off x="8564033" y="51678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8" name="Rectangle 17"/>
          <p:cNvSpPr/>
          <p:nvPr userDrawn="1"/>
        </p:nvSpPr>
        <p:spPr>
          <a:xfrm>
            <a:off x="10388600" y="5485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9" name="Rectangle 18"/>
          <p:cNvSpPr/>
          <p:nvPr userDrawn="1"/>
        </p:nvSpPr>
        <p:spPr>
          <a:xfrm>
            <a:off x="8564033" y="5485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0" name="Rectangle 19"/>
          <p:cNvSpPr/>
          <p:nvPr userDrawn="1"/>
        </p:nvSpPr>
        <p:spPr>
          <a:xfrm>
            <a:off x="10388600" y="5806074"/>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1" name="Rectangle 20"/>
          <p:cNvSpPr/>
          <p:nvPr userDrawn="1"/>
        </p:nvSpPr>
        <p:spPr>
          <a:xfrm>
            <a:off x="8564033" y="5806074"/>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2" name="TextBox 21"/>
          <p:cNvSpPr txBox="1"/>
          <p:nvPr userDrawn="1"/>
        </p:nvSpPr>
        <p:spPr>
          <a:xfrm>
            <a:off x="8449736" y="1280477"/>
            <a:ext cx="3166533" cy="246221"/>
          </a:xfrm>
          <a:prstGeom prst="rect">
            <a:avLst/>
          </a:prstGeom>
          <a:noFill/>
        </p:spPr>
        <p:txBody>
          <a:bodyPr wrap="square" rtlCol="0">
            <a:spAutoFit/>
          </a:bodyPr>
          <a:lstStyle/>
          <a:p>
            <a:r>
              <a:rPr lang="en-US" sz="1000" b="1" kern="0">
                <a:solidFill>
                  <a:srgbClr val="000000"/>
                </a:solidFill>
                <a:latin typeface="Arial"/>
              </a:rPr>
              <a:t>% Completed: </a:t>
            </a:r>
          </a:p>
        </p:txBody>
      </p:sp>
      <p:cxnSp>
        <p:nvCxnSpPr>
          <p:cNvPr id="29" name="Straight Connector 28"/>
          <p:cNvCxnSpPr/>
          <p:nvPr userDrawn="1"/>
        </p:nvCxnSpPr>
        <p:spPr bwMode="auto">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8652933" y="2701251"/>
            <a:ext cx="3335867" cy="923330"/>
          </a:xfrm>
          <a:prstGeom prst="rect">
            <a:avLst/>
          </a:prstGeom>
          <a:noFill/>
          <a:ln>
            <a:solidFill>
              <a:schemeClr val="bg1">
                <a:lumMod val="75000"/>
              </a:schemeClr>
            </a:solidFill>
          </a:ln>
        </p:spPr>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3" name="Rectangle 22"/>
          <p:cNvSpPr/>
          <p:nvPr userDrawn="1"/>
        </p:nvSpPr>
        <p:spPr>
          <a:xfrm>
            <a:off x="8546333" y="1057892"/>
            <a:ext cx="3572881" cy="246221"/>
          </a:xfrm>
          <a:prstGeom prst="rect">
            <a:avLst/>
          </a:prstGeom>
        </p:spPr>
        <p:txBody>
          <a:bodyPr wrap="square">
            <a:spAutoFit/>
          </a:bodyPr>
          <a:lstStyle/>
          <a:p>
            <a:pPr>
              <a:defRPr/>
            </a:pPr>
            <a:r>
              <a:rPr lang="en-US" sz="1000" b="1" kern="0">
                <a:solidFill>
                  <a:srgbClr val="000000"/>
                </a:solidFill>
              </a:rPr>
              <a:t>Estimated  Completion Date:   </a:t>
            </a:r>
          </a:p>
        </p:txBody>
      </p:sp>
    </p:spTree>
    <p:extLst>
      <p:ext uri="{BB962C8B-B14F-4D97-AF65-F5344CB8AC3E}">
        <p14:creationId xmlns:p14="http://schemas.microsoft.com/office/powerpoint/2010/main" val="418187789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9"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8" y="1273220"/>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9"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6191AC6-CDD3-4E09-9C59-5E94CEBA30FE}"/>
              </a:ext>
            </a:extLst>
          </p:cNvPr>
          <p:cNvSpPr>
            <a:spLocks noGrp="1"/>
          </p:cNvSpPr>
          <p:nvPr>
            <p:ph idx="21" hasCustomPrompt="1"/>
          </p:nvPr>
        </p:nvSpPr>
        <p:spPr>
          <a:xfrm>
            <a:off x="358822"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AA7B0B9-FD2C-4C2D-B4D7-CB1BCE630EF2}"/>
              </a:ext>
            </a:extLst>
          </p:cNvPr>
          <p:cNvSpPr>
            <a:spLocks noGrp="1"/>
          </p:cNvSpPr>
          <p:nvPr>
            <p:ph idx="22" hasCustomPrompt="1"/>
          </p:nvPr>
        </p:nvSpPr>
        <p:spPr>
          <a:xfrm>
            <a:off x="9338705"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999C672-9B01-45B9-B58B-BE5B55480890}"/>
              </a:ext>
            </a:extLst>
          </p:cNvPr>
          <p:cNvSpPr>
            <a:spLocks noGrp="1"/>
          </p:cNvSpPr>
          <p:nvPr>
            <p:ph idx="23" hasCustomPrompt="1"/>
          </p:nvPr>
        </p:nvSpPr>
        <p:spPr>
          <a:xfrm>
            <a:off x="3352117"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CE8ADC8-55D5-45AA-AFE7-9FD304F4EB91}"/>
              </a:ext>
            </a:extLst>
          </p:cNvPr>
          <p:cNvSpPr>
            <a:spLocks noGrp="1"/>
          </p:cNvSpPr>
          <p:nvPr>
            <p:ph idx="24" hasCustomPrompt="1"/>
          </p:nvPr>
        </p:nvSpPr>
        <p:spPr>
          <a:xfrm>
            <a:off x="6345411"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02272338"/>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64156E30-5EF4-4F94-B3C1-A3BC68504F8D}"/>
              </a:ext>
            </a:extLst>
          </p:cNvPr>
          <p:cNvSpPr>
            <a:spLocks noGrp="1"/>
          </p:cNvSpPr>
          <p:nvPr>
            <p:ph idx="21" hasCustomPrompt="1"/>
          </p:nvPr>
        </p:nvSpPr>
        <p:spPr>
          <a:xfrm>
            <a:off x="358822" y="1233691"/>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77F2807B-FB93-44FD-88CC-9A6001EFC18D}"/>
              </a:ext>
            </a:extLst>
          </p:cNvPr>
          <p:cNvSpPr>
            <a:spLocks noGrp="1"/>
          </p:cNvSpPr>
          <p:nvPr>
            <p:ph idx="29" hasCustomPrompt="1"/>
          </p:nvPr>
        </p:nvSpPr>
        <p:spPr>
          <a:xfrm>
            <a:off x="358822" y="3505224"/>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FCF8074E-6DD3-4C09-9D4B-BDA7497E98CF}"/>
              </a:ext>
            </a:extLst>
          </p:cNvPr>
          <p:cNvSpPr>
            <a:spLocks noGrp="1"/>
          </p:cNvSpPr>
          <p:nvPr>
            <p:ph idx="30" hasCustomPrompt="1"/>
          </p:nvPr>
        </p:nvSpPr>
        <p:spPr>
          <a:xfrm>
            <a:off x="6264894" y="1233691"/>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DCAA458-0B62-4F8E-8186-B5B1A1835AF5}"/>
              </a:ext>
            </a:extLst>
          </p:cNvPr>
          <p:cNvSpPr>
            <a:spLocks noGrp="1"/>
          </p:cNvSpPr>
          <p:nvPr>
            <p:ph idx="31" hasCustomPrompt="1"/>
          </p:nvPr>
        </p:nvSpPr>
        <p:spPr>
          <a:xfrm>
            <a:off x="6264894" y="3505224"/>
            <a:ext cx="5540420" cy="2119086"/>
          </a:xfrm>
        </p:spPr>
        <p:txBody>
          <a:bodyPr wrap="square"/>
          <a:lstStyle>
            <a:lvl1pPr marL="0" indent="0">
              <a:lnSpc>
                <a:spcPct val="80000"/>
              </a:lnSpc>
              <a:spcBef>
                <a:spcPts val="0"/>
              </a:spcBef>
              <a:buClr>
                <a:schemeClr val="accent1"/>
              </a:buClr>
              <a:buFont typeface="+mj-lt"/>
              <a:buNone/>
              <a:defRPr sz="2400"/>
            </a:lvl1pPr>
            <a:lvl2pPr marL="0" indent="-342000">
              <a:lnSpc>
                <a:spcPct val="80000"/>
              </a:lnSpc>
              <a:buClr>
                <a:schemeClr val="tx1"/>
              </a:buClr>
              <a:buFont typeface="Arial" panose="020B0604020202020204" pitchFamily="34" charset="0"/>
              <a:buChar char="•"/>
              <a:defRPr sz="2200"/>
            </a:lvl2pPr>
            <a:lvl3pPr marL="720000" indent="-3420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78843123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4596331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11033329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6F615F9A-04DF-4A34-986D-162F51504EE6}"/>
              </a:ext>
            </a:extLst>
          </p:cNvPr>
          <p:cNvSpPr>
            <a:spLocks noGrp="1"/>
          </p:cNvSpPr>
          <p:nvPr>
            <p:ph idx="17" hasCustomPrompt="1"/>
          </p:nvPr>
        </p:nvSpPr>
        <p:spPr>
          <a:xfrm>
            <a:off x="358820" y="1273221"/>
            <a:ext cx="11446493"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82220489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7FEF3665-9532-432B-9E9B-228B902CD515}"/>
              </a:ext>
            </a:extLst>
          </p:cNvPr>
          <p:cNvSpPr>
            <a:spLocks noGrp="1"/>
          </p:cNvSpPr>
          <p:nvPr>
            <p:ph idx="18" hasCustomPrompt="1"/>
          </p:nvPr>
        </p:nvSpPr>
        <p:spPr>
          <a:xfrm>
            <a:off x="6315668" y="1273221"/>
            <a:ext cx="5489645" cy="4215793"/>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025DCC0C-150D-4DAD-A90F-682DEF544D20}"/>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72907826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D3A09D0-780E-4D5B-9D0F-5C53FFAEBF78}"/>
              </a:ext>
            </a:extLst>
          </p:cNvPr>
          <p:cNvSpPr>
            <a:spLocks noGrp="1"/>
          </p:cNvSpPr>
          <p:nvPr>
            <p:ph type="pic" sz="quarter" idx="13"/>
          </p:nvPr>
        </p:nvSpPr>
        <p:spPr>
          <a:xfrm>
            <a:off x="6324601" y="1273220"/>
            <a:ext cx="5372100" cy="4215793"/>
          </a:xfrm>
          <a:pattFill prst="wdUpDiag">
            <a:fgClr>
              <a:schemeClr val="bg2"/>
            </a:fgClr>
            <a:bgClr>
              <a:schemeClr val="bg1"/>
            </a:bgClr>
          </a:pattFill>
        </p:spPr>
        <p:txBody>
          <a:bodyPr/>
          <a:lstStyle/>
          <a:p>
            <a:r>
              <a:rPr lang="en-US"/>
              <a:t>Click icon to add picture</a:t>
            </a:r>
          </a:p>
        </p:txBody>
      </p:sp>
      <p:sp>
        <p:nvSpPr>
          <p:cNvPr id="8" name="Content Placeholder 2">
            <a:extLst>
              <a:ext uri="{FF2B5EF4-FFF2-40B4-BE49-F238E27FC236}">
                <a16:creationId xmlns:a16="http://schemas.microsoft.com/office/drawing/2014/main" id="{82D6B39E-299F-4BEA-9815-5FE397940D2C}"/>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84921962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Picture Placeholder 6">
            <a:extLst>
              <a:ext uri="{FF2B5EF4-FFF2-40B4-BE49-F238E27FC236}">
                <a16:creationId xmlns:a16="http://schemas.microsoft.com/office/drawing/2014/main" id="{F1831C0D-18F8-431C-9AB1-31C8DF298A6B}"/>
              </a:ext>
            </a:extLst>
          </p:cNvPr>
          <p:cNvSpPr>
            <a:spLocks noGrp="1"/>
          </p:cNvSpPr>
          <p:nvPr>
            <p:ph type="pic" sz="quarter" idx="16"/>
          </p:nvPr>
        </p:nvSpPr>
        <p:spPr>
          <a:xfrm>
            <a:off x="358819" y="1300516"/>
            <a:ext cx="5489645" cy="2247900"/>
          </a:xfrm>
          <a:pattFill prst="wdUpDiag">
            <a:fgClr>
              <a:schemeClr val="bg2"/>
            </a:fgClr>
            <a:bgClr>
              <a:schemeClr val="bg1"/>
            </a:bgClr>
          </a:pattFill>
        </p:spPr>
        <p:txBody>
          <a:bodyPr/>
          <a:lstStyle/>
          <a:p>
            <a:r>
              <a:rPr lang="en-US"/>
              <a:t>Click icon to add picture</a:t>
            </a:r>
          </a:p>
        </p:txBody>
      </p:sp>
      <p:sp>
        <p:nvSpPr>
          <p:cNvPr id="9" name="Picture Placeholder 6">
            <a:extLst>
              <a:ext uri="{FF2B5EF4-FFF2-40B4-BE49-F238E27FC236}">
                <a16:creationId xmlns:a16="http://schemas.microsoft.com/office/drawing/2014/main" id="{A62B049B-F84A-40BB-903F-2DBF6554F1E9}"/>
              </a:ext>
            </a:extLst>
          </p:cNvPr>
          <p:cNvSpPr>
            <a:spLocks noGrp="1"/>
          </p:cNvSpPr>
          <p:nvPr>
            <p:ph type="pic" sz="quarter" idx="20"/>
          </p:nvPr>
        </p:nvSpPr>
        <p:spPr>
          <a:xfrm>
            <a:off x="6315668" y="1300516"/>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1B5C180D-DA9F-44AA-B979-74E0F6F1F23C}"/>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7923579-8C72-48FD-B7DA-4C828FF25683}"/>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46214633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3" name="Group 12">
            <a:extLst>
              <a:ext uri="{FF2B5EF4-FFF2-40B4-BE49-F238E27FC236}">
                <a16:creationId xmlns:a16="http://schemas.microsoft.com/office/drawing/2014/main" id="{B29B8EF5-5AFA-49C1-88CD-8F699CD18CB3}"/>
              </a:ext>
            </a:extLst>
          </p:cNvPr>
          <p:cNvGrpSpPr/>
          <p:nvPr userDrawn="1"/>
        </p:nvGrpSpPr>
        <p:grpSpPr>
          <a:xfrm>
            <a:off x="4098325" y="1300517"/>
            <a:ext cx="4004515" cy="4344840"/>
            <a:chOff x="4125621" y="1410880"/>
            <a:chExt cx="4004515" cy="4462273"/>
          </a:xfrm>
        </p:grpSpPr>
        <p:cxnSp>
          <p:nvCxnSpPr>
            <p:cNvPr id="14" name="Straight Connector 13">
              <a:extLst>
                <a:ext uri="{FF2B5EF4-FFF2-40B4-BE49-F238E27FC236}">
                  <a16:creationId xmlns:a16="http://schemas.microsoft.com/office/drawing/2014/main" id="{6D9CC082-3CCF-417C-9B37-D2DD6DCBDB9D}"/>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6CA473-7615-4CAC-88BE-44144D4FF0AD}"/>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A3530F1A-C354-49D5-A637-2B1BAE890EC3}"/>
              </a:ext>
            </a:extLst>
          </p:cNvPr>
          <p:cNvSpPr>
            <a:spLocks noGrp="1"/>
          </p:cNvSpPr>
          <p:nvPr>
            <p:ph idx="19" hasCustomPrompt="1"/>
          </p:nvPr>
        </p:nvSpPr>
        <p:spPr>
          <a:xfrm>
            <a:off x="358822" y="1300519"/>
            <a:ext cx="3450037"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4" name="Content Placeholder 2">
            <a:extLst>
              <a:ext uri="{FF2B5EF4-FFF2-40B4-BE49-F238E27FC236}">
                <a16:creationId xmlns:a16="http://schemas.microsoft.com/office/drawing/2014/main" id="{607A8C85-772A-4F74-A86F-3482A098CC09}"/>
              </a:ext>
            </a:extLst>
          </p:cNvPr>
          <p:cNvSpPr>
            <a:spLocks noGrp="1"/>
          </p:cNvSpPr>
          <p:nvPr>
            <p:ph idx="20" hasCustomPrompt="1"/>
          </p:nvPr>
        </p:nvSpPr>
        <p:spPr>
          <a:xfrm>
            <a:off x="4402539"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9197AF32-F35A-4EFE-AE46-C99C97A737A3}"/>
              </a:ext>
            </a:extLst>
          </p:cNvPr>
          <p:cNvSpPr>
            <a:spLocks noGrp="1"/>
          </p:cNvSpPr>
          <p:nvPr>
            <p:ph idx="21" hasCustomPrompt="1"/>
          </p:nvPr>
        </p:nvSpPr>
        <p:spPr>
          <a:xfrm>
            <a:off x="8355274" y="1300519"/>
            <a:ext cx="3450039"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16773596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Picture Placeholder 6">
            <a:extLst>
              <a:ext uri="{FF2B5EF4-FFF2-40B4-BE49-F238E27FC236}">
                <a16:creationId xmlns:a16="http://schemas.microsoft.com/office/drawing/2014/main" id="{88525126-748E-4DF9-9F30-7EF534BA5F96}"/>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B35F44D5-8BF3-459E-BB96-F4AFD54855BB}"/>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95263858-2864-4550-A64C-2D9719E114BB}"/>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5371FB6A-3586-41A3-BF59-A8DC71DAB7EA}"/>
              </a:ext>
            </a:extLst>
          </p:cNvPr>
          <p:cNvSpPr>
            <a:spLocks noGrp="1"/>
          </p:cNvSpPr>
          <p:nvPr>
            <p:ph idx="19" hasCustomPrompt="1"/>
          </p:nvPr>
        </p:nvSpPr>
        <p:spPr>
          <a:xfrm>
            <a:off x="358822" y="3766782"/>
            <a:ext cx="3450037"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061BE314-3234-4EC6-9BB9-4003B4474687}"/>
              </a:ext>
            </a:extLst>
          </p:cNvPr>
          <p:cNvSpPr>
            <a:spLocks noGrp="1"/>
          </p:cNvSpPr>
          <p:nvPr>
            <p:ph idx="20" hasCustomPrompt="1"/>
          </p:nvPr>
        </p:nvSpPr>
        <p:spPr>
          <a:xfrm>
            <a:off x="4402539" y="3766782"/>
            <a:ext cx="3429000"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5" name="Content Placeholder 2">
            <a:extLst>
              <a:ext uri="{FF2B5EF4-FFF2-40B4-BE49-F238E27FC236}">
                <a16:creationId xmlns:a16="http://schemas.microsoft.com/office/drawing/2014/main" id="{4318DBAE-9453-4F82-BE8D-06765DCFFCD9}"/>
              </a:ext>
            </a:extLst>
          </p:cNvPr>
          <p:cNvSpPr>
            <a:spLocks noGrp="1"/>
          </p:cNvSpPr>
          <p:nvPr>
            <p:ph idx="21" hasCustomPrompt="1"/>
          </p:nvPr>
        </p:nvSpPr>
        <p:spPr>
          <a:xfrm>
            <a:off x="8355274" y="3766782"/>
            <a:ext cx="3450039"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8183558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2" descr="C:\Users\e346811\AppData\Local\Microsoft\Windows\Temporary Internet Files\Content.Outlook\0RDM6YJG\GCC PP Cover v2 (2).jpg"/>
          <p:cNvPicPr>
            <a:picLocks noChangeAspect="1" noChangeArrowheads="1"/>
          </p:cNvPicPr>
          <p:nvPr userDrawn="1"/>
        </p:nvPicPr>
        <p:blipFill>
          <a:blip r:embed="rId2" cstate="print"/>
          <a:srcRect/>
          <a:stretch>
            <a:fillRect/>
          </a:stretch>
        </p:blipFill>
        <p:spPr>
          <a:xfrm>
            <a:off x="-25400" y="0"/>
            <a:ext cx="12313920" cy="6926580"/>
          </a:xfrm>
          <a:prstGeom prst="rect">
            <a:avLst/>
          </a:prstGeom>
          <a:noFill/>
        </p:spPr>
      </p:pic>
      <p:pic>
        <p:nvPicPr>
          <p:cNvPr id="5" name="Picture 3" descr="slides GCC 7.jpg"/>
          <p:cNvPicPr>
            <a:picLocks noChangeAspect="1"/>
          </p:cNvPicPr>
          <p:nvPr userDrawn="1"/>
        </p:nvPicPr>
        <p:blipFill>
          <a:blip r:embed="rId3" cstate="print"/>
          <a:srcRect l="8448" r="52586" b="75402"/>
          <a:stretch>
            <a:fillRect/>
          </a:stretch>
        </p:blipFill>
        <p:spPr>
          <a:xfrm>
            <a:off x="420415" y="5369278"/>
            <a:ext cx="4014952" cy="1425663"/>
          </a:xfrm>
          <a:prstGeom prst="rect">
            <a:avLst/>
          </a:prstGeom>
          <a:noFill/>
          <a:ln w="9525">
            <a:noFill/>
            <a:miter lim="800000"/>
          </a:ln>
        </p:spPr>
      </p:pic>
      <p:pic>
        <p:nvPicPr>
          <p:cNvPr id="4" name="Picture 3" descr="https://brand.honeywell.com/wp-content/uploads/2012/02/Honeywell-Bar-Logo-Black.jpg"/>
          <p:cNvPicPr>
            <a:picLocks noChangeAspect="1" noChangeArrowheads="1"/>
          </p:cNvPicPr>
          <p:nvPr userDrawn="1"/>
        </p:nvPicPr>
        <p:blipFill>
          <a:blip r:embed="rId4" cstate="print">
            <a:lum contrast="-10000"/>
          </a:blip>
          <a:srcRect l="70824" t="-3404" r="3388" b="1276"/>
          <a:stretch>
            <a:fillRect/>
          </a:stretch>
        </p:blipFill>
        <p:spPr>
          <a:xfrm>
            <a:off x="9042400" y="6004560"/>
            <a:ext cx="2783840" cy="457200"/>
          </a:xfrm>
          <a:prstGeom prst="rect">
            <a:avLst/>
          </a:prstGeom>
          <a:noFill/>
        </p:spPr>
      </p:pic>
    </p:spTree>
    <p:extLst>
      <p:ext uri="{BB962C8B-B14F-4D97-AF65-F5344CB8AC3E}">
        <p14:creationId xmlns:p14="http://schemas.microsoft.com/office/powerpoint/2010/main" val="359398188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2" name="Group 11">
            <a:extLst>
              <a:ext uri="{FF2B5EF4-FFF2-40B4-BE49-F238E27FC236}">
                <a16:creationId xmlns:a16="http://schemas.microsoft.com/office/drawing/2014/main" id="{74C9A9ED-4201-4B53-BFA8-CD7BF325DFB3}"/>
              </a:ext>
            </a:extLst>
          </p:cNvPr>
          <p:cNvGrpSpPr/>
          <p:nvPr userDrawn="1"/>
        </p:nvGrpSpPr>
        <p:grpSpPr>
          <a:xfrm>
            <a:off x="3086601" y="1274400"/>
            <a:ext cx="5991652" cy="4344686"/>
            <a:chOff x="3127545" y="1410880"/>
            <a:chExt cx="5991652" cy="4462272"/>
          </a:xfrm>
        </p:grpSpPr>
        <p:cxnSp>
          <p:nvCxnSpPr>
            <p:cNvPr id="13" name="Straight Connector 12">
              <a:extLst>
                <a:ext uri="{FF2B5EF4-FFF2-40B4-BE49-F238E27FC236}">
                  <a16:creationId xmlns:a16="http://schemas.microsoft.com/office/drawing/2014/main" id="{687CB45E-AA2A-4376-B950-DB2900EFCCC7}"/>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490B509-8F7D-4DCF-9CD7-C971511D66FC}"/>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E712D0-5FC9-4D8B-B36E-BC242C1C4624}"/>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B6C6CDC3-80D5-48E2-9632-1914D89FACD3}"/>
              </a:ext>
            </a:extLst>
          </p:cNvPr>
          <p:cNvSpPr>
            <a:spLocks noGrp="1"/>
          </p:cNvSpPr>
          <p:nvPr>
            <p:ph idx="19" hasCustomPrompt="1"/>
          </p:nvPr>
        </p:nvSpPr>
        <p:spPr>
          <a:xfrm>
            <a:off x="358822"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AD14BC28-600A-4E9C-A9F3-CB37793FC023}"/>
              </a:ext>
            </a:extLst>
          </p:cNvPr>
          <p:cNvSpPr>
            <a:spLocks noGrp="1"/>
          </p:cNvSpPr>
          <p:nvPr>
            <p:ph idx="20" hasCustomPrompt="1"/>
          </p:nvPr>
        </p:nvSpPr>
        <p:spPr>
          <a:xfrm>
            <a:off x="9338705"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A03C11D-F6C1-4FA7-8D97-050BCF80AD3D}"/>
              </a:ext>
            </a:extLst>
          </p:cNvPr>
          <p:cNvSpPr>
            <a:spLocks noGrp="1"/>
          </p:cNvSpPr>
          <p:nvPr>
            <p:ph idx="21" hasCustomPrompt="1"/>
          </p:nvPr>
        </p:nvSpPr>
        <p:spPr>
          <a:xfrm>
            <a:off x="3352117"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FCA31FE9-4B35-4EB7-8ACB-9A295F7C1EA2}"/>
              </a:ext>
            </a:extLst>
          </p:cNvPr>
          <p:cNvSpPr>
            <a:spLocks noGrp="1"/>
          </p:cNvSpPr>
          <p:nvPr>
            <p:ph idx="22" hasCustomPrompt="1"/>
          </p:nvPr>
        </p:nvSpPr>
        <p:spPr>
          <a:xfrm>
            <a:off x="6345411"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89980766"/>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8">
            <a:extLst>
              <a:ext uri="{FF2B5EF4-FFF2-40B4-BE49-F238E27FC236}">
                <a16:creationId xmlns:a16="http://schemas.microsoft.com/office/drawing/2014/main" id="{334EDB37-A223-47C2-822F-639924722621}"/>
              </a:ext>
            </a:extLst>
          </p:cNvPr>
          <p:cNvSpPr>
            <a:spLocks noGrp="1"/>
          </p:cNvSpPr>
          <p:nvPr>
            <p:ph type="pic" sz="quarter" idx="16"/>
          </p:nvPr>
        </p:nvSpPr>
        <p:spPr>
          <a:xfrm>
            <a:off x="358819" y="1273220"/>
            <a:ext cx="2459039" cy="2019300"/>
          </a:xfrm>
          <a:pattFill prst="wdUpDiag">
            <a:fgClr>
              <a:schemeClr val="bg2"/>
            </a:fgClr>
            <a:bgClr>
              <a:schemeClr val="bg1"/>
            </a:bgClr>
          </a:pattFill>
        </p:spPr>
        <p:txBody>
          <a:bodyPr/>
          <a:lstStyle/>
          <a:p>
            <a:r>
              <a:rPr lang="en-US"/>
              <a:t>Click icon to add picture</a:t>
            </a:r>
          </a:p>
        </p:txBody>
      </p:sp>
      <p:sp>
        <p:nvSpPr>
          <p:cNvPr id="13" name="Picture Placeholder 8">
            <a:extLst>
              <a:ext uri="{FF2B5EF4-FFF2-40B4-BE49-F238E27FC236}">
                <a16:creationId xmlns:a16="http://schemas.microsoft.com/office/drawing/2014/main" id="{C6B70F7C-53F9-479A-AF07-7764900063E4}"/>
              </a:ext>
            </a:extLst>
          </p:cNvPr>
          <p:cNvSpPr>
            <a:spLocks noGrp="1"/>
          </p:cNvSpPr>
          <p:nvPr>
            <p:ph type="pic" sz="quarter" idx="17"/>
          </p:nvPr>
        </p:nvSpPr>
        <p:spPr>
          <a:xfrm>
            <a:off x="3354638" y="1273220"/>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07D4BF50-0E89-4AF7-AFFA-2486AD357765}"/>
              </a:ext>
            </a:extLst>
          </p:cNvPr>
          <p:cNvSpPr>
            <a:spLocks noGrp="1"/>
          </p:cNvSpPr>
          <p:nvPr>
            <p:ph type="pic" sz="quarter" idx="18"/>
          </p:nvPr>
        </p:nvSpPr>
        <p:spPr>
          <a:xfrm>
            <a:off x="6350458" y="1273220"/>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B13A2EAF-8540-4CB8-916F-A84716A7C2EB}"/>
              </a:ext>
            </a:extLst>
          </p:cNvPr>
          <p:cNvSpPr>
            <a:spLocks noGrp="1"/>
          </p:cNvSpPr>
          <p:nvPr>
            <p:ph type="pic" sz="quarter" idx="19"/>
          </p:nvPr>
        </p:nvSpPr>
        <p:spPr>
          <a:xfrm>
            <a:off x="9346275" y="1273220"/>
            <a:ext cx="2459039" cy="2019300"/>
          </a:xfrm>
          <a:pattFill prst="wdUpDiag">
            <a:fgClr>
              <a:schemeClr val="bg2"/>
            </a:fgClr>
            <a:bgClr>
              <a:schemeClr val="bg1"/>
            </a:bgClr>
          </a:pattFill>
        </p:spPr>
        <p:txBody>
          <a:bodyPr/>
          <a:lstStyle/>
          <a:p>
            <a:r>
              <a:rPr lang="en-US"/>
              <a:t>Click icon to add picture</a:t>
            </a:r>
          </a:p>
        </p:txBody>
      </p:sp>
      <p:sp>
        <p:nvSpPr>
          <p:cNvPr id="16" name="Content Placeholder 2">
            <a:extLst>
              <a:ext uri="{FF2B5EF4-FFF2-40B4-BE49-F238E27FC236}">
                <a16:creationId xmlns:a16="http://schemas.microsoft.com/office/drawing/2014/main" id="{5708D57C-7AF7-4F99-94EB-9D0493877BB6}"/>
              </a:ext>
            </a:extLst>
          </p:cNvPr>
          <p:cNvSpPr>
            <a:spLocks noGrp="1"/>
          </p:cNvSpPr>
          <p:nvPr>
            <p:ph idx="21" hasCustomPrompt="1"/>
          </p:nvPr>
        </p:nvSpPr>
        <p:spPr>
          <a:xfrm>
            <a:off x="358822"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4E02FC2-8C6F-47A0-829C-EE80395E8F41}"/>
              </a:ext>
            </a:extLst>
          </p:cNvPr>
          <p:cNvSpPr>
            <a:spLocks noGrp="1"/>
          </p:cNvSpPr>
          <p:nvPr>
            <p:ph idx="22" hasCustomPrompt="1"/>
          </p:nvPr>
        </p:nvSpPr>
        <p:spPr>
          <a:xfrm>
            <a:off x="9338705"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7E4A1903-FEA0-4239-98D1-7F32E7E41FE1}"/>
              </a:ext>
            </a:extLst>
          </p:cNvPr>
          <p:cNvSpPr>
            <a:spLocks noGrp="1"/>
          </p:cNvSpPr>
          <p:nvPr>
            <p:ph idx="23" hasCustomPrompt="1"/>
          </p:nvPr>
        </p:nvSpPr>
        <p:spPr>
          <a:xfrm>
            <a:off x="3352117"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55F4B652-D86D-49BA-BC4B-C3AD3B01909A}"/>
              </a:ext>
            </a:extLst>
          </p:cNvPr>
          <p:cNvSpPr>
            <a:spLocks noGrp="1"/>
          </p:cNvSpPr>
          <p:nvPr>
            <p:ph idx="24" hasCustomPrompt="1"/>
          </p:nvPr>
        </p:nvSpPr>
        <p:spPr>
          <a:xfrm>
            <a:off x="6345411" y="3472937"/>
            <a:ext cx="2466609" cy="2111844"/>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0777892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itle 1">
            <a:extLst>
              <a:ext uri="{FF2B5EF4-FFF2-40B4-BE49-F238E27FC236}">
                <a16:creationId xmlns:a16="http://schemas.microsoft.com/office/drawing/2014/main" id="{939A8CD4-AE36-4E1C-A94A-232D6052FD0E}"/>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8F159359-0EBA-4A29-B2E4-CEBF42D0EBEF}"/>
              </a:ext>
            </a:extLst>
          </p:cNvPr>
          <p:cNvSpPr>
            <a:spLocks noGrp="1"/>
          </p:cNvSpPr>
          <p:nvPr>
            <p:ph idx="21" hasCustomPrompt="1"/>
          </p:nvPr>
        </p:nvSpPr>
        <p:spPr>
          <a:xfrm>
            <a:off x="358822" y="1233691"/>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716B8B7E-EF57-4DD0-B0B8-660220B32DD9}"/>
              </a:ext>
            </a:extLst>
          </p:cNvPr>
          <p:cNvSpPr>
            <a:spLocks noGrp="1"/>
          </p:cNvSpPr>
          <p:nvPr>
            <p:ph idx="29" hasCustomPrompt="1"/>
          </p:nvPr>
        </p:nvSpPr>
        <p:spPr>
          <a:xfrm>
            <a:off x="358822" y="3505224"/>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60F5F313-AC98-44AB-BC67-23FC052F8E7D}"/>
              </a:ext>
            </a:extLst>
          </p:cNvPr>
          <p:cNvSpPr>
            <a:spLocks noGrp="1"/>
          </p:cNvSpPr>
          <p:nvPr>
            <p:ph idx="30" hasCustomPrompt="1"/>
          </p:nvPr>
        </p:nvSpPr>
        <p:spPr>
          <a:xfrm>
            <a:off x="6264894" y="1233691"/>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008E751-5B77-4D4A-81A9-9B2E7505302E}"/>
              </a:ext>
            </a:extLst>
          </p:cNvPr>
          <p:cNvSpPr>
            <a:spLocks noGrp="1"/>
          </p:cNvSpPr>
          <p:nvPr>
            <p:ph idx="31" hasCustomPrompt="1"/>
          </p:nvPr>
        </p:nvSpPr>
        <p:spPr>
          <a:xfrm>
            <a:off x="6264894" y="3505224"/>
            <a:ext cx="5540420" cy="211908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8052160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200"/>
            </a:lvl1pPr>
            <a:lvl2pPr marL="342000">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9" cy="786384"/>
          </a:xfrm>
        </p:spPr>
        <p:txBody>
          <a:bodyPr/>
          <a:lstStyle>
            <a:lvl1pPr>
              <a:defRPr sz="12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4" y="2634810"/>
            <a:ext cx="2459039" cy="786384"/>
          </a:xfrm>
        </p:spPr>
        <p:txBody>
          <a:bodyPr/>
          <a:lstStyle>
            <a:lvl1pPr>
              <a:defRPr sz="12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90" y="2634810"/>
            <a:ext cx="2459039" cy="786384"/>
          </a:xfrm>
        </p:spPr>
        <p:txBody>
          <a:bodyPr/>
          <a:lstStyle>
            <a:lvl1pPr>
              <a:defRPr sz="12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9" cy="786384"/>
          </a:xfrm>
        </p:spPr>
        <p:txBody>
          <a:bodyPr/>
          <a:lstStyle>
            <a:lvl1pPr>
              <a:defRPr sz="12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9" cy="786384"/>
          </a:xfrm>
        </p:spPr>
        <p:txBody>
          <a:bodyPr/>
          <a:lstStyle>
            <a:lvl1pPr>
              <a:defRPr sz="12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4" y="3857516"/>
            <a:ext cx="2459039" cy="786384"/>
          </a:xfrm>
        </p:spPr>
        <p:txBody>
          <a:bodyPr/>
          <a:lstStyle>
            <a:lvl1pPr>
              <a:defRPr sz="12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90" y="3857516"/>
            <a:ext cx="2459039" cy="786384"/>
          </a:xfrm>
        </p:spPr>
        <p:txBody>
          <a:bodyPr/>
          <a:lstStyle>
            <a:lvl1pPr>
              <a:defRPr sz="12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9" cy="786384"/>
          </a:xfrm>
        </p:spPr>
        <p:txBody>
          <a:bodyPr/>
          <a:lstStyle>
            <a:lvl1pPr>
              <a:defRPr sz="12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200"/>
            </a:lvl1pPr>
            <a:lvl2pPr>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6121917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3566681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165954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2696E-18A4-3C91-F005-762E106EDB6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8DCD5E-29AE-9286-79B8-DBC69309A5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BFA11B-E55E-B6B6-6AD5-1CD97EAAAC1B}"/>
              </a:ext>
            </a:extLst>
          </p:cNvPr>
          <p:cNvSpPr>
            <a:spLocks noGrp="1"/>
          </p:cNvSpPr>
          <p:nvPr>
            <p:ph type="dt" sz="half" idx="10"/>
          </p:nvPr>
        </p:nvSpPr>
        <p:spPr/>
        <p:txBody>
          <a:bodyPr/>
          <a:lstStyle/>
          <a:p>
            <a:fld id="{97153BDF-56AD-48DF-92D5-67355E7449BE}" type="datetimeFigureOut">
              <a:rPr lang="en-US" smtClean="0"/>
              <a:t>11/12/2024</a:t>
            </a:fld>
            <a:endParaRPr lang="en-US"/>
          </a:p>
        </p:txBody>
      </p:sp>
      <p:sp>
        <p:nvSpPr>
          <p:cNvPr id="5" name="Footer Placeholder 4">
            <a:extLst>
              <a:ext uri="{FF2B5EF4-FFF2-40B4-BE49-F238E27FC236}">
                <a16:creationId xmlns:a16="http://schemas.microsoft.com/office/drawing/2014/main" id="{F98B23D2-5C93-2041-1F2B-76DF6258DA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73057E-0C36-7CE8-D044-586B05F7AE0A}"/>
              </a:ext>
            </a:extLst>
          </p:cNvPr>
          <p:cNvSpPr>
            <a:spLocks noGrp="1"/>
          </p:cNvSpPr>
          <p:nvPr>
            <p:ph type="sldNum" sz="quarter" idx="12"/>
          </p:nvPr>
        </p:nvSpPr>
        <p:spPr/>
        <p:txBody>
          <a:bodyPr/>
          <a:lstStyle/>
          <a:p>
            <a:fld id="{41342A43-E6BE-42F0-AEFA-5FC08F0B7716}" type="slidenum">
              <a:rPr lang="en-US" smtClean="0"/>
              <a:t>‹#›</a:t>
            </a:fld>
            <a:endParaRPr lang="en-US"/>
          </a:p>
        </p:txBody>
      </p:sp>
    </p:spTree>
    <p:extLst>
      <p:ext uri="{BB962C8B-B14F-4D97-AF65-F5344CB8AC3E}">
        <p14:creationId xmlns:p14="http://schemas.microsoft.com/office/powerpoint/2010/main" val="1768085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2"/>
            <a:ext cx="6096000" cy="1467133"/>
          </a:xfrm>
          <a:prstGeom prst="rect">
            <a:avLst/>
          </a:prstGeom>
        </p:spPr>
        <p:txBody>
          <a:bodyPr lIns="0" tIns="0" rIns="0" bIns="0">
            <a:spAutoFit/>
          </a:bodyPr>
          <a:lstStyle/>
          <a:p>
            <a:pPr>
              <a:lnSpc>
                <a:spcPct val="70000"/>
              </a:lnSpc>
            </a:pPr>
            <a:r>
              <a:rPr kumimoji="0" lang="en-US" sz="6600" b="0" i="0" u="none" strike="noStrike" kern="1200" cap="all" spc="-225" normalizeH="0" baseline="0" noProof="0">
                <a:ln>
                  <a:noFill/>
                </a:ln>
                <a:solidFill>
                  <a:schemeClr val="bg1"/>
                </a:solidFill>
                <a:effectLst/>
                <a:uLnTx/>
                <a:uFillTx/>
                <a:latin typeface="+mj-lt"/>
                <a:ea typeface="+mj-ea"/>
                <a:cs typeface="+mj-cs"/>
              </a:rPr>
              <a:t>THANK</a:t>
            </a:r>
            <a:br>
              <a:rPr kumimoji="0" lang="en-US" sz="6600" b="0" i="0" u="none" strike="noStrike" kern="1200" cap="all" spc="-225" normalizeH="0" baseline="0" noProof="0">
                <a:ln>
                  <a:noFill/>
                </a:ln>
                <a:solidFill>
                  <a:schemeClr val="bg1"/>
                </a:solidFill>
                <a:effectLst/>
                <a:uLnTx/>
                <a:uFillTx/>
                <a:latin typeface="+mj-lt"/>
                <a:ea typeface="+mj-ea"/>
                <a:cs typeface="+mj-cs"/>
              </a:rPr>
            </a:br>
            <a:r>
              <a:rPr kumimoji="0" lang="en-US" sz="6600" b="0" i="0" u="none" strike="noStrike" kern="1200" cap="all" spc="-225" normalizeH="0" baseline="0" noProof="0">
                <a:ln>
                  <a:noFill/>
                </a:ln>
                <a:solidFill>
                  <a:schemeClr val="bg1"/>
                </a:solidFill>
                <a:effectLst/>
                <a:uLnTx/>
                <a:uFillTx/>
                <a:latin typeface="+mj-lt"/>
                <a:ea typeface="+mj-ea"/>
                <a:cs typeface="+mj-cs"/>
              </a:rPr>
              <a:t>YOU</a:t>
            </a:r>
            <a:endParaRPr lang="en-US" sz="6600" spc="-225">
              <a:solidFill>
                <a:schemeClr val="bg1"/>
              </a:solidFill>
              <a:latin typeface="+mj-lt"/>
            </a:endParaRPr>
          </a:p>
        </p:txBody>
      </p:sp>
      <p:pic>
        <p:nvPicPr>
          <p:cNvPr id="5" name="Graphic 4">
            <a:extLst>
              <a:ext uri="{FF2B5EF4-FFF2-40B4-BE49-F238E27FC236}">
                <a16:creationId xmlns:a16="http://schemas.microsoft.com/office/drawing/2014/main" id="{CFFA6F3F-F94F-40A5-8CE5-0F6AAA5F4BC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8821" y="6207119"/>
            <a:ext cx="2134171" cy="299357"/>
          </a:xfrm>
          <a:prstGeom prst="rect">
            <a:avLst/>
          </a:prstGeom>
        </p:spPr>
      </p:pic>
    </p:spTree>
    <p:extLst>
      <p:ext uri="{BB962C8B-B14F-4D97-AF65-F5344CB8AC3E}">
        <p14:creationId xmlns:p14="http://schemas.microsoft.com/office/powerpoint/2010/main" val="1858374825"/>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Section Slide-10">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75C83F-2343-2B40-8464-D792EC9DAA3F}"/>
              </a:ext>
            </a:extLst>
          </p:cNvPr>
          <p:cNvSpPr/>
          <p:nvPr userDrawn="1"/>
        </p:nvSpPr>
        <p:spPr>
          <a:xfrm>
            <a:off x="0" y="0"/>
            <a:ext cx="12190764" cy="6858000"/>
          </a:xfrm>
          <a:prstGeom prst="rect">
            <a:avLst/>
          </a:prstGeom>
          <a:gradFill>
            <a:gsLst>
              <a:gs pos="63000">
                <a:srgbClr val="45444B"/>
              </a:gs>
              <a:gs pos="1000">
                <a:srgbClr val="39383E">
                  <a:lumMod val="93000"/>
                </a:srgbClr>
              </a:gs>
              <a:gs pos="100000">
                <a:srgbClr val="504F57"/>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B84657B-207C-334A-8406-71F6141790FC}"/>
              </a:ext>
            </a:extLst>
          </p:cNvPr>
          <p:cNvSpPr>
            <a:spLocks noGrp="1"/>
          </p:cNvSpPr>
          <p:nvPr>
            <p:ph type="ctrTitle" hasCustomPrompt="1"/>
          </p:nvPr>
        </p:nvSpPr>
        <p:spPr>
          <a:xfrm>
            <a:off x="682115" y="1722865"/>
            <a:ext cx="9144000" cy="2387600"/>
          </a:xfrm>
          <a:prstGeom prst="rect">
            <a:avLst/>
          </a:prstGeom>
        </p:spPr>
        <p:txBody>
          <a:bodyPr anchor="b"/>
          <a:lstStyle>
            <a:lvl1pPr algn="l">
              <a:lnSpc>
                <a:spcPct val="90000"/>
              </a:lnSpc>
              <a:defRPr sz="60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BDD67952-09D8-3948-930C-BFF875DC90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8968" y="6303408"/>
            <a:ext cx="933949" cy="171224"/>
          </a:xfrm>
          <a:prstGeom prst="rect">
            <a:avLst/>
          </a:prstGeom>
        </p:spPr>
      </p:pic>
      <p:sp>
        <p:nvSpPr>
          <p:cNvPr id="3" name="Rectangle 2">
            <a:extLst>
              <a:ext uri="{FF2B5EF4-FFF2-40B4-BE49-F238E27FC236}">
                <a16:creationId xmlns:a16="http://schemas.microsoft.com/office/drawing/2014/main" id="{F9991D29-2CB5-FB81-7740-61D3FA0C9701}"/>
              </a:ext>
            </a:extLst>
          </p:cNvPr>
          <p:cNvSpPr/>
          <p:nvPr userDrawn="1"/>
        </p:nvSpPr>
        <p:spPr>
          <a:xfrm>
            <a:off x="709411" y="6315903"/>
            <a:ext cx="2771913" cy="176972"/>
          </a:xfrm>
          <a:prstGeom prst="rect">
            <a:avLst/>
          </a:prstGeom>
        </p:spPr>
        <p:txBody>
          <a:bodyPr wrap="none">
            <a:spAutoFit/>
          </a:bodyPr>
          <a:lstStyle/>
          <a:p>
            <a:pPr>
              <a:defRPr/>
            </a:pPr>
            <a:r>
              <a:rPr lang="en-US" altLang="en-US" sz="550" b="0" i="0">
                <a:solidFill>
                  <a:schemeClr val="bg1"/>
                </a:solidFill>
                <a:latin typeface="Arial" panose="020B0604020202020204" pitchFamily="34" charset="0"/>
                <a:cs typeface="Arial" panose="020B0604020202020204" pitchFamily="34" charset="0"/>
              </a:rPr>
              <a:t>Honeywell Confidential - © 2023 by Honeywell International Inc. All rights reserved. </a:t>
            </a:r>
          </a:p>
        </p:txBody>
      </p:sp>
    </p:spTree>
    <p:extLst>
      <p:ext uri="{BB962C8B-B14F-4D97-AF65-F5344CB8AC3E}">
        <p14:creationId xmlns:p14="http://schemas.microsoft.com/office/powerpoint/2010/main" val="14881502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November 12, 2024</a:t>
            </a:fld>
            <a:endParaRPr lang="en-US"/>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spTree>
    <p:extLst>
      <p:ext uri="{BB962C8B-B14F-4D97-AF65-F5344CB8AC3E}">
        <p14:creationId xmlns:p14="http://schemas.microsoft.com/office/powerpoint/2010/main" val="86107700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op 25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59634"/>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kumimoji="0" lang="en-US" sz="1000" b="1" i="0" u="none" strike="noStrike" kern="0" cap="none" spc="0" normalizeH="0" baseline="0" noProof="0">
                <a:ln>
                  <a:noFill/>
                </a:ln>
                <a:solidFill>
                  <a:schemeClr val="tx1"/>
                </a:solidFill>
                <a:effectLst/>
                <a:uLnTx/>
                <a:uFillTx/>
                <a:latin typeface="+mj-lt"/>
                <a:ea typeface="+mj-ea"/>
                <a:cs typeface="+mj-cs"/>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solidFill>
                  <a:schemeClr val="tx1"/>
                </a:solidFill>
                <a:effectLst/>
                <a:uLnTx/>
                <a:uFillTx/>
                <a:latin typeface="+mj-lt"/>
                <a:ea typeface="+mj-ea"/>
                <a:cs typeface="+mj-cs"/>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p:cNvCxnSpPr/>
          <p:nvPr userDrawn="1"/>
        </p:nvCxnSpPr>
        <p:spPr>
          <a:xfrm flipH="1">
            <a:off x="0" y="5867400"/>
            <a:ext cx="841248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2" name="Rectangle 31"/>
          <p:cNvSpPr/>
          <p:nvPr userDrawn="1"/>
        </p:nvSpPr>
        <p:spPr>
          <a:xfrm>
            <a:off x="0" y="5936246"/>
            <a:ext cx="8449733" cy="461665"/>
          </a:xfrm>
          <a:prstGeom prst="rect">
            <a:avLst/>
          </a:prstGeom>
          <a:solidFill>
            <a:schemeClr val="bg1">
              <a:lumMod val="85000"/>
            </a:schemeClr>
          </a:solidFill>
        </p:spPr>
        <p:txBody>
          <a:bodyPr wrap="square" lIns="91440" tIns="45720" rIns="91440" bIns="45720" rtlCol="0" anchor="ctr">
            <a:spAutoFit/>
          </a:bodyPr>
          <a:lstStyle/>
          <a:p>
            <a:pPr algn="ctr"/>
            <a:endParaRPr lang="en-US" sz="1200" b="0" cap="none" spc="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ndParaRPr>
          </a:p>
          <a:p>
            <a:pPr algn="ctr"/>
            <a:endParaRPr lang="en-US" sz="1200" b="0" cap="none" spc="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ndParaRPr>
          </a:p>
        </p:txBody>
      </p:sp>
      <p:sp>
        <p:nvSpPr>
          <p:cNvPr id="33" name="TextBox 32"/>
          <p:cNvSpPr txBox="1"/>
          <p:nvPr userDrawn="1"/>
        </p:nvSpPr>
        <p:spPr>
          <a:xfrm>
            <a:off x="16933" y="5930901"/>
            <a:ext cx="8365067" cy="261610"/>
          </a:xfrm>
          <a:prstGeom prst="rect">
            <a:avLst/>
          </a:prstGeom>
          <a:noFill/>
        </p:spPr>
        <p:txBody>
          <a:bodyPr wrap="square" rtlCol="0">
            <a:spAutoFit/>
          </a:bodyPr>
          <a:lstStyle/>
          <a:p>
            <a:r>
              <a:rPr lang="en-US" sz="1100" b="1">
                <a:latin typeface="+mj-lt"/>
              </a:rPr>
              <a:t>Publications affected: </a:t>
            </a:r>
          </a:p>
        </p:txBody>
      </p:sp>
      <p:sp>
        <p:nvSpPr>
          <p:cNvPr id="27" name="Rectangle 26"/>
          <p:cNvSpPr/>
          <p:nvPr userDrawn="1"/>
        </p:nvSpPr>
        <p:spPr>
          <a:xfrm>
            <a:off x="10194638" y="27387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b="0" cap="none" spc="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253396225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November 12, 2024</a:t>
            </a:fld>
            <a:endParaRPr lang="en-US"/>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88840035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November 12, 2024</a:t>
            </a:fld>
            <a:endParaRPr lang="en-US"/>
          </a:p>
        </p:txBody>
      </p:sp>
    </p:spTree>
    <p:extLst>
      <p:ext uri="{BB962C8B-B14F-4D97-AF65-F5344CB8AC3E}">
        <p14:creationId xmlns:p14="http://schemas.microsoft.com/office/powerpoint/2010/main" val="166171313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November 12, 2024</a:t>
            </a:fld>
            <a:endParaRPr lang="en-US"/>
          </a:p>
        </p:txBody>
      </p:sp>
    </p:spTree>
    <p:extLst>
      <p:ext uri="{BB962C8B-B14F-4D97-AF65-F5344CB8AC3E}">
        <p14:creationId xmlns:p14="http://schemas.microsoft.com/office/powerpoint/2010/main" val="326419103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November 12, 2024</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3812041535"/>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3038225878"/>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80" y="3848099"/>
            <a:ext cx="11700254" cy="50411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1517"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173803189"/>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79" y="3848100"/>
            <a:ext cx="11310017" cy="440044"/>
          </a:xfrm>
        </p:spPr>
        <p:txBody>
          <a:bodyPr tIns="0" anchor="t"/>
          <a:lstStyle>
            <a:lvl1pPr>
              <a:lnSpc>
                <a:spcPct val="70000"/>
              </a:lnSpc>
              <a:defRPr sz="4400" b="0"/>
            </a:lvl1pPr>
          </a:lstStyle>
          <a:p>
            <a:r>
              <a:rPr lang="en-US"/>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1517" y="6369208"/>
            <a:ext cx="1143000" cy="213769"/>
          </a:xfrm>
          <a:prstGeom prst="rect">
            <a:avLst/>
          </a:prstGeom>
        </p:spPr>
      </p:pic>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987308188"/>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178493633"/>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124896520"/>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5728181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AIL Full Slide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cxnSp>
        <p:nvCxnSpPr>
          <p:cNvPr id="30" name="Straight Connector 29"/>
          <p:cNvCxnSpPr/>
          <p:nvPr userDrawn="1"/>
        </p:nvCxnSpPr>
        <p:spPr bwMode="auto">
          <a:xfrm flipH="1">
            <a:off x="0" y="5867400"/>
            <a:ext cx="1219200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2" name="Rectangle 31"/>
          <p:cNvSpPr/>
          <p:nvPr userDrawn="1"/>
        </p:nvSpPr>
        <p:spPr>
          <a:xfrm>
            <a:off x="0" y="5962003"/>
            <a:ext cx="12192000" cy="461665"/>
          </a:xfrm>
          <a:prstGeom prst="rect">
            <a:avLst/>
          </a:prstGeom>
          <a:solidFill>
            <a:schemeClr val="bg1">
              <a:lumMod val="85000"/>
            </a:schemeClr>
          </a:solidFill>
        </p:spPr>
        <p:txBody>
          <a:bodyPr wrap="square" lIns="91440" tIns="45720" rIns="91440" bIns="45720" rtlCol="0" anchor="ctr">
            <a:spAutoFit/>
          </a:bodyPr>
          <a:lstStyle/>
          <a:p>
            <a:pPr algn="ctr"/>
            <a:endParaRPr lang="en-US" sz="120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a:endParaRPr>
          </a:p>
          <a:p>
            <a:pPr algn="ctr"/>
            <a:endParaRPr lang="en-US" sz="120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a:endParaRPr>
          </a:p>
        </p:txBody>
      </p:sp>
      <p:sp>
        <p:nvSpPr>
          <p:cNvPr id="33" name="TextBox 32"/>
          <p:cNvSpPr txBox="1"/>
          <p:nvPr userDrawn="1"/>
        </p:nvSpPr>
        <p:spPr>
          <a:xfrm>
            <a:off x="16933" y="5930901"/>
            <a:ext cx="8365067" cy="261610"/>
          </a:xfrm>
          <a:prstGeom prst="rect">
            <a:avLst/>
          </a:prstGeom>
          <a:noFill/>
        </p:spPr>
        <p:txBody>
          <a:bodyPr wrap="square" rtlCol="0">
            <a:spAutoFit/>
          </a:bodyPr>
          <a:lstStyle/>
          <a:p>
            <a:r>
              <a:rPr lang="en-US" sz="1100" b="1">
                <a:solidFill>
                  <a:srgbClr val="000000"/>
                </a:solidFill>
                <a:latin typeface="Arial"/>
              </a:rPr>
              <a:t>Publications affected: </a:t>
            </a:r>
          </a:p>
        </p:txBody>
      </p:sp>
      <p:sp>
        <p:nvSpPr>
          <p:cNvPr id="8"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174715393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90000"/>
              </a:lnSpc>
              <a:spcBef>
                <a:spcPts val="0"/>
              </a:spcBef>
              <a:buClr>
                <a:schemeClr val="accent1"/>
              </a:buClr>
              <a:buFont typeface="+mj-lt"/>
              <a:buAutoNum type="arabicPeriod"/>
              <a:defRPr sz="2400" b="1"/>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1"/>
            <a:endParaRPr lang="en-US"/>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a:p>
            <a:pPr lvl="0"/>
            <a:r>
              <a:rPr lang="en-US"/>
              <a:t>Edit Master text styles, 24pt</a:t>
            </a:r>
          </a:p>
          <a:p>
            <a:pPr lvl="1"/>
            <a:r>
              <a:rPr lang="en-US"/>
              <a:t>      Second level, 22pt</a:t>
            </a:r>
          </a:p>
          <a:p>
            <a:pPr lvl="1"/>
            <a:endParaRPr lang="en-US"/>
          </a:p>
        </p:txBody>
      </p:sp>
    </p:spTree>
    <p:extLst>
      <p:ext uri="{BB962C8B-B14F-4D97-AF65-F5344CB8AC3E}">
        <p14:creationId xmlns:p14="http://schemas.microsoft.com/office/powerpoint/2010/main" val="26411602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a:solidFill>
                  <a:schemeClr val="bg1"/>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2074307544"/>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5372101" cy="5850909"/>
          </a:xfr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973345280"/>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878204"/>
          </a:xfr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8833948"/>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1449877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64383780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11853135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29430084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F2AA1CBE-3057-471A-BE7C-AC2D2DF57F85}"/>
              </a:ext>
            </a:extLst>
          </p:cNvPr>
          <p:cNvSpPr>
            <a:spLocks noGrp="1" noChangeAspect="1"/>
          </p:cNvSpPr>
          <p:nvPr>
            <p:ph type="body" sz="quarter" idx="20"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91431054"/>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58192297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RAIL Full Slide Non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6"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Tree>
    <p:extLst>
      <p:ext uri="{BB962C8B-B14F-4D97-AF65-F5344CB8AC3E}">
        <p14:creationId xmlns:p14="http://schemas.microsoft.com/office/powerpoint/2010/main" val="325097042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022605492"/>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85889507"/>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55841722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09401551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8180231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5341388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63978237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69367464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01114163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4308415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No pubs affec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5102678"/>
          </a:xfrm>
          <a:prstGeom prst="rect">
            <a:avLst/>
          </a:prstGeo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kumimoji="0" lang="en-US" sz="1000" b="1" i="0" u="none" strike="noStrike" kern="0" cap="none" spc="0" normalizeH="0" baseline="0" noProof="0">
                <a:ln>
                  <a:noFill/>
                </a:ln>
                <a:solidFill>
                  <a:schemeClr val="tx1"/>
                </a:solidFill>
                <a:effectLst/>
                <a:uLnTx/>
                <a:uFillTx/>
                <a:latin typeface="+mj-lt"/>
                <a:ea typeface="+mj-ea"/>
                <a:cs typeface="+mj-cs"/>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solidFill>
                  <a:schemeClr val="tx1"/>
                </a:solidFill>
                <a:effectLst/>
                <a:uLnTx/>
                <a:uFillTx/>
                <a:latin typeface="+mj-lt"/>
                <a:ea typeface="+mj-ea"/>
                <a:cs typeface="+mj-cs"/>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5101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b="0" cap="none" spc="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361813520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39935981"/>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99264663"/>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343848715"/>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555243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67883108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5581445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6490817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a:ln>
                  <a:noFill/>
                </a:ln>
                <a:solidFill>
                  <a:schemeClr val="bg1"/>
                </a:solidFill>
                <a:effectLst/>
                <a:uLnTx/>
                <a:uFillTx/>
                <a:latin typeface="+mj-lt"/>
                <a:ea typeface="+mj-ea"/>
                <a:cs typeface="+mj-cs"/>
              </a:rPr>
              <a:t>THANK</a:t>
            </a:r>
            <a:br>
              <a:rPr kumimoji="0" lang="en-US" sz="8800" b="0" i="0" u="none" strike="noStrike" kern="1200" cap="all" spc="-300" normalizeH="0" baseline="0" noProof="0">
                <a:ln>
                  <a:noFill/>
                </a:ln>
                <a:solidFill>
                  <a:schemeClr val="bg1"/>
                </a:solidFill>
                <a:effectLst/>
                <a:uLnTx/>
                <a:uFillTx/>
                <a:latin typeface="+mj-lt"/>
                <a:ea typeface="+mj-ea"/>
                <a:cs typeface="+mj-cs"/>
              </a:rPr>
            </a:br>
            <a:r>
              <a:rPr kumimoji="0" lang="en-US" sz="8800" b="0" i="0" u="none" strike="noStrike" kern="1200" cap="all" spc="-300" normalizeH="0" baseline="0" noProof="0">
                <a:ln>
                  <a:noFill/>
                </a:ln>
                <a:solidFill>
                  <a:schemeClr val="bg1"/>
                </a:solidFill>
                <a:effectLst/>
                <a:uLnTx/>
                <a:uFillTx/>
                <a:latin typeface="+mj-lt"/>
                <a:ea typeface="+mj-ea"/>
                <a:cs typeface="+mj-cs"/>
              </a:rPr>
              <a:t>YOU</a:t>
            </a:r>
            <a:endParaRPr lang="en-US" sz="88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2689798373"/>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988513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13411" y="1273220"/>
            <a:ext cx="11283289"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595061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op 25 Full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6"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Tree>
    <p:extLst>
      <p:ext uri="{BB962C8B-B14F-4D97-AF65-F5344CB8AC3E}">
        <p14:creationId xmlns:p14="http://schemas.microsoft.com/office/powerpoint/2010/main" val="395509038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13411" y="399764"/>
            <a:ext cx="11391902" cy="4191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13411" y="1411006"/>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13411" y="3844171"/>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73529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13411" y="399764"/>
            <a:ext cx="11391902" cy="4191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13411" y="1300517"/>
            <a:ext cx="3429000"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67886" y="1300517"/>
            <a:ext cx="3429000"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300517"/>
            <a:ext cx="3429000"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125621" y="1300517"/>
            <a:ext cx="3886234" cy="4344840"/>
            <a:chOff x="4152917" y="1410880"/>
            <a:chExt cx="3886234"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874170754"/>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923740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63838082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97130512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latin typeface="+mj-lt"/>
              </a:defRPr>
            </a:lvl1pPr>
            <a:lvl2pPr marL="0" indent="0" algn="l">
              <a:spcAft>
                <a:spcPts val="900"/>
              </a:spcAft>
              <a:buNone/>
              <a:defRPr sz="1400" b="1" cap="all" baseline="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92469"/>
            <a:ext cx="2743200" cy="407632"/>
          </a:xfrm>
          <a:prstGeom prst="rect">
            <a:avLst/>
          </a:prstGeom>
        </p:spPr>
        <p:txBody>
          <a:bodyPr lIns="0" tIns="0" rIns="0" bIns="0" anchor="t"/>
          <a:lstStyle>
            <a:lvl1pPr>
              <a:defRPr sz="1400" b="1">
                <a:latin typeface="+mn-lt"/>
              </a:defRPr>
            </a:lvl1pPr>
          </a:lstStyle>
          <a:p>
            <a:endParaRPr lang="en-US"/>
          </a:p>
        </p:txBody>
      </p:sp>
      <p:pic>
        <p:nvPicPr>
          <p:cNvPr id="8" name="Graphic 7">
            <a:extLst>
              <a:ext uri="{FF2B5EF4-FFF2-40B4-BE49-F238E27FC236}">
                <a16:creationId xmlns:a16="http://schemas.microsoft.com/office/drawing/2014/main" id="{5C285063-1080-43C0-AE6D-98E69F0C0D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323315305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2"/>
            <a:ext cx="2743200" cy="419099"/>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6" name="Graphic 5">
            <a:extLst>
              <a:ext uri="{FF2B5EF4-FFF2-40B4-BE49-F238E27FC236}">
                <a16:creationId xmlns:a16="http://schemas.microsoft.com/office/drawing/2014/main" id="{9671872F-C4A2-460A-ADE6-F23D8177799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69948"/>
            <a:ext cx="1753669" cy="327979"/>
          </a:xfrm>
          <a:prstGeom prst="rect">
            <a:avLst/>
          </a:prstGeom>
        </p:spPr>
      </p:pic>
    </p:spTree>
    <p:extLst>
      <p:ext uri="{BB962C8B-B14F-4D97-AF65-F5344CB8AC3E}">
        <p14:creationId xmlns:p14="http://schemas.microsoft.com/office/powerpoint/2010/main" val="59278426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1"/>
            <a:ext cx="2743200" cy="419100"/>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7" name="Graphic 6">
            <a:extLst>
              <a:ext uri="{FF2B5EF4-FFF2-40B4-BE49-F238E27FC236}">
                <a16:creationId xmlns:a16="http://schemas.microsoft.com/office/drawing/2014/main" id="{981F08AD-0F5F-4C86-BED1-3B2AFB6F33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100717207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0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299" y="4800602"/>
            <a:ext cx="5600700" cy="1066801"/>
          </a:xfrm>
          <a:prstGeom prst="rect">
            <a:avLst/>
          </a:prstGeom>
        </p:spPr>
        <p:txBody>
          <a:bodyPr tIns="0" bIns="182880" anchor="t" anchorCtr="0"/>
          <a:lstStyle>
            <a:lvl1pPr marL="0" indent="0" algn="l">
              <a:spcAft>
                <a:spcPts val="0"/>
              </a:spcAft>
              <a:buNone/>
              <a:defRPr sz="1400" b="0" cap="all" baseline="0">
                <a:solidFill>
                  <a:schemeClr val="tx1"/>
                </a:solidFill>
                <a:latin typeface="+mj-lt"/>
              </a:defRPr>
            </a:lvl1pPr>
            <a:lvl2pPr marL="0" indent="0" algn="l">
              <a:spcAft>
                <a:spcPts val="900"/>
              </a:spcAft>
              <a:buNone/>
              <a:defRPr sz="14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3"/>
            <a:ext cx="2819400" cy="673625"/>
          </a:xfrm>
          <a:prstGeom prst="rect">
            <a:avLst/>
          </a:prstGeom>
        </p:spPr>
        <p:txBody>
          <a:bodyPr lIns="0" tIns="0" rIns="0" bIns="0" anchor="t"/>
          <a:lstStyle>
            <a:lvl1pPr algn="r">
              <a:defRPr sz="1400" b="1">
                <a:solidFill>
                  <a:schemeClr val="tx1"/>
                </a:solidFill>
                <a:latin typeface="+mn-lt"/>
              </a:defRPr>
            </a:lvl1pPr>
          </a:lstStyle>
          <a:p>
            <a:endParaRPr lang="en-US"/>
          </a:p>
        </p:txBody>
      </p:sp>
      <p:pic>
        <p:nvPicPr>
          <p:cNvPr id="16" name="Graphic 15">
            <a:extLst>
              <a:ext uri="{FF2B5EF4-FFF2-40B4-BE49-F238E27FC236}">
                <a16:creationId xmlns:a16="http://schemas.microsoft.com/office/drawing/2014/main" id="{7F3F8F8E-6850-4C28-9BEC-33473F4A7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510272256"/>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181102"/>
            <a:ext cx="8382000" cy="2247899"/>
          </a:xfrm>
        </p:spPr>
        <p:txBody>
          <a:bodyPr tIns="0" anchor="t"/>
          <a:lstStyle>
            <a:lvl1pPr>
              <a:lnSpc>
                <a:spcPct val="80000"/>
              </a:lnSpc>
              <a:defRPr lang="en-US" sz="40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657600"/>
            <a:ext cx="5600700" cy="2438400"/>
          </a:xfrm>
          <a:prstGeom prst="rect">
            <a:avLst/>
          </a:prstGeom>
        </p:spPr>
        <p:txBody>
          <a:bodyPr/>
          <a:lstStyle>
            <a:lvl1pPr marL="0" indent="0">
              <a:buNone/>
              <a:defRPr lang="en-US" sz="1800" kern="1200" dirty="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75109A7E-E7AA-4EE2-ADEF-C746CAFAACD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1" y="6369208"/>
            <a:ext cx="1143000" cy="213769"/>
          </a:xfrm>
          <a:prstGeom prst="rect">
            <a:avLst/>
          </a:prstGeom>
        </p:spPr>
      </p:pic>
    </p:spTree>
    <p:extLst>
      <p:ext uri="{BB962C8B-B14F-4D97-AF65-F5344CB8AC3E}">
        <p14:creationId xmlns:p14="http://schemas.microsoft.com/office/powerpoint/2010/main" val="3392403102"/>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ct val="0"/>
              </a:spcAft>
              <a:buNone/>
              <a:defRPr sz="1400" b="0" cap="all" baseline="0">
                <a:latin typeface="+mj-lt"/>
              </a:defRPr>
            </a:lvl1pPr>
            <a:lvl2pPr marL="0" indent="0" algn="l">
              <a:spcAft>
                <a:spcPts val="900"/>
              </a:spcAft>
              <a:buNone/>
              <a:defRPr sz="1400" b="1" cap="all" baseline="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92469"/>
            <a:ext cx="2743200" cy="407632"/>
          </a:xfrm>
          <a:prstGeom prst="rect">
            <a:avLst/>
          </a:prstGeom>
        </p:spPr>
        <p:txBody>
          <a:bodyPr lIns="0" tIns="0" rIns="0" bIns="0" anchor="t"/>
          <a:lstStyle>
            <a:lvl1pPr>
              <a:defRPr sz="1400" b="1">
                <a:latin typeface="+mn-lt"/>
              </a:defRPr>
            </a:lvl1pPr>
          </a:lstStyle>
          <a:p>
            <a:endParaRPr lang="en-US"/>
          </a:p>
        </p:txBody>
      </p:sp>
      <p:pic>
        <p:nvPicPr>
          <p:cNvPr id="7" name="Graphic 6">
            <a:extLst>
              <a:ext uri="{FF2B5EF4-FFF2-40B4-BE49-F238E27FC236}">
                <a16:creationId xmlns:a16="http://schemas.microsoft.com/office/drawing/2014/main" id="{EDFB5D57-D76E-452E-848B-C4707078F862}"/>
              </a:ext>
            </a:extLst>
          </p:cNvPr>
          <p:cNvPicPr>
            <a:picLocks noChangeAspect="1"/>
          </p:cNvPicPr>
          <p:nvPr userDrawn="1"/>
        </p:nvPicPr>
        <p:blipFill>
          <a:blip r:embed="rId3"/>
          <a:srcRect/>
          <a:stretch>
            <a:fillRect/>
          </a:stretch>
        </p:blipFill>
        <p:spPr>
          <a:xfrm>
            <a:off x="495300" y="6204858"/>
            <a:ext cx="2438400" cy="342031"/>
          </a:xfrm>
          <a:prstGeom prst="rect">
            <a:avLst/>
          </a:prstGeom>
        </p:spPr>
      </p:pic>
    </p:spTree>
    <p:extLst>
      <p:ext uri="{BB962C8B-B14F-4D97-AF65-F5344CB8AC3E}">
        <p14:creationId xmlns:p14="http://schemas.microsoft.com/office/powerpoint/2010/main" val="691783172"/>
      </p:ext>
    </p:extLst>
  </p:cSld>
  <p:clrMapOvr>
    <a:masterClrMapping/>
  </p:clrMapOvr>
  <p:extLst>
    <p:ext uri="{DCECCB84-F9BA-43D5-87BE-67443E8EF086}">
      <p15:sldGuideLst xmlns:p15="http://schemas.microsoft.com/office/powerpoint/2012/main">
        <p15:guide id="1" pos="4194">
          <p15:clr>
            <a:srgbClr val="FBAE40"/>
          </p15:clr>
        </p15:guide>
        <p15:guide id="2" orient="horz" pos="32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2"/>
            <a:ext cx="8382000"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rstGeom prst="rect">
            <a:avLst/>
          </a:prstGeom>
          <a:pattFill prst="wdUpDiag">
            <a:fgClr>
              <a:schemeClr val="bg2"/>
            </a:fgClr>
            <a:bgClr>
              <a:schemeClr val="bg1"/>
            </a:bgClr>
          </a:pattFill>
        </p:spPr>
        <p:txBody>
          <a:bodyPr/>
          <a:lstStyle/>
          <a:p>
            <a:r>
              <a:rPr lang="en-US"/>
              <a:t>Click icon to add picture</a:t>
            </a:r>
          </a:p>
        </p:txBody>
      </p:sp>
      <p:pic>
        <p:nvPicPr>
          <p:cNvPr id="9" name="Graphic 8">
            <a:extLst>
              <a:ext uri="{FF2B5EF4-FFF2-40B4-BE49-F238E27FC236}">
                <a16:creationId xmlns:a16="http://schemas.microsoft.com/office/drawing/2014/main" id="{C4396CCD-611B-4440-9CDE-0BB35815E16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288039343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5105402"/>
            <a:ext cx="8381999"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rstGeom prst="rect">
            <a:avLst/>
          </a:prstGeom>
          <a:pattFill prst="wdUpDiag">
            <a:fgClr>
              <a:schemeClr val="bg2"/>
            </a:fgClr>
            <a:bgClr>
              <a:schemeClr val="bg1"/>
            </a:bgClr>
          </a:pattFill>
        </p:spPr>
        <p:txBody>
          <a:bodyPr/>
          <a:lstStyle/>
          <a:p>
            <a:r>
              <a:rPr lang="en-US"/>
              <a:t>Click icon to add picture</a:t>
            </a:r>
          </a:p>
        </p:txBody>
      </p:sp>
      <p:pic>
        <p:nvPicPr>
          <p:cNvPr id="16" name="Graphic 15">
            <a:extLst>
              <a:ext uri="{FF2B5EF4-FFF2-40B4-BE49-F238E27FC236}">
                <a16:creationId xmlns:a16="http://schemas.microsoft.com/office/drawing/2014/main" id="{826B682B-AEBD-447A-B538-F2CB2CE108A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2473999413"/>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0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2"/>
            <a:ext cx="8382000" cy="1219199"/>
          </a:xfrm>
          <a:prstGeom prst="rect">
            <a:avLst/>
          </a:prstGeom>
        </p:spPr>
        <p:txBody>
          <a:bodyPr tIns="18288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9B56999B-C7A5-4AFD-B32B-0F810652EB2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369208"/>
            <a:ext cx="1143000" cy="213769"/>
          </a:xfrm>
          <a:prstGeom prst="rect">
            <a:avLst/>
          </a:prstGeom>
        </p:spPr>
      </p:pic>
    </p:spTree>
    <p:extLst>
      <p:ext uri="{BB962C8B-B14F-4D97-AF65-F5344CB8AC3E}">
        <p14:creationId xmlns:p14="http://schemas.microsoft.com/office/powerpoint/2010/main" val="2743752614"/>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1" y="1181103"/>
            <a:ext cx="5600700" cy="2247899"/>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848101"/>
            <a:ext cx="5600700" cy="22478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8BA04C2-FBEC-4DFC-AC3F-6E757E5061F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3052086067"/>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FBFEE9-47FF-40D3-9890-0A297C65A5A4}"/>
              </a:ext>
            </a:extLst>
          </p:cNvPr>
          <p:cNvGraphicFramePr>
            <a:graphicFrameLocks noChangeAspect="1"/>
          </p:cNvGraphicFramePr>
          <p:nvPr userDrawn="1">
            <p:custDataLst>
              <p:tags r:id="rId1"/>
            </p:custDataLst>
            <p:extLst>
              <p:ext uri="{D42A27DB-BD31-4B8C-83A1-F6EECF244321}">
                <p14:modId xmlns:p14="http://schemas.microsoft.com/office/powerpoint/2010/main" val="19545474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ACFBFEE9-47FF-40D3-9890-0A297C65A5A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89A5BF-574F-4EBE-A887-B19E73B5C835}"/>
              </a:ext>
            </a:extLst>
          </p:cNvPr>
          <p:cNvSpPr/>
          <p:nvPr userDrawn="1">
            <p:custDataLst>
              <p:tags r:id="rId2"/>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3000">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11">
            <a:extLst>
              <a:ext uri="{FF2B5EF4-FFF2-40B4-BE49-F238E27FC236}">
                <a16:creationId xmlns:a16="http://schemas.microsoft.com/office/drawing/2014/main" id="{B77630F9-7DFE-4681-8FEA-6510F039724A}"/>
              </a:ext>
            </a:extLst>
          </p:cNvPr>
          <p:cNvSpPr>
            <a:spLocks noGrp="1"/>
          </p:cNvSpPr>
          <p:nvPr>
            <p:ph type="body" sz="quarter" idx="13"/>
          </p:nvPr>
        </p:nvSpPr>
        <p:spPr>
          <a:xfrm>
            <a:off x="495301" y="1181101"/>
            <a:ext cx="5372100"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D0781A84-B68E-4ABA-BE3F-1591264B2048}"/>
              </a:ext>
            </a:extLst>
          </p:cNvPr>
          <p:cNvSpPr>
            <a:spLocks noGrp="1"/>
          </p:cNvSpPr>
          <p:nvPr>
            <p:ph type="body" sz="quarter" idx="14"/>
          </p:nvPr>
        </p:nvSpPr>
        <p:spPr>
          <a:xfrm>
            <a:off x="6324601" y="1181101"/>
            <a:ext cx="5372103"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54801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381000"/>
            <a:ext cx="8382001" cy="5715001"/>
          </a:xfrm>
        </p:spPr>
        <p:txBody>
          <a:bodyPr tIns="0"/>
          <a:lstStyle>
            <a:lvl1pPr>
              <a:lnSpc>
                <a:spcPct val="80000"/>
              </a:lnSpc>
              <a:defRPr sz="6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10" name="Rectangle 23"/>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3590806655"/>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lvl1pPr>
              <a:defRPr>
                <a:solidFill>
                  <a:schemeClr val="accent4"/>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402122518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77687294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55C4FA61-8681-4CCE-A300-954C39210D10}"/>
              </a:ext>
            </a:extLst>
          </p:cNvPr>
          <p:cNvSpPr>
            <a:spLocks noGrp="1"/>
          </p:cNvSpPr>
          <p:nvPr>
            <p:ph type="body" sz="quarter" idx="17"/>
          </p:nvPr>
        </p:nvSpPr>
        <p:spPr>
          <a:xfrm>
            <a:off x="495300" y="1181100"/>
            <a:ext cx="112014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1216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ext Placeholder 6">
            <a:extLst>
              <a:ext uri="{FF2B5EF4-FFF2-40B4-BE49-F238E27FC236}">
                <a16:creationId xmlns:a16="http://schemas.microsoft.com/office/drawing/2014/main" id="{B18EA922-C92C-4AFE-8F8C-4C6FC6A3E54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B7B0E1F4-2F4A-4068-9412-42703EFEC144}"/>
              </a:ext>
            </a:extLst>
          </p:cNvPr>
          <p:cNvSpPr>
            <a:spLocks noGrp="1"/>
          </p:cNvSpPr>
          <p:nvPr>
            <p:ph type="body" sz="quarter" idx="17"/>
          </p:nvPr>
        </p:nvSpPr>
        <p:spPr>
          <a:xfrm>
            <a:off x="495301" y="1181099"/>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D59105BE-9443-4DB5-8A79-68A2799BA0DB}"/>
              </a:ext>
            </a:extLst>
          </p:cNvPr>
          <p:cNvSpPr>
            <a:spLocks noGrp="1"/>
          </p:cNvSpPr>
          <p:nvPr>
            <p:ph type="body" sz="quarter" idx="18"/>
          </p:nvPr>
        </p:nvSpPr>
        <p:spPr>
          <a:xfrm>
            <a:off x="6324599" y="1181099"/>
            <a:ext cx="5372103"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555554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ct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2"/>
            <a:ext cx="2743200" cy="419099"/>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7" name="Graphic 6">
            <a:extLst>
              <a:ext uri="{FF2B5EF4-FFF2-40B4-BE49-F238E27FC236}">
                <a16:creationId xmlns:a16="http://schemas.microsoft.com/office/drawing/2014/main" id="{D7A208A5-DD42-4321-AE8A-48F543586C80}"/>
              </a:ext>
            </a:extLst>
          </p:cNvPr>
          <p:cNvPicPr>
            <a:picLocks noChangeAspect="1"/>
          </p:cNvPicPr>
          <p:nvPr userDrawn="1"/>
        </p:nvPicPr>
        <p:blipFill>
          <a:blip r:embed="rId3"/>
          <a:srcRect/>
          <a:stretch>
            <a:fillRect/>
          </a:stretch>
        </p:blipFill>
        <p:spPr>
          <a:xfrm>
            <a:off x="495300" y="6204858"/>
            <a:ext cx="2438400" cy="342031"/>
          </a:xfrm>
          <a:prstGeom prst="rect">
            <a:avLst/>
          </a:prstGeom>
        </p:spPr>
      </p:pic>
    </p:spTree>
    <p:extLst>
      <p:ext uri="{BB962C8B-B14F-4D97-AF65-F5344CB8AC3E}">
        <p14:creationId xmlns:p14="http://schemas.microsoft.com/office/powerpoint/2010/main" val="651928805"/>
      </p:ext>
    </p:extLst>
  </p:cSld>
  <p:clrMapOvr>
    <a:masterClrMapping/>
  </p:clrMapOvr>
  <p:extLst>
    <p:ext uri="{DCECCB84-F9BA-43D5-87BE-67443E8EF086}">
      <p15:sldGuideLst xmlns:p15="http://schemas.microsoft.com/office/powerpoint/2012/main">
        <p15:guide id="1" pos="4194">
          <p15:clr>
            <a:srgbClr val="FBAE40"/>
          </p15:clr>
        </p15:guide>
        <p15:guide id="2" orient="horz" pos="3216">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663440"/>
          </a:xfrm>
          <a:prstGeom prst="rect">
            <a:avLst/>
          </a:prstGeom>
          <a:pattFill prst="wdUpDiag">
            <a:fgClr>
              <a:schemeClr val="bg2"/>
            </a:fgClr>
            <a:bgClr>
              <a:schemeClr val="bg1"/>
            </a:bgClr>
          </a:pattFill>
        </p:spPr>
        <p:txBody>
          <a:bodyPr/>
          <a:lstStyle/>
          <a:p>
            <a:r>
              <a:rPr lang="en-US"/>
              <a:t>Click icon to add picture</a:t>
            </a:r>
          </a:p>
        </p:txBody>
      </p:sp>
      <p:sp>
        <p:nvSpPr>
          <p:cNvPr id="8" name="Text Placeholder 6">
            <a:extLst>
              <a:ext uri="{FF2B5EF4-FFF2-40B4-BE49-F238E27FC236}">
                <a16:creationId xmlns:a16="http://schemas.microsoft.com/office/drawing/2014/main" id="{D2EAEDD0-A35F-4B38-8359-296A2F6F6F1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084EA13-0694-4C7A-AC48-6F77F1D7C54B}"/>
              </a:ext>
            </a:extLst>
          </p:cNvPr>
          <p:cNvSpPr>
            <a:spLocks noGrp="1"/>
          </p:cNvSpPr>
          <p:nvPr>
            <p:ph type="body" sz="quarter" idx="17"/>
          </p:nvPr>
        </p:nvSpPr>
        <p:spPr>
          <a:xfrm>
            <a:off x="495301" y="1181100"/>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824249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Text Placeholder 6">
            <a:extLst>
              <a:ext uri="{FF2B5EF4-FFF2-40B4-BE49-F238E27FC236}">
                <a16:creationId xmlns:a16="http://schemas.microsoft.com/office/drawing/2014/main" id="{CEA0B76E-0CE5-48CC-9380-74748B7F2F08}"/>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832488D-0F0D-4E7C-8B6F-6772CE07490B}"/>
              </a:ext>
            </a:extLst>
          </p:cNvPr>
          <p:cNvSpPr>
            <a:spLocks noGrp="1"/>
          </p:cNvSpPr>
          <p:nvPr>
            <p:ph type="body" sz="quarter" idx="19" hasCustomPrompt="1"/>
          </p:nvPr>
        </p:nvSpPr>
        <p:spPr>
          <a:xfrm>
            <a:off x="495301" y="3886386"/>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BD6CF0C4-FB27-428A-A446-FCA838725E8E}"/>
              </a:ext>
            </a:extLst>
          </p:cNvPr>
          <p:cNvSpPr>
            <a:spLocks noGrp="1"/>
          </p:cNvSpPr>
          <p:nvPr>
            <p:ph type="body" sz="quarter" idx="20" hasCustomPrompt="1"/>
          </p:nvPr>
        </p:nvSpPr>
        <p:spPr>
          <a:xfrm>
            <a:off x="6324603" y="3886201"/>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32148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6">
            <a:extLst>
              <a:ext uri="{FF2B5EF4-FFF2-40B4-BE49-F238E27FC236}">
                <a16:creationId xmlns:a16="http://schemas.microsoft.com/office/drawing/2014/main" id="{81E721B0-CDAF-44F4-8423-069EE7EBA5D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1882DBD-7CE6-4E67-BE21-CF2EA9B8F066}"/>
              </a:ext>
            </a:extLst>
          </p:cNvPr>
          <p:cNvSpPr>
            <a:spLocks noGrp="1"/>
          </p:cNvSpPr>
          <p:nvPr>
            <p:ph type="body" sz="quarter" idx="17"/>
          </p:nvPr>
        </p:nvSpPr>
        <p:spPr>
          <a:xfrm>
            <a:off x="49530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68F25FA-7AB1-4485-8A29-0B13307C9FD7}"/>
              </a:ext>
            </a:extLst>
          </p:cNvPr>
          <p:cNvSpPr>
            <a:spLocks noGrp="1"/>
          </p:cNvSpPr>
          <p:nvPr>
            <p:ph type="body" sz="quarter" idx="18"/>
          </p:nvPr>
        </p:nvSpPr>
        <p:spPr>
          <a:xfrm>
            <a:off x="433254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D3C024F-607B-4696-868C-7A179354EF36}"/>
              </a:ext>
            </a:extLst>
          </p:cNvPr>
          <p:cNvSpPr>
            <a:spLocks noGrp="1"/>
          </p:cNvSpPr>
          <p:nvPr>
            <p:ph type="body" sz="quarter" idx="19"/>
          </p:nvPr>
        </p:nvSpPr>
        <p:spPr>
          <a:xfrm>
            <a:off x="816978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38662"/>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3" name="Text Placeholder 6">
            <a:extLst>
              <a:ext uri="{FF2B5EF4-FFF2-40B4-BE49-F238E27FC236}">
                <a16:creationId xmlns:a16="http://schemas.microsoft.com/office/drawing/2014/main" id="{74201712-F7BB-4A99-8BB4-2F3A4AA5E7A1}"/>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36CA5848-1E3E-484D-A8BA-488AE247A918}"/>
              </a:ext>
            </a:extLst>
          </p:cNvPr>
          <p:cNvSpPr>
            <a:spLocks noGrp="1"/>
          </p:cNvSpPr>
          <p:nvPr>
            <p:ph type="body" sz="quarter" idx="19"/>
          </p:nvPr>
        </p:nvSpPr>
        <p:spPr>
          <a:xfrm>
            <a:off x="4953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50D1185B-DC9F-45EC-924C-400E3CCFF5E5}"/>
              </a:ext>
            </a:extLst>
          </p:cNvPr>
          <p:cNvSpPr>
            <a:spLocks noGrp="1"/>
          </p:cNvSpPr>
          <p:nvPr>
            <p:ph type="body" sz="quarter" idx="20"/>
          </p:nvPr>
        </p:nvSpPr>
        <p:spPr>
          <a:xfrm>
            <a:off x="4381535"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5CAB71A9-D925-4753-A467-93464FB52243}"/>
              </a:ext>
            </a:extLst>
          </p:cNvPr>
          <p:cNvSpPr>
            <a:spLocks noGrp="1"/>
          </p:cNvSpPr>
          <p:nvPr>
            <p:ph type="body" sz="quarter" idx="21"/>
          </p:nvPr>
        </p:nvSpPr>
        <p:spPr>
          <a:xfrm>
            <a:off x="82677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440589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ext Placeholder 6">
            <a:extLst>
              <a:ext uri="{FF2B5EF4-FFF2-40B4-BE49-F238E27FC236}">
                <a16:creationId xmlns:a16="http://schemas.microsoft.com/office/drawing/2014/main" id="{97920842-F4A1-466C-8CAC-F232F8B1E21C}"/>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23D6088-971D-4AD9-A3B9-7C31EC559063}"/>
              </a:ext>
            </a:extLst>
          </p:cNvPr>
          <p:cNvSpPr>
            <a:spLocks noGrp="1"/>
          </p:cNvSpPr>
          <p:nvPr>
            <p:ph type="body" sz="quarter" idx="19"/>
          </p:nvPr>
        </p:nvSpPr>
        <p:spPr>
          <a:xfrm>
            <a:off x="495300"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10E3C9ED-4574-4EA1-BF6A-8AC71C5DC917}"/>
              </a:ext>
            </a:extLst>
          </p:cNvPr>
          <p:cNvSpPr>
            <a:spLocks noGrp="1"/>
          </p:cNvSpPr>
          <p:nvPr>
            <p:ph type="body" sz="quarter" idx="20"/>
          </p:nvPr>
        </p:nvSpPr>
        <p:spPr>
          <a:xfrm>
            <a:off x="3376302"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44A3A4B2-BE5E-4259-ADCF-7B4B87BE0210}"/>
              </a:ext>
            </a:extLst>
          </p:cNvPr>
          <p:cNvSpPr>
            <a:spLocks noGrp="1"/>
          </p:cNvSpPr>
          <p:nvPr>
            <p:ph type="body" sz="quarter" idx="21"/>
          </p:nvPr>
        </p:nvSpPr>
        <p:spPr>
          <a:xfrm>
            <a:off x="6257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
            <a:extLst>
              <a:ext uri="{FF2B5EF4-FFF2-40B4-BE49-F238E27FC236}">
                <a16:creationId xmlns:a16="http://schemas.microsoft.com/office/drawing/2014/main" id="{DB55C525-D748-4F1F-B00C-0161C1846846}"/>
              </a:ext>
            </a:extLst>
          </p:cNvPr>
          <p:cNvSpPr>
            <a:spLocks noGrp="1"/>
          </p:cNvSpPr>
          <p:nvPr>
            <p:ph type="body" sz="quarter" idx="22"/>
          </p:nvPr>
        </p:nvSpPr>
        <p:spPr>
          <a:xfrm>
            <a:off x="9138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6535049"/>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64972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6E91B017-4E2A-4A38-92DF-E15E85281DA9}"/>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661A302C-F620-47F3-89B7-1FC2A196FEC3}"/>
              </a:ext>
            </a:extLst>
          </p:cNvPr>
          <p:cNvSpPr>
            <a:spLocks noGrp="1"/>
          </p:cNvSpPr>
          <p:nvPr>
            <p:ph type="body" sz="quarter" idx="17"/>
          </p:nvPr>
        </p:nvSpPr>
        <p:spPr>
          <a:xfrm>
            <a:off x="495301"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29DF399D-538E-4A44-8F38-C4CDD177DEF3}"/>
              </a:ext>
            </a:extLst>
          </p:cNvPr>
          <p:cNvSpPr>
            <a:spLocks noGrp="1"/>
          </p:cNvSpPr>
          <p:nvPr>
            <p:ph type="body" sz="quarter" idx="18"/>
          </p:nvPr>
        </p:nvSpPr>
        <p:spPr>
          <a:xfrm>
            <a:off x="6324599"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32C32CA4-A646-4DB1-98A0-21DB79D58DC2}"/>
              </a:ext>
            </a:extLst>
          </p:cNvPr>
          <p:cNvSpPr>
            <a:spLocks noGrp="1"/>
          </p:cNvSpPr>
          <p:nvPr>
            <p:ph type="body" sz="quarter" idx="19"/>
          </p:nvPr>
        </p:nvSpPr>
        <p:spPr>
          <a:xfrm>
            <a:off x="495301"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D268984-FD8E-4787-89BD-2B962BD2695F}"/>
              </a:ext>
            </a:extLst>
          </p:cNvPr>
          <p:cNvSpPr>
            <a:spLocks noGrp="1"/>
          </p:cNvSpPr>
          <p:nvPr>
            <p:ph type="body" sz="quarter" idx="20"/>
          </p:nvPr>
        </p:nvSpPr>
        <p:spPr>
          <a:xfrm>
            <a:off x="6324599"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60400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ext Placeholder 6">
            <a:extLst>
              <a:ext uri="{FF2B5EF4-FFF2-40B4-BE49-F238E27FC236}">
                <a16:creationId xmlns:a16="http://schemas.microsoft.com/office/drawing/2014/main" id="{1AC9AF1B-77C9-4194-9346-57C0BA353963}"/>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3817355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ext Placeholder 6">
            <a:extLst>
              <a:ext uri="{FF2B5EF4-FFF2-40B4-BE49-F238E27FC236}">
                <a16:creationId xmlns:a16="http://schemas.microsoft.com/office/drawing/2014/main" id="{EF1BA960-F634-4BFE-B468-887287A86BD1}"/>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9749579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539E6B73-C7B7-482C-A588-6792D62C7146}"/>
              </a:ext>
            </a:extLst>
          </p:cNvPr>
          <p:cNvSpPr>
            <a:spLocks noGrp="1"/>
          </p:cNvSpPr>
          <p:nvPr>
            <p:ph type="body" sz="quarter" idx="13"/>
          </p:nvPr>
        </p:nvSpPr>
        <p:spPr>
          <a:xfrm>
            <a:off x="495300" y="1181100"/>
            <a:ext cx="112014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717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ct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1"/>
            <a:ext cx="2743200" cy="419100"/>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6" name="Graphic 5">
            <a:extLst>
              <a:ext uri="{FF2B5EF4-FFF2-40B4-BE49-F238E27FC236}">
                <a16:creationId xmlns:a16="http://schemas.microsoft.com/office/drawing/2014/main" id="{D756A795-DB7D-42FC-A514-0D22DC70DE3D}"/>
              </a:ext>
            </a:extLst>
          </p:cNvPr>
          <p:cNvPicPr>
            <a:picLocks noChangeAspect="1"/>
          </p:cNvPicPr>
          <p:nvPr userDrawn="1"/>
        </p:nvPicPr>
        <p:blipFill>
          <a:blip r:embed="rId2"/>
          <a:srcRect/>
          <a:stretch>
            <a:fillRect/>
          </a:stretch>
        </p:blipFill>
        <p:spPr>
          <a:xfrm>
            <a:off x="495300" y="6204858"/>
            <a:ext cx="2438400" cy="342031"/>
          </a:xfrm>
          <a:prstGeom prst="rect">
            <a:avLst/>
          </a:prstGeom>
        </p:spPr>
      </p:pic>
    </p:spTree>
    <p:extLst>
      <p:ext uri="{BB962C8B-B14F-4D97-AF65-F5344CB8AC3E}">
        <p14:creationId xmlns:p14="http://schemas.microsoft.com/office/powerpoint/2010/main" val="731516313"/>
      </p:ext>
    </p:extLst>
  </p:cSld>
  <p:clrMapOvr>
    <a:masterClrMapping/>
  </p:clrMapOvr>
  <p:extLst>
    <p:ext uri="{DCECCB84-F9BA-43D5-87BE-67443E8EF086}">
      <p15:sldGuideLst xmlns:p15="http://schemas.microsoft.com/office/powerpoint/2012/main">
        <p15:guide id="1" pos="4194">
          <p15:clr>
            <a:srgbClr val="FBAE40"/>
          </p15:clr>
        </p15:guide>
        <p15:guide id="2" orient="horz" pos="3216">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56380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74727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2A529F3F-4A1B-4316-A963-B7F0BCB9C790}"/>
              </a:ext>
            </a:extLst>
          </p:cNvPr>
          <p:cNvSpPr>
            <a:spLocks noGrp="1"/>
          </p:cNvSpPr>
          <p:nvPr>
            <p:ph type="body" sz="quarter" idx="18"/>
          </p:nvPr>
        </p:nvSpPr>
        <p:spPr>
          <a:xfrm>
            <a:off x="495301"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91B3B3EA-46C5-4F3C-A05C-1E65859A6A10}"/>
              </a:ext>
            </a:extLst>
          </p:cNvPr>
          <p:cNvSpPr>
            <a:spLocks noGrp="1"/>
          </p:cNvSpPr>
          <p:nvPr>
            <p:ph type="body" sz="quarter" idx="19"/>
          </p:nvPr>
        </p:nvSpPr>
        <p:spPr>
          <a:xfrm>
            <a:off x="6324599"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83537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BE4070D-4D68-4B0E-99D3-56723F6E22E4}"/>
              </a:ext>
            </a:extLst>
          </p:cNvPr>
          <p:cNvSpPr>
            <a:spLocks noGrp="1"/>
          </p:cNvSpPr>
          <p:nvPr>
            <p:ph type="body" sz="quarter" idx="13"/>
          </p:nvPr>
        </p:nvSpPr>
        <p:spPr>
          <a:xfrm>
            <a:off x="495301"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9C44DBD4-130D-4000-BE4C-130497236B92}"/>
              </a:ext>
            </a:extLst>
          </p:cNvPr>
          <p:cNvSpPr>
            <a:spLocks noGrp="1"/>
          </p:cNvSpPr>
          <p:nvPr>
            <p:ph type="body" sz="quarter" idx="14"/>
          </p:nvPr>
        </p:nvSpPr>
        <p:spPr>
          <a:xfrm>
            <a:off x="4343934"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838848C-2E86-47CF-AB76-7C3F5555DEE5}"/>
              </a:ext>
            </a:extLst>
          </p:cNvPr>
          <p:cNvSpPr>
            <a:spLocks noGrp="1"/>
          </p:cNvSpPr>
          <p:nvPr>
            <p:ph type="body" sz="quarter" idx="15"/>
          </p:nvPr>
        </p:nvSpPr>
        <p:spPr>
          <a:xfrm>
            <a:off x="8192570"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6072007"/>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9" name="Text Placeholder 8">
            <a:extLst>
              <a:ext uri="{FF2B5EF4-FFF2-40B4-BE49-F238E27FC236}">
                <a16:creationId xmlns:a16="http://schemas.microsoft.com/office/drawing/2014/main" id="{04E0D5FF-A12A-4A26-8652-14F08C1690F1}"/>
              </a:ext>
            </a:extLst>
          </p:cNvPr>
          <p:cNvSpPr>
            <a:spLocks noGrp="1"/>
          </p:cNvSpPr>
          <p:nvPr>
            <p:ph type="body" sz="quarter" idx="18"/>
          </p:nvPr>
        </p:nvSpPr>
        <p:spPr>
          <a:xfrm>
            <a:off x="4953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3130903-25B6-495D-9F9B-EE0D7C541CF6}"/>
              </a:ext>
            </a:extLst>
          </p:cNvPr>
          <p:cNvSpPr>
            <a:spLocks noGrp="1"/>
          </p:cNvSpPr>
          <p:nvPr>
            <p:ph type="body" sz="quarter" idx="19"/>
          </p:nvPr>
        </p:nvSpPr>
        <p:spPr>
          <a:xfrm>
            <a:off x="43815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A4F72656-28AE-4BD6-A453-E95CEC3845E5}"/>
              </a:ext>
            </a:extLst>
          </p:cNvPr>
          <p:cNvSpPr>
            <a:spLocks noGrp="1"/>
          </p:cNvSpPr>
          <p:nvPr>
            <p:ph type="body" sz="quarter" idx="20"/>
          </p:nvPr>
        </p:nvSpPr>
        <p:spPr>
          <a:xfrm>
            <a:off x="82677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85111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EA572FC-49A0-4A00-91C9-26DE09B2A376}"/>
              </a:ext>
            </a:extLst>
          </p:cNvPr>
          <p:cNvSpPr>
            <a:spLocks noGrp="1"/>
          </p:cNvSpPr>
          <p:nvPr>
            <p:ph type="body" sz="quarter" idx="13"/>
          </p:nvPr>
        </p:nvSpPr>
        <p:spPr>
          <a:xfrm>
            <a:off x="49530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36FCFF6-1D52-41AB-92CC-81BB0E2D3BFE}"/>
              </a:ext>
            </a:extLst>
          </p:cNvPr>
          <p:cNvSpPr>
            <a:spLocks noGrp="1"/>
          </p:cNvSpPr>
          <p:nvPr>
            <p:ph type="body" sz="quarter" idx="14"/>
          </p:nvPr>
        </p:nvSpPr>
        <p:spPr>
          <a:xfrm>
            <a:off x="333832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495DB9-D632-4C9E-BC1B-C5E4627F2F6A}"/>
              </a:ext>
            </a:extLst>
          </p:cNvPr>
          <p:cNvSpPr>
            <a:spLocks noGrp="1"/>
          </p:cNvSpPr>
          <p:nvPr>
            <p:ph type="body" sz="quarter" idx="15"/>
          </p:nvPr>
        </p:nvSpPr>
        <p:spPr>
          <a:xfrm>
            <a:off x="618134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F89E66F3-24F9-4E52-BED5-06D3929B0034}"/>
              </a:ext>
            </a:extLst>
          </p:cNvPr>
          <p:cNvSpPr>
            <a:spLocks noGrp="1"/>
          </p:cNvSpPr>
          <p:nvPr>
            <p:ph type="body" sz="quarter" idx="16"/>
          </p:nvPr>
        </p:nvSpPr>
        <p:spPr>
          <a:xfrm>
            <a:off x="9024362"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3831963"/>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58F2FC03-71CF-4FB1-8012-40F6458F3246}"/>
              </a:ext>
            </a:extLst>
          </p:cNvPr>
          <p:cNvSpPr>
            <a:spLocks noGrp="1"/>
          </p:cNvSpPr>
          <p:nvPr>
            <p:ph type="body" sz="quarter" idx="20"/>
          </p:nvPr>
        </p:nvSpPr>
        <p:spPr>
          <a:xfrm>
            <a:off x="495301"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BF1FD01D-2E17-4D6F-862B-EAB2FE451BC5}"/>
              </a:ext>
            </a:extLst>
          </p:cNvPr>
          <p:cNvSpPr>
            <a:spLocks noGrp="1"/>
          </p:cNvSpPr>
          <p:nvPr>
            <p:ph type="body" sz="quarter" idx="21"/>
          </p:nvPr>
        </p:nvSpPr>
        <p:spPr>
          <a:xfrm>
            <a:off x="3409407"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527D457A-2050-465F-9F98-78757B33D082}"/>
              </a:ext>
            </a:extLst>
          </p:cNvPr>
          <p:cNvSpPr>
            <a:spLocks noGrp="1"/>
          </p:cNvSpPr>
          <p:nvPr>
            <p:ph type="body" sz="quarter" idx="22"/>
          </p:nvPr>
        </p:nvSpPr>
        <p:spPr>
          <a:xfrm>
            <a:off x="6323030"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410D5E3D-BE05-4F33-9E34-8B0B639BB166}"/>
              </a:ext>
            </a:extLst>
          </p:cNvPr>
          <p:cNvSpPr>
            <a:spLocks noGrp="1"/>
          </p:cNvSpPr>
          <p:nvPr>
            <p:ph type="body" sz="quarter" idx="23"/>
          </p:nvPr>
        </p:nvSpPr>
        <p:spPr>
          <a:xfrm>
            <a:off x="9236585"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5073928"/>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B200414-C27C-4EAF-8828-8B5D0E90458E}"/>
              </a:ext>
            </a:extLst>
          </p:cNvPr>
          <p:cNvSpPr>
            <a:spLocks noGrp="1"/>
          </p:cNvSpPr>
          <p:nvPr>
            <p:ph type="body" sz="quarter" idx="13"/>
          </p:nvPr>
        </p:nvSpPr>
        <p:spPr>
          <a:xfrm>
            <a:off x="495301"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4D63F576-0CF3-44CC-B07C-B8D4061FBA85}"/>
              </a:ext>
            </a:extLst>
          </p:cNvPr>
          <p:cNvSpPr>
            <a:spLocks noGrp="1"/>
          </p:cNvSpPr>
          <p:nvPr>
            <p:ph type="body" sz="quarter" idx="14"/>
          </p:nvPr>
        </p:nvSpPr>
        <p:spPr>
          <a:xfrm>
            <a:off x="495301"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CF7C5A7-1B5F-4106-AF84-D9162AE1281A}"/>
              </a:ext>
            </a:extLst>
          </p:cNvPr>
          <p:cNvSpPr>
            <a:spLocks noGrp="1"/>
          </p:cNvSpPr>
          <p:nvPr>
            <p:ph type="body" sz="quarter" idx="15"/>
          </p:nvPr>
        </p:nvSpPr>
        <p:spPr>
          <a:xfrm>
            <a:off x="6324600"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44E274C7-1613-423E-BB7B-522987CD1460}"/>
              </a:ext>
            </a:extLst>
          </p:cNvPr>
          <p:cNvSpPr>
            <a:spLocks noGrp="1"/>
          </p:cNvSpPr>
          <p:nvPr>
            <p:ph type="body" sz="quarter" idx="16"/>
          </p:nvPr>
        </p:nvSpPr>
        <p:spPr>
          <a:xfrm>
            <a:off x="6324600"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911695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3978977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6"/>
            <a:ext cx="5600703" cy="237617"/>
          </a:xfrm>
          <a:prstGeom prst="rect">
            <a:avLst/>
          </a:prstGeom>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817544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p 25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59634"/>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lang="en-US" sz="1000" b="1" kern="0">
                <a:solidFill>
                  <a:srgbClr val="000000"/>
                </a:solidFill>
                <a:latin typeface="Arial"/>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eaLnBrk="1" hangingPunct="1">
              <a:defRPr/>
            </a:pPr>
            <a:r>
              <a:rPr lang="en-US" sz="1000" b="1" kern="0">
                <a:solidFill>
                  <a:srgbClr val="000000"/>
                </a:solidFill>
                <a:latin typeface="Arial"/>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p:cNvCxnSpPr/>
          <p:nvPr userDrawn="1"/>
        </p:nvCxnSpPr>
        <p:spPr>
          <a:xfrm flipH="1">
            <a:off x="0" y="5867400"/>
            <a:ext cx="841248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7387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28197959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0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299" y="4800602"/>
            <a:ext cx="5600700" cy="1066801"/>
          </a:xfrm>
          <a:prstGeom prst="rect">
            <a:avLst/>
          </a:prstGeom>
        </p:spPr>
        <p:txBody>
          <a:bodyPr tIns="0" bIns="182880" anchor="t" anchorCtr="0"/>
          <a:lstStyle>
            <a:lvl1pPr marL="0" indent="0" algn="l">
              <a:spcAft>
                <a:spcPct val="0"/>
              </a:spcAft>
              <a:buNone/>
              <a:defRPr sz="1400" b="0" cap="all" baseline="0">
                <a:solidFill>
                  <a:schemeClr val="tx1"/>
                </a:solidFill>
                <a:latin typeface="+mj-lt"/>
              </a:defRPr>
            </a:lvl1pPr>
            <a:lvl2pPr marL="0" indent="0" algn="l">
              <a:spcAft>
                <a:spcPts val="900"/>
              </a:spcAft>
              <a:buNone/>
              <a:defRPr sz="14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3"/>
            <a:ext cx="2819400" cy="673625"/>
          </a:xfrm>
          <a:prstGeom prst="rect">
            <a:avLst/>
          </a:prstGeom>
        </p:spPr>
        <p:txBody>
          <a:bodyPr lIns="0" tIns="0" rIns="0" bIns="0" anchor="t"/>
          <a:lstStyle>
            <a:lvl1pPr algn="r">
              <a:defRPr sz="1400" b="1">
                <a:solidFill>
                  <a:schemeClr val="tx1"/>
                </a:solidFill>
                <a:latin typeface="+mn-lt"/>
              </a:defRPr>
            </a:lvl1pPr>
          </a:lstStyle>
          <a:p>
            <a:endParaRPr lang="en-US"/>
          </a:p>
        </p:txBody>
      </p:sp>
      <p:pic>
        <p:nvPicPr>
          <p:cNvPr id="14" name="Graphic 13">
            <a:extLst>
              <a:ext uri="{FF2B5EF4-FFF2-40B4-BE49-F238E27FC236}">
                <a16:creationId xmlns:a16="http://schemas.microsoft.com/office/drawing/2014/main" id="{03F60E7B-C7CA-4734-94BC-AB694D035D03}"/>
              </a:ext>
            </a:extLst>
          </p:cNvPr>
          <p:cNvPicPr>
            <a:picLocks noChangeAspect="1"/>
          </p:cNvPicPr>
          <p:nvPr userDrawn="1"/>
        </p:nvPicPr>
        <p:blipFill>
          <a:blip r:embed="rId2"/>
          <a:srcRect/>
          <a:stretch>
            <a:fillRect/>
          </a:stretch>
        </p:blipFill>
        <p:spPr>
          <a:xfrm>
            <a:off x="495300" y="6204858"/>
            <a:ext cx="2438400" cy="342031"/>
          </a:xfrm>
          <a:prstGeom prst="rect">
            <a:avLst/>
          </a:prstGeom>
        </p:spPr>
      </p:pic>
    </p:spTree>
    <p:extLst>
      <p:ext uri="{BB962C8B-B14F-4D97-AF65-F5344CB8AC3E}">
        <p14:creationId xmlns:p14="http://schemas.microsoft.com/office/powerpoint/2010/main" val="3860873916"/>
      </p:ext>
    </p:extLst>
  </p:cSld>
  <p:clrMapOvr>
    <a:masterClrMapping/>
  </p:clrMapOvr>
  <p:extLst>
    <p:ext uri="{DCECCB84-F9BA-43D5-87BE-67443E8EF086}">
      <p15:sldGuideLst xmlns:p15="http://schemas.microsoft.com/office/powerpoint/2012/main">
        <p15:guide id="1" pos="4194">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1" y="2978965"/>
            <a:ext cx="3159659" cy="914400"/>
          </a:xfrm>
          <a:prstGeom prst="rect">
            <a:avLst/>
          </a:prstGeom>
          <a:noFill/>
        </p:spPr>
        <p:txBody>
          <a:bodyPr wrap="none" lIns="0" tIns="0" rIns="0" bIns="0" rtlCol="0" anchor="ctr">
            <a:noAutofit/>
          </a:bodyPr>
          <a:lstStyle/>
          <a:p>
            <a:pPr algn="ctr"/>
            <a:r>
              <a:rPr lang="en-US" sz="4950" b="1">
                <a:solidFill>
                  <a:schemeClr val="bg1"/>
                </a:solidFill>
                <a:latin typeface="+mj-lt"/>
              </a:rPr>
              <a:t>END OF THE TEMPLATE</a:t>
            </a:r>
          </a:p>
        </p:txBody>
      </p:sp>
    </p:spTree>
    <p:extLst>
      <p:ext uri="{BB962C8B-B14F-4D97-AF65-F5344CB8AC3E}">
        <p14:creationId xmlns:p14="http://schemas.microsoft.com/office/powerpoint/2010/main" val="24958521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2"/>
            <a:ext cx="6096000" cy="1828193"/>
          </a:xfrm>
          <a:prstGeom prst="rect">
            <a:avLst/>
          </a:prstGeom>
        </p:spPr>
        <p:txBody>
          <a:bodyPr lIns="0" tIns="0" rIns="0" bIns="0">
            <a:spAutoFit/>
          </a:bodyPr>
          <a:lstStyle/>
          <a:p>
            <a:pPr>
              <a:lnSpc>
                <a:spcPct val="90000"/>
              </a:lnSpc>
            </a:pPr>
            <a:r>
              <a:rPr kumimoji="0" lang="en-US" sz="6600" b="0" i="0" u="none" strike="noStrike" kern="1200" cap="all" spc="0" normalizeH="0" baseline="0" noProof="0">
                <a:ln>
                  <a:noFill/>
                </a:ln>
                <a:solidFill>
                  <a:schemeClr val="bg1"/>
                </a:solidFill>
                <a:effectLst/>
                <a:uLnTx/>
                <a:uFillTx/>
                <a:latin typeface="+mj-lt"/>
                <a:ea typeface="+mj-ea"/>
                <a:cs typeface="+mj-cs"/>
              </a:rPr>
              <a:t>THANK</a:t>
            </a:r>
            <a:br>
              <a:rPr kumimoji="0" lang="en-US" sz="6600" b="0" i="0" u="none" strike="noStrike" kern="1200" cap="all" spc="0" normalizeH="0" baseline="0" noProof="0">
                <a:ln>
                  <a:noFill/>
                </a:ln>
                <a:solidFill>
                  <a:schemeClr val="bg1"/>
                </a:solidFill>
                <a:effectLst/>
                <a:uLnTx/>
                <a:uFillTx/>
                <a:latin typeface="+mj-lt"/>
                <a:ea typeface="+mj-ea"/>
                <a:cs typeface="+mj-cs"/>
              </a:rPr>
            </a:br>
            <a:r>
              <a:rPr kumimoji="0" lang="en-US" sz="6600" b="0" i="0" u="none" strike="noStrike" kern="1200" cap="all" spc="0" normalizeH="0" baseline="0" noProof="0">
                <a:ln>
                  <a:noFill/>
                </a:ln>
                <a:solidFill>
                  <a:schemeClr val="bg1"/>
                </a:solidFill>
                <a:effectLst/>
                <a:uLnTx/>
                <a:uFillTx/>
                <a:latin typeface="+mj-lt"/>
                <a:ea typeface="+mj-ea"/>
                <a:cs typeface="+mj-cs"/>
              </a:rPr>
              <a:t>YOU</a:t>
            </a:r>
            <a:endParaRPr lang="en-US" sz="6600">
              <a:solidFill>
                <a:schemeClr val="bg1"/>
              </a:solidFill>
              <a:latin typeface="+mj-lt"/>
            </a:endParaRPr>
          </a:p>
        </p:txBody>
      </p:sp>
      <p:pic>
        <p:nvPicPr>
          <p:cNvPr id="6" name="Graphic 5"/>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204858"/>
            <a:ext cx="2438400" cy="342031"/>
          </a:xfrm>
          <a:prstGeom prst="rect">
            <a:avLst/>
          </a:prstGeom>
        </p:spPr>
      </p:pic>
    </p:spTree>
    <p:extLst>
      <p:ext uri="{BB962C8B-B14F-4D97-AF65-F5344CB8AC3E}">
        <p14:creationId xmlns:p14="http://schemas.microsoft.com/office/powerpoint/2010/main" val="3204966231"/>
      </p:ext>
    </p:extLst>
  </p:cSld>
  <p:clrMapOvr>
    <a:masterClrMapping/>
  </p:clrMapOvr>
  <p:extLst>
    <p:ext uri="{DCECCB84-F9BA-43D5-87BE-67443E8EF086}">
      <p15:sldGuideLst xmlns:p15="http://schemas.microsoft.com/office/powerpoint/2012/main">
        <p15:guide id="2" pos="745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4"/>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6589402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3232" y="356616"/>
            <a:ext cx="10523336" cy="498475"/>
          </a:xfrm>
        </p:spPr>
        <p:txBody>
          <a:bodyPr/>
          <a:lstStyle>
            <a:lvl1pPr>
              <a:defRPr>
                <a:solidFill>
                  <a:schemeClr val="tx1"/>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Tree>
    <p:extLst>
      <p:ext uri="{BB962C8B-B14F-4D97-AF65-F5344CB8AC3E}">
        <p14:creationId xmlns:p14="http://schemas.microsoft.com/office/powerpoint/2010/main" val="118613650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51419" y="992190"/>
            <a:ext cx="10663767" cy="503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09338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77011869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3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38C7B832-37C7-4A82-B820-206EE1DD811E}"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custDataLst>
      <p:tags r:id="rId1"/>
    </p:custDataLst>
    <p:extLst>
      <p:ext uri="{BB962C8B-B14F-4D97-AF65-F5344CB8AC3E}">
        <p14:creationId xmlns:p14="http://schemas.microsoft.com/office/powerpoint/2010/main" val="18462589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51723735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1" y="3588790"/>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6"/>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B8402602-5779-4F5E-8EA6-1DD6CFA32963}" type="datetime4">
              <a:rPr lang="en-US" smtClean="0"/>
              <a:t>November 12, 2024</a:t>
            </a:fld>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5"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7" name="Graphic 6">
            <a:extLst>
              <a:ext uri="{FF2B5EF4-FFF2-40B4-BE49-F238E27FC236}">
                <a16:creationId xmlns:a16="http://schemas.microsoft.com/office/drawing/2014/main" id="{C1282C00-7ED9-4141-8769-C6C45F4C30D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353825649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1" y="3588790"/>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6"/>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B8402602-5779-4F5E-8EA6-1DD6CFA32963}" type="datetime4">
              <a:rPr lang="en-US" smtClean="0"/>
              <a:t>November 12, 2024</a:t>
            </a:fld>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5"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1BF3A480-33FE-4DED-A76C-244D5E28DF1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410836187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181102"/>
            <a:ext cx="8382000" cy="2247899"/>
          </a:xfrm>
        </p:spPr>
        <p:txBody>
          <a:bodyPr tIns="0" anchor="t"/>
          <a:lstStyle>
            <a:lvl1pPr>
              <a:lnSpc>
                <a:spcPct val="80000"/>
              </a:lnSpc>
              <a:defRPr lang="en-US" sz="4000" b="0" kern="1200" cap="all" baseline="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657600"/>
            <a:ext cx="5600700" cy="2438400"/>
          </a:xfrm>
          <a:prstGeom prst="rect">
            <a:avLst/>
          </a:prstGeom>
        </p:spPr>
        <p:txBody>
          <a:bodyPr/>
          <a:lstStyle>
            <a:lvl1pPr marL="0" indent="0">
              <a:buNone/>
              <a:defRPr lang="en-US" sz="1800" kern="120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t>‹#›</a:t>
            </a:fld>
            <a:endParaRPr lang="en-US"/>
          </a:p>
        </p:txBody>
      </p:sp>
      <p:pic>
        <p:nvPicPr>
          <p:cNvPr id="8" name="Graphic 7">
            <a:extLst>
              <a:ext uri="{FF2B5EF4-FFF2-40B4-BE49-F238E27FC236}">
                <a16:creationId xmlns:a16="http://schemas.microsoft.com/office/drawing/2014/main" id="{B14ED02A-9FD6-4353-89BC-4BABACB9273B}"/>
              </a:ext>
            </a:extLst>
          </p:cNvPr>
          <p:cNvPicPr>
            <a:picLocks noChangeAspect="1"/>
          </p:cNvPicPr>
          <p:nvPr userDrawn="1"/>
        </p:nvPicPr>
        <p:blipFill>
          <a:blip r:embed="rId2"/>
          <a:srcRect/>
          <a:stretch>
            <a:fillRect/>
          </a:stretch>
        </p:blipFill>
        <p:spPr>
          <a:xfrm>
            <a:off x="498854" y="6476694"/>
            <a:ext cx="1155775" cy="162119"/>
          </a:xfrm>
          <a:prstGeom prst="rect">
            <a:avLst/>
          </a:prstGeom>
        </p:spPr>
      </p:pic>
    </p:spTree>
    <p:extLst>
      <p:ext uri="{BB962C8B-B14F-4D97-AF65-F5344CB8AC3E}">
        <p14:creationId xmlns:p14="http://schemas.microsoft.com/office/powerpoint/2010/main" val="1989187926"/>
      </p:ext>
    </p:extLst>
  </p:cSld>
  <p:clrMapOvr>
    <a:masterClrMapping/>
  </p:clrMapOvr>
  <p:extLst>
    <p:ext uri="{DCECCB84-F9BA-43D5-87BE-67443E8EF086}">
      <p15:sldGuideLst xmlns:p15="http://schemas.microsoft.com/office/powerpoint/2012/main">
        <p15:guide id="1" pos="4194">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BE5B79E-6E09-4AE0-B068-70661783035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8821" y="6207120"/>
            <a:ext cx="2134171" cy="299357"/>
          </a:xfrm>
          <a:prstGeom prst="rect">
            <a:avLst/>
          </a:prstGeom>
        </p:spPr>
      </p:pic>
      <p:sp>
        <p:nvSpPr>
          <p:cNvPr id="7" name="Subtitle 2">
            <a:extLst>
              <a:ext uri="{FF2B5EF4-FFF2-40B4-BE49-F238E27FC236}">
                <a16:creationId xmlns:a16="http://schemas.microsoft.com/office/drawing/2014/main" id="{ABF8822E-0C02-4814-A6E7-56C0B7B0D69B}"/>
              </a:ext>
            </a:extLst>
          </p:cNvPr>
          <p:cNvSpPr>
            <a:spLocks noGrp="1"/>
          </p:cNvSpPr>
          <p:nvPr>
            <p:ph type="subTitle" idx="1" hasCustomPrompt="1"/>
          </p:nvPr>
        </p:nvSpPr>
        <p:spPr>
          <a:xfrm>
            <a:off x="338331" y="3588790"/>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93D0887F-F992-4ED3-9419-002B82CE70FF}"/>
              </a:ext>
            </a:extLst>
          </p:cNvPr>
          <p:cNvSpPr>
            <a:spLocks noGrp="1"/>
          </p:cNvSpPr>
          <p:nvPr>
            <p:ph type="dt" sz="half" idx="10"/>
          </p:nvPr>
        </p:nvSpPr>
        <p:spPr>
          <a:xfrm>
            <a:off x="338329" y="4610476"/>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F33CB4-36A4-4A83-B2A1-155A520B62A4}" type="datetime4">
              <a:rPr lang="en-US" smtClean="0"/>
              <a:t>November 12, 2024</a:t>
            </a:fld>
            <a:endParaRPr lang="en-US"/>
          </a:p>
        </p:txBody>
      </p:sp>
      <p:sp>
        <p:nvSpPr>
          <p:cNvPr id="11" name="Title 1">
            <a:extLst>
              <a:ext uri="{FF2B5EF4-FFF2-40B4-BE49-F238E27FC236}">
                <a16:creationId xmlns:a16="http://schemas.microsoft.com/office/drawing/2014/main" id="{17BD0CEE-D14F-4358-BCC8-8251FBDD43BE}"/>
              </a:ext>
            </a:extLst>
          </p:cNvPr>
          <p:cNvSpPr>
            <a:spLocks noGrp="1"/>
          </p:cNvSpPr>
          <p:nvPr>
            <p:ph type="ctrTitle"/>
          </p:nvPr>
        </p:nvSpPr>
        <p:spPr>
          <a:xfrm>
            <a:off x="320295"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73180232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20295"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6B30DC4-0D9C-4E5D-ACEA-49FE637AB09B}"/>
              </a:ext>
            </a:extLst>
          </p:cNvPr>
          <p:cNvSpPr>
            <a:spLocks noGrp="1"/>
          </p:cNvSpPr>
          <p:nvPr>
            <p:ph type="subTitle" idx="1" hasCustomPrompt="1"/>
          </p:nvPr>
        </p:nvSpPr>
        <p:spPr>
          <a:xfrm>
            <a:off x="338331" y="3588790"/>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162CD9-C74B-42A2-AF31-1FC2342BB386}"/>
              </a:ext>
            </a:extLst>
          </p:cNvPr>
          <p:cNvSpPr>
            <a:spLocks noGrp="1"/>
          </p:cNvSpPr>
          <p:nvPr>
            <p:ph type="dt" sz="half" idx="10"/>
          </p:nvPr>
        </p:nvSpPr>
        <p:spPr>
          <a:xfrm>
            <a:off x="338329" y="4610476"/>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6CA57CA-5A10-4A0F-BB01-2FAE20F831C9}" type="datetime4">
              <a:rPr lang="en-US" smtClean="0"/>
              <a:t>November 12, 2024</a:t>
            </a:fld>
            <a:endParaRPr lang="en-US"/>
          </a:p>
        </p:txBody>
      </p:sp>
      <p:pic>
        <p:nvPicPr>
          <p:cNvPr id="11" name="Graphic 10">
            <a:extLst>
              <a:ext uri="{FF2B5EF4-FFF2-40B4-BE49-F238E27FC236}">
                <a16:creationId xmlns:a16="http://schemas.microsoft.com/office/drawing/2014/main" id="{04006F25-D41A-40AB-B4AF-9F8E2AE1AA76}"/>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821" y="6207120"/>
            <a:ext cx="2134171" cy="299357"/>
          </a:xfrm>
          <a:prstGeom prst="rect">
            <a:avLst/>
          </a:prstGeom>
        </p:spPr>
      </p:pic>
    </p:spTree>
    <p:extLst>
      <p:ext uri="{BB962C8B-B14F-4D97-AF65-F5344CB8AC3E}">
        <p14:creationId xmlns:p14="http://schemas.microsoft.com/office/powerpoint/2010/main" val="239041224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3"/>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3"/>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3"/>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3"/>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3"/>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43536" y="3429001"/>
            <a:ext cx="11337880" cy="504112"/>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61734" y="4681904"/>
            <a:ext cx="4681753"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4645" y="5450757"/>
            <a:ext cx="4678840"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613564CA-6AB8-4E79-8144-97FF6C7CC1CA}" type="datetime4">
              <a:rPr lang="en-US" smtClean="0"/>
              <a:t>November 12, 2024</a:t>
            </a:fld>
            <a:endParaRPr lang="en-US"/>
          </a:p>
        </p:txBody>
      </p:sp>
      <p:pic>
        <p:nvPicPr>
          <p:cNvPr id="14" name="Graphic 13">
            <a:extLst>
              <a:ext uri="{FF2B5EF4-FFF2-40B4-BE49-F238E27FC236}">
                <a16:creationId xmlns:a16="http://schemas.microsoft.com/office/drawing/2014/main" id="{0750C988-DD0C-40C4-8297-659218FB1AB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4041613223"/>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388691" y="3848102"/>
            <a:ext cx="5600700" cy="2019300"/>
          </a:xfrm>
        </p:spPr>
        <p:txBody>
          <a:bodyPr/>
          <a:lstStyle>
            <a:lvl1pPr marL="0" indent="0">
              <a:lnSpc>
                <a:spcPct val="90000"/>
              </a:lnSpc>
              <a:buNone/>
              <a:defRPr lang="en-US" sz="2000" kern="1200" dirty="0">
                <a:solidFill>
                  <a:schemeClr val="bg1"/>
                </a:solidFill>
                <a:latin typeface="+mn-lt"/>
                <a:ea typeface="+mn-ea"/>
                <a:cs typeface="+mn-cs"/>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6A06642E-2F61-4998-B937-96BE41E564CB}"/>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8689" y="6369210"/>
            <a:ext cx="1524000" cy="213769"/>
          </a:xfrm>
          <a:prstGeom prst="rect">
            <a:avLst/>
          </a:prstGeom>
        </p:spPr>
      </p:pic>
      <p:sp>
        <p:nvSpPr>
          <p:cNvPr id="13" name="Title 1">
            <a:extLst>
              <a:ext uri="{FF2B5EF4-FFF2-40B4-BE49-F238E27FC236}">
                <a16:creationId xmlns:a16="http://schemas.microsoft.com/office/drawing/2014/main" id="{1C224819-8C0C-431D-80CA-610F414A6769}"/>
              </a:ext>
            </a:extLst>
          </p:cNvPr>
          <p:cNvSpPr>
            <a:spLocks noGrp="1"/>
          </p:cNvSpPr>
          <p:nvPr>
            <p:ph type="title"/>
          </p:nvPr>
        </p:nvSpPr>
        <p:spPr>
          <a:xfrm>
            <a:off x="388691" y="1409699"/>
            <a:ext cx="8348452" cy="978088"/>
          </a:xfrm>
          <a:prstGeom prst="rect">
            <a:avLst/>
          </a:prstGeo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2798139738"/>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2298"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43097" y="5105403"/>
            <a:ext cx="5523367" cy="461665"/>
          </a:xfrm>
        </p:spPr>
        <p:txBody>
          <a:bodyPr wrap="square" tIns="182880" anchor="t">
            <a:spAutoFit/>
          </a:bodyPr>
          <a:lstStyle>
            <a:lvl1pPr marL="0" indent="0">
              <a:lnSpc>
                <a:spcPct val="90000"/>
              </a:lnSpc>
              <a:buNone/>
              <a:defRPr sz="2000">
                <a:solidFill>
                  <a:schemeClr val="tx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10" name="Graphic 9">
            <a:extLst>
              <a:ext uri="{FF2B5EF4-FFF2-40B4-BE49-F238E27FC236}">
                <a16:creationId xmlns:a16="http://schemas.microsoft.com/office/drawing/2014/main" id="{872EB30C-2B5C-4099-9A24-D0B58457183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2317066796"/>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3"/>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3"/>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3"/>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3"/>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3"/>
            <a:ext cx="2395728" cy="3429000"/>
          </a:xfrm>
          <a:pattFill prst="wdUpDiag">
            <a:fgClr>
              <a:schemeClr val="bg2"/>
            </a:fgClr>
            <a:bgClr>
              <a:schemeClr val="bg1"/>
            </a:bgClr>
          </a:pattFill>
        </p:spPr>
        <p:txBody>
          <a:bodyPr/>
          <a:lstStyle/>
          <a:p>
            <a:r>
              <a:rPr lang="en-US"/>
              <a:t>Click icon to add picture</a:t>
            </a:r>
          </a:p>
        </p:txBody>
      </p:sp>
      <p:sp>
        <p:nvSpPr>
          <p:cNvPr id="14" name="Title 1">
            <a:extLst>
              <a:ext uri="{FF2B5EF4-FFF2-40B4-BE49-F238E27FC236}">
                <a16:creationId xmlns:a16="http://schemas.microsoft.com/office/drawing/2014/main" id="{2F184294-67A6-421E-A141-2D63D93A12CC}"/>
              </a:ext>
            </a:extLst>
          </p:cNvPr>
          <p:cNvSpPr>
            <a:spLocks noGrp="1"/>
          </p:cNvSpPr>
          <p:nvPr>
            <p:ph type="title"/>
          </p:nvPr>
        </p:nvSpPr>
        <p:spPr>
          <a:xfrm>
            <a:off x="352298"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16" name="Text Placeholder 2">
            <a:extLst>
              <a:ext uri="{FF2B5EF4-FFF2-40B4-BE49-F238E27FC236}">
                <a16:creationId xmlns:a16="http://schemas.microsoft.com/office/drawing/2014/main" id="{D377FF56-AE8D-4398-9FA0-481030C59241}"/>
              </a:ext>
            </a:extLst>
          </p:cNvPr>
          <p:cNvSpPr>
            <a:spLocks noGrp="1"/>
          </p:cNvSpPr>
          <p:nvPr>
            <p:ph type="body" idx="1" hasCustomPrompt="1"/>
          </p:nvPr>
        </p:nvSpPr>
        <p:spPr>
          <a:xfrm>
            <a:off x="343097" y="5105403"/>
            <a:ext cx="5523367" cy="461665"/>
          </a:xfrm>
        </p:spPr>
        <p:txBody>
          <a:bodyPr wrap="square" tIns="182880" anchor="t">
            <a:spAutoFit/>
          </a:bodyPr>
          <a:lstStyle>
            <a:lvl1pPr marL="0" indent="0">
              <a:lnSpc>
                <a:spcPct val="90000"/>
              </a:lnSpc>
              <a:buNone/>
              <a:defRPr sz="2000">
                <a:solidFill>
                  <a:schemeClr val="tx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Edit Master text styles</a:t>
            </a:r>
          </a:p>
        </p:txBody>
      </p:sp>
      <p:pic>
        <p:nvPicPr>
          <p:cNvPr id="13" name="Graphic 12">
            <a:extLst>
              <a:ext uri="{FF2B5EF4-FFF2-40B4-BE49-F238E27FC236}">
                <a16:creationId xmlns:a16="http://schemas.microsoft.com/office/drawing/2014/main" id="{22D48FBB-817B-4978-A633-C8051CA9325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1726431162"/>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2" y="3429002"/>
            <a:ext cx="8921657" cy="1447799"/>
          </a:xfrm>
          <a:prstGeom prst="rect">
            <a:avLst/>
          </a:prstGeo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89" y="4876803"/>
            <a:ext cx="8921656" cy="461665"/>
          </a:xfrm>
        </p:spPr>
        <p:txBody>
          <a:bodyPr wrap="square" tIns="182880" anchor="t">
            <a:spAutoFit/>
          </a:bodyPr>
          <a:lstStyle>
            <a:lvl1pPr marL="0" indent="0">
              <a:lnSpc>
                <a:spcPct val="90000"/>
              </a:lnSpc>
              <a:buNone/>
              <a:defRPr sz="2000">
                <a:solidFill>
                  <a:schemeClr val="bg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2FEDD368-A3BB-4F75-99C5-2A663358971C}"/>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8689" y="6369210"/>
            <a:ext cx="1524000" cy="213769"/>
          </a:xfrm>
          <a:prstGeom prst="rect">
            <a:avLst/>
          </a:prstGeom>
        </p:spPr>
      </p:pic>
    </p:spTree>
    <p:extLst>
      <p:ext uri="{BB962C8B-B14F-4D97-AF65-F5344CB8AC3E}">
        <p14:creationId xmlns:p14="http://schemas.microsoft.com/office/powerpoint/2010/main" val="2664878572"/>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1" y="1409699"/>
            <a:ext cx="8348452" cy="978088"/>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91" y="3848103"/>
            <a:ext cx="5600700" cy="276999"/>
          </a:xfrm>
        </p:spPr>
        <p:txBody>
          <a:bodyPr tIns="0" anchor="t">
            <a:spAutoFit/>
          </a:bodyPr>
          <a:lstStyle>
            <a:lvl1pPr marL="0" indent="0">
              <a:lnSpc>
                <a:spcPct val="90000"/>
              </a:lnSpc>
              <a:buNone/>
              <a:defRPr sz="2000">
                <a:solidFill>
                  <a:schemeClr val="tx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AD9E843-EB5E-46D9-8DA4-825F2307EDC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1732" y="6178497"/>
            <a:ext cx="1753669" cy="327979"/>
          </a:xfrm>
          <a:prstGeom prst="rect">
            <a:avLst/>
          </a:prstGeom>
        </p:spPr>
      </p:pic>
    </p:spTree>
    <p:extLst>
      <p:ext uri="{BB962C8B-B14F-4D97-AF65-F5344CB8AC3E}">
        <p14:creationId xmlns:p14="http://schemas.microsoft.com/office/powerpoint/2010/main" val="327257469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409807119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1"/>
            <a:ext cx="5489645" cy="4800035"/>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E0EC2BDF-6703-43C8-A8D3-D7076C7DA2FF}"/>
              </a:ext>
            </a:extLst>
          </p:cNvPr>
          <p:cNvSpPr>
            <a:spLocks noGrp="1"/>
          </p:cNvSpPr>
          <p:nvPr>
            <p:ph idx="18" hasCustomPrompt="1"/>
          </p:nvPr>
        </p:nvSpPr>
        <p:spPr>
          <a:xfrm>
            <a:off x="6315668" y="1273221"/>
            <a:ext cx="5489645" cy="4800035"/>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8761931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1"/>
            <a:ext cx="5489645" cy="4800035"/>
          </a:xfrm>
        </p:spPr>
        <p:txBody>
          <a:bodyPr wrap="square"/>
          <a:lstStyle>
            <a:lvl1pPr marL="457189" indent="-457189">
              <a:lnSpc>
                <a:spcPct val="90000"/>
              </a:lnSpc>
              <a:spcBef>
                <a:spcPts val="0"/>
              </a:spcBef>
              <a:buClr>
                <a:schemeClr val="accent1"/>
              </a:buClr>
              <a:buFont typeface="+mj-lt"/>
              <a:buAutoNum type="arabicPeriod"/>
              <a:defRPr sz="2400"/>
            </a:lvl1pPr>
            <a:lvl2pPr marL="467988" indent="0">
              <a:lnSpc>
                <a:spcPct val="90000"/>
              </a:lnSpc>
              <a:spcAft>
                <a:spcPts val="0"/>
              </a:spcAft>
              <a:buClr>
                <a:schemeClr val="tx1"/>
              </a:buClr>
              <a:buFont typeface="Arial" panose="020B0604020202020204" pitchFamily="34" charset="0"/>
              <a:buNone/>
              <a:defRPr sz="2200"/>
            </a:lvl2pPr>
            <a:lvl3pPr marL="377991" indent="0">
              <a:lnSpc>
                <a:spcPct val="80000"/>
              </a:lnSpc>
              <a:buFont typeface="Arial" panose="020B0604020202020204" pitchFamily="34" charset="0"/>
              <a:buNone/>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
        <p:nvSpPr>
          <p:cNvPr id="14" name="Content Placeholder 2">
            <a:extLst>
              <a:ext uri="{FF2B5EF4-FFF2-40B4-BE49-F238E27FC236}">
                <a16:creationId xmlns:a16="http://schemas.microsoft.com/office/drawing/2014/main" id="{4B001BFE-4586-4123-8A39-A8763BE551B5}"/>
              </a:ext>
            </a:extLst>
          </p:cNvPr>
          <p:cNvSpPr>
            <a:spLocks noGrp="1"/>
          </p:cNvSpPr>
          <p:nvPr>
            <p:ph idx="18" hasCustomPrompt="1"/>
          </p:nvPr>
        </p:nvSpPr>
        <p:spPr>
          <a:xfrm>
            <a:off x="6315668" y="1273221"/>
            <a:ext cx="5489645" cy="4800035"/>
          </a:xfrm>
        </p:spPr>
        <p:txBody>
          <a:bodyPr wrap="square"/>
          <a:lstStyle>
            <a:lvl1pPr marL="457189" indent="-457189">
              <a:lnSpc>
                <a:spcPct val="90000"/>
              </a:lnSpc>
              <a:spcBef>
                <a:spcPts val="0"/>
              </a:spcBef>
              <a:buClr>
                <a:schemeClr val="accent1"/>
              </a:buClr>
              <a:buFont typeface="+mj-lt"/>
              <a:buAutoNum type="arabicPeriod" startAt="4"/>
              <a:defRPr sz="2400"/>
            </a:lvl1pPr>
            <a:lvl2pPr marL="467988" indent="0">
              <a:lnSpc>
                <a:spcPct val="90000"/>
              </a:lnSpc>
              <a:spcAft>
                <a:spcPts val="0"/>
              </a:spcAft>
              <a:buClr>
                <a:schemeClr val="tx1"/>
              </a:buClr>
              <a:buFont typeface="Arial" panose="020B0604020202020204" pitchFamily="34" charset="0"/>
              <a:buNone/>
              <a:defRPr sz="2200"/>
            </a:lvl2pPr>
            <a:lvl3pPr marL="377991" indent="0">
              <a:lnSpc>
                <a:spcPct val="80000"/>
              </a:lnSpc>
              <a:buFont typeface="Arial" panose="020B0604020202020204" pitchFamily="34" charset="0"/>
              <a:buNone/>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Tree>
    <p:extLst>
      <p:ext uri="{BB962C8B-B14F-4D97-AF65-F5344CB8AC3E}">
        <p14:creationId xmlns:p14="http://schemas.microsoft.com/office/powerpoint/2010/main" val="142784002"/>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2"/>
            <a:ext cx="8382000"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rstGeom prst="rect">
            <a:avLst/>
          </a:prstGeom>
          <a:pattFill prst="wdUpDiag">
            <a:fgClr>
              <a:schemeClr val="bg2"/>
            </a:fgClr>
            <a:bgClr>
              <a:schemeClr val="bg1"/>
            </a:bgClr>
          </a:pattFill>
        </p:spPr>
        <p:txBody>
          <a:bodyPr/>
          <a:lstStyle/>
          <a:p>
            <a:r>
              <a:rPr lang="en-US"/>
              <a:t>Click icon to add picture</a:t>
            </a:r>
          </a:p>
        </p:txBody>
      </p:sp>
      <p:pic>
        <p:nvPicPr>
          <p:cNvPr id="7" name="Graphic 6">
            <a:extLst>
              <a:ext uri="{FF2B5EF4-FFF2-40B4-BE49-F238E27FC236}">
                <a16:creationId xmlns:a16="http://schemas.microsoft.com/office/drawing/2014/main" id="{EDDF522C-363E-4031-B628-44EA69B774E3}"/>
              </a:ext>
            </a:extLst>
          </p:cNvPr>
          <p:cNvPicPr>
            <a:picLocks noChangeAspect="1"/>
          </p:cNvPicPr>
          <p:nvPr userDrawn="1"/>
        </p:nvPicPr>
        <p:blipFill>
          <a:blip r:embed="rId2"/>
          <a:srcRect/>
          <a:stretch>
            <a:fillRect/>
          </a:stretch>
        </p:blipFill>
        <p:spPr>
          <a:xfrm>
            <a:off x="498854" y="6476694"/>
            <a:ext cx="1155775" cy="162119"/>
          </a:xfrm>
          <a:prstGeom prst="rect">
            <a:avLst/>
          </a:prstGeom>
        </p:spPr>
      </p:pic>
    </p:spTree>
    <p:extLst>
      <p:ext uri="{BB962C8B-B14F-4D97-AF65-F5344CB8AC3E}">
        <p14:creationId xmlns:p14="http://schemas.microsoft.com/office/powerpoint/2010/main" val="3987460203"/>
      </p:ext>
    </p:extLst>
  </p:cSld>
  <p:clrMapOvr>
    <a:masterClrMapping/>
  </p:clrMapOvr>
  <p:extLst>
    <p:ext uri="{DCECCB84-F9BA-43D5-87BE-67443E8EF086}">
      <p15:sldGuideLst xmlns:p15="http://schemas.microsoft.com/office/powerpoint/2012/main">
        <p15:guide id="1" orient="horz" pos="3216">
          <p15:clr>
            <a:srgbClr val="FBAE40"/>
          </p15:clr>
        </p15:guide>
        <p15:guide id="2" pos="419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2" y="491321"/>
            <a:ext cx="11159889" cy="5581935"/>
          </a:xfrm>
          <a:prstGeom prst="rect">
            <a:avLst/>
          </a:prstGeom>
        </p:spPr>
        <p:txBody>
          <a:bodyPr tIns="0" anchor="ctr"/>
          <a:lstStyle>
            <a:lvl1pPr>
              <a:lnSpc>
                <a:spcPct val="70000"/>
              </a:lnSpc>
              <a:defRPr sz="8800" b="0" spc="-225">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7"/>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bg1"/>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357853914"/>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2"/>
            <a:ext cx="5372101" cy="5850909"/>
          </a:xfrm>
          <a:prstGeom prst="rect">
            <a:avLst/>
          </a:prstGeo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31051924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1"/>
            <a:ext cx="5372101" cy="5878204"/>
          </a:xfrm>
          <a:prstGeom prst="rect">
            <a:avLst/>
          </a:prstGeo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87449558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3"/>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2"/>
            <a:ext cx="11446493" cy="404940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84557049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2DA497B2-243B-4FD4-8B4C-1E09B70CB43A}"/>
              </a:ext>
            </a:extLst>
          </p:cNvPr>
          <p:cNvSpPr>
            <a:spLocks noGrp="1"/>
          </p:cNvSpPr>
          <p:nvPr>
            <p:ph idx="18" hasCustomPrompt="1"/>
          </p:nvPr>
        </p:nvSpPr>
        <p:spPr>
          <a:xfrm>
            <a:off x="6315668" y="1273222"/>
            <a:ext cx="5489645" cy="4215793"/>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9ED23A41-0D60-48EB-986C-21EDF999D9F9}"/>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46162754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2" y="1273221"/>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F14CFAE6-238D-483D-9D10-B7E2788A9693}"/>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53089961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20" y="1300517"/>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1"/>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8" y="1300517"/>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E0B31B94-96D6-4DA4-B75E-A3F4B4277A12}"/>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C867E58-EBA3-47C2-9664-5F51BA26D21F}"/>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185374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04515" cy="4344840"/>
            <a:chOff x="4125621" y="1410880"/>
            <a:chExt cx="4004515"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E1699BCB-4D50-4239-8EF2-4567C2AB09B1}"/>
              </a:ext>
            </a:extLst>
          </p:cNvPr>
          <p:cNvSpPr>
            <a:spLocks noGrp="1"/>
          </p:cNvSpPr>
          <p:nvPr>
            <p:ph idx="19" hasCustomPrompt="1"/>
          </p:nvPr>
        </p:nvSpPr>
        <p:spPr>
          <a:xfrm>
            <a:off x="358823" y="1300519"/>
            <a:ext cx="3450037"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4AEDC548-7522-4A33-A494-B49BEF3A7DAC}"/>
              </a:ext>
            </a:extLst>
          </p:cNvPr>
          <p:cNvSpPr>
            <a:spLocks noGrp="1"/>
          </p:cNvSpPr>
          <p:nvPr>
            <p:ph idx="20" hasCustomPrompt="1"/>
          </p:nvPr>
        </p:nvSpPr>
        <p:spPr>
          <a:xfrm>
            <a:off x="4402539" y="1300519"/>
            <a:ext cx="3429000"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3AB7F2DA-ADAD-4DB5-98A5-0ADA52EECDD9}"/>
              </a:ext>
            </a:extLst>
          </p:cNvPr>
          <p:cNvSpPr>
            <a:spLocks noGrp="1"/>
          </p:cNvSpPr>
          <p:nvPr>
            <p:ph idx="21" hasCustomPrompt="1"/>
          </p:nvPr>
        </p:nvSpPr>
        <p:spPr>
          <a:xfrm>
            <a:off x="8374143" y="1300519"/>
            <a:ext cx="3429000"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3D6A0D0A-FBD1-466C-93D5-2E6AEB2D7B32}"/>
              </a:ext>
            </a:extLst>
          </p:cNvPr>
          <p:cNvSpPr>
            <a:spLocks noGrp="1" noChangeAspect="1"/>
          </p:cNvSpPr>
          <p:nvPr>
            <p:ph type="body" sz="quarter" idx="18" hasCustomPrompt="1"/>
          </p:nvPr>
        </p:nvSpPr>
        <p:spPr>
          <a:xfrm>
            <a:off x="-1" y="5867401"/>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4248687464"/>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1"/>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1"/>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1"/>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470099D-726F-45AA-A0CB-63D587066D33}"/>
              </a:ext>
            </a:extLst>
          </p:cNvPr>
          <p:cNvSpPr>
            <a:spLocks noGrp="1"/>
          </p:cNvSpPr>
          <p:nvPr>
            <p:ph idx="19" hasCustomPrompt="1"/>
          </p:nvPr>
        </p:nvSpPr>
        <p:spPr>
          <a:xfrm>
            <a:off x="358823" y="3766783"/>
            <a:ext cx="3450037"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FD17594F-6185-43EC-8E1C-026096C075CE}"/>
              </a:ext>
            </a:extLst>
          </p:cNvPr>
          <p:cNvSpPr>
            <a:spLocks noGrp="1"/>
          </p:cNvSpPr>
          <p:nvPr>
            <p:ph idx="20" hasCustomPrompt="1"/>
          </p:nvPr>
        </p:nvSpPr>
        <p:spPr>
          <a:xfrm>
            <a:off x="4402539" y="3766783"/>
            <a:ext cx="3429000"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88436B3-D3A2-4095-B8EF-02B228BB9837}"/>
              </a:ext>
            </a:extLst>
          </p:cNvPr>
          <p:cNvSpPr>
            <a:spLocks noGrp="1"/>
          </p:cNvSpPr>
          <p:nvPr>
            <p:ph idx="21" hasCustomPrompt="1"/>
          </p:nvPr>
        </p:nvSpPr>
        <p:spPr>
          <a:xfrm>
            <a:off x="8355275" y="3766783"/>
            <a:ext cx="3450039"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63975374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2" y="1274400"/>
            <a:ext cx="5991652" cy="4344687"/>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0" name="Content Placeholder 2">
            <a:extLst>
              <a:ext uri="{FF2B5EF4-FFF2-40B4-BE49-F238E27FC236}">
                <a16:creationId xmlns:a16="http://schemas.microsoft.com/office/drawing/2014/main" id="{04FE9CFD-5CE9-48E8-AB71-368FD15C350F}"/>
              </a:ext>
            </a:extLst>
          </p:cNvPr>
          <p:cNvSpPr>
            <a:spLocks noGrp="1"/>
          </p:cNvSpPr>
          <p:nvPr>
            <p:ph idx="19" hasCustomPrompt="1"/>
          </p:nvPr>
        </p:nvSpPr>
        <p:spPr>
          <a:xfrm>
            <a:off x="358824"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05B0DA22-EAA1-41AD-8FCF-1363955117BF}"/>
              </a:ext>
            </a:extLst>
          </p:cNvPr>
          <p:cNvSpPr>
            <a:spLocks noGrp="1"/>
          </p:cNvSpPr>
          <p:nvPr>
            <p:ph idx="20" hasCustomPrompt="1"/>
          </p:nvPr>
        </p:nvSpPr>
        <p:spPr>
          <a:xfrm>
            <a:off x="9338706"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2" name="Content Placeholder 2">
            <a:extLst>
              <a:ext uri="{FF2B5EF4-FFF2-40B4-BE49-F238E27FC236}">
                <a16:creationId xmlns:a16="http://schemas.microsoft.com/office/drawing/2014/main" id="{F377809B-E952-4F88-9208-5076781CD619}"/>
              </a:ext>
            </a:extLst>
          </p:cNvPr>
          <p:cNvSpPr>
            <a:spLocks noGrp="1"/>
          </p:cNvSpPr>
          <p:nvPr>
            <p:ph idx="21" hasCustomPrompt="1"/>
          </p:nvPr>
        </p:nvSpPr>
        <p:spPr>
          <a:xfrm>
            <a:off x="3352118"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3" name="Content Placeholder 2">
            <a:extLst>
              <a:ext uri="{FF2B5EF4-FFF2-40B4-BE49-F238E27FC236}">
                <a16:creationId xmlns:a16="http://schemas.microsoft.com/office/drawing/2014/main" id="{CE175A5D-1DCB-4963-9098-2D78C7D64CD3}"/>
              </a:ext>
            </a:extLst>
          </p:cNvPr>
          <p:cNvSpPr>
            <a:spLocks noGrp="1"/>
          </p:cNvSpPr>
          <p:nvPr>
            <p:ph idx="22" hasCustomPrompt="1"/>
          </p:nvPr>
        </p:nvSpPr>
        <p:spPr>
          <a:xfrm>
            <a:off x="6345413"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7783990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5105402"/>
            <a:ext cx="8381999"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rstGeom prst="rect">
            <a:avLst/>
          </a:prstGeom>
          <a:pattFill prst="wdUpDiag">
            <a:fgClr>
              <a:schemeClr val="bg2"/>
            </a:fgClr>
            <a:bgClr>
              <a:schemeClr val="bg1"/>
            </a:bgClr>
          </a:pattFill>
        </p:spPr>
        <p:txBody>
          <a:bodyPr/>
          <a:lstStyle/>
          <a:p>
            <a:r>
              <a:rPr lang="en-US"/>
              <a:t>Click icon to add picture</a:t>
            </a:r>
          </a:p>
        </p:txBody>
      </p:sp>
      <p:pic>
        <p:nvPicPr>
          <p:cNvPr id="14" name="Graphic 13">
            <a:extLst>
              <a:ext uri="{FF2B5EF4-FFF2-40B4-BE49-F238E27FC236}">
                <a16:creationId xmlns:a16="http://schemas.microsoft.com/office/drawing/2014/main" id="{CCB44FDD-F73B-434F-ACF6-0CD5A9302841}"/>
              </a:ext>
            </a:extLst>
          </p:cNvPr>
          <p:cNvPicPr>
            <a:picLocks noChangeAspect="1"/>
          </p:cNvPicPr>
          <p:nvPr userDrawn="1"/>
        </p:nvPicPr>
        <p:blipFill>
          <a:blip r:embed="rId2"/>
          <a:srcRect/>
          <a:stretch>
            <a:fillRect/>
          </a:stretch>
        </p:blipFill>
        <p:spPr>
          <a:xfrm>
            <a:off x="498854" y="6476694"/>
            <a:ext cx="1155775" cy="162119"/>
          </a:xfrm>
          <a:prstGeom prst="rect">
            <a:avLst/>
          </a:prstGeom>
        </p:spPr>
      </p:pic>
    </p:spTree>
    <p:extLst>
      <p:ext uri="{BB962C8B-B14F-4D97-AF65-F5344CB8AC3E}">
        <p14:creationId xmlns:p14="http://schemas.microsoft.com/office/powerpoint/2010/main" val="2217073712"/>
      </p:ext>
    </p:extLst>
  </p:cSld>
  <p:clrMapOvr>
    <a:masterClrMapping/>
  </p:clrMapOvr>
  <p:extLst>
    <p:ext uri="{DCECCB84-F9BA-43D5-87BE-67443E8EF086}">
      <p15:sldGuideLst xmlns:p15="http://schemas.microsoft.com/office/powerpoint/2012/main">
        <p15:guide id="1" orient="horz" pos="3216">
          <p15:clr>
            <a:srgbClr val="FBAE40"/>
          </p15:clr>
        </p15:guide>
        <p15:guide id="2" pos="4194">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21" y="1273221"/>
            <a:ext cx="2459039"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9" y="1273221"/>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9" y="1273221"/>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7" y="1273221"/>
            <a:ext cx="2459039"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6191AC6-CDD3-4E09-9C59-5E94CEBA30FE}"/>
              </a:ext>
            </a:extLst>
          </p:cNvPr>
          <p:cNvSpPr>
            <a:spLocks noGrp="1"/>
          </p:cNvSpPr>
          <p:nvPr>
            <p:ph idx="21" hasCustomPrompt="1"/>
          </p:nvPr>
        </p:nvSpPr>
        <p:spPr>
          <a:xfrm>
            <a:off x="358824"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AA7B0B9-FD2C-4C2D-B4D7-CB1BCE630EF2}"/>
              </a:ext>
            </a:extLst>
          </p:cNvPr>
          <p:cNvSpPr>
            <a:spLocks noGrp="1"/>
          </p:cNvSpPr>
          <p:nvPr>
            <p:ph idx="22" hasCustomPrompt="1"/>
          </p:nvPr>
        </p:nvSpPr>
        <p:spPr>
          <a:xfrm>
            <a:off x="9338706"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999C672-9B01-45B9-B58B-BE5B55480890}"/>
              </a:ext>
            </a:extLst>
          </p:cNvPr>
          <p:cNvSpPr>
            <a:spLocks noGrp="1"/>
          </p:cNvSpPr>
          <p:nvPr>
            <p:ph idx="23" hasCustomPrompt="1"/>
          </p:nvPr>
        </p:nvSpPr>
        <p:spPr>
          <a:xfrm>
            <a:off x="3352118"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CCE8ADC8-55D5-45AA-AFE7-9FD304F4EB91}"/>
              </a:ext>
            </a:extLst>
          </p:cNvPr>
          <p:cNvSpPr>
            <a:spLocks noGrp="1"/>
          </p:cNvSpPr>
          <p:nvPr>
            <p:ph idx="24" hasCustomPrompt="1"/>
          </p:nvPr>
        </p:nvSpPr>
        <p:spPr>
          <a:xfrm>
            <a:off x="6345413"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74107111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64156E30-5EF4-4F94-B3C1-A3BC68504F8D}"/>
              </a:ext>
            </a:extLst>
          </p:cNvPr>
          <p:cNvSpPr>
            <a:spLocks noGrp="1"/>
          </p:cNvSpPr>
          <p:nvPr>
            <p:ph idx="21" hasCustomPrompt="1"/>
          </p:nvPr>
        </p:nvSpPr>
        <p:spPr>
          <a:xfrm>
            <a:off x="358823" y="1233691"/>
            <a:ext cx="5540420" cy="2119087"/>
          </a:xfrm>
        </p:spPr>
        <p:txBody>
          <a:bodyPr wrap="square"/>
          <a:lstStyle>
            <a:lvl1pPr marL="0" indent="0">
              <a:lnSpc>
                <a:spcPct val="80000"/>
              </a:lnSpc>
              <a:spcBef>
                <a:spcPts val="0"/>
              </a:spcBef>
              <a:buClr>
                <a:schemeClr val="accent1"/>
              </a:buClr>
              <a:buFont typeface="+mj-lt"/>
              <a:buNone/>
              <a:defRPr sz="2400"/>
            </a:lvl1pPr>
            <a:lvl2pPr marL="0" indent="-341991">
              <a:lnSpc>
                <a:spcPct val="80000"/>
              </a:lnSpc>
              <a:buClr>
                <a:schemeClr val="tx1"/>
              </a:buClr>
              <a:buFont typeface="Arial" panose="020B0604020202020204" pitchFamily="34" charset="0"/>
              <a:buChar char="•"/>
              <a:defRPr sz="2200"/>
            </a:lvl2pPr>
            <a:lvl3pPr marL="719982" indent="-341991">
              <a:lnSpc>
                <a:spcPct val="80000"/>
              </a:lnSpc>
              <a:buFont typeface="Arial" panose="020B0604020202020204" pitchFamily="34" charset="0"/>
              <a:buChar char="‒"/>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77F2807B-FB93-44FD-88CC-9A6001EFC18D}"/>
              </a:ext>
            </a:extLst>
          </p:cNvPr>
          <p:cNvSpPr>
            <a:spLocks noGrp="1"/>
          </p:cNvSpPr>
          <p:nvPr>
            <p:ph idx="29" hasCustomPrompt="1"/>
          </p:nvPr>
        </p:nvSpPr>
        <p:spPr>
          <a:xfrm>
            <a:off x="358823" y="3505225"/>
            <a:ext cx="5540420" cy="2119087"/>
          </a:xfrm>
        </p:spPr>
        <p:txBody>
          <a:bodyPr wrap="square"/>
          <a:lstStyle>
            <a:lvl1pPr marL="0" indent="0">
              <a:lnSpc>
                <a:spcPct val="80000"/>
              </a:lnSpc>
              <a:spcBef>
                <a:spcPts val="0"/>
              </a:spcBef>
              <a:buClr>
                <a:schemeClr val="accent1"/>
              </a:buClr>
              <a:buFont typeface="+mj-lt"/>
              <a:buNone/>
              <a:defRPr sz="2400"/>
            </a:lvl1pPr>
            <a:lvl2pPr marL="0" indent="-341991">
              <a:lnSpc>
                <a:spcPct val="80000"/>
              </a:lnSpc>
              <a:buClr>
                <a:schemeClr val="tx1"/>
              </a:buClr>
              <a:buFont typeface="Arial" panose="020B0604020202020204" pitchFamily="34" charset="0"/>
              <a:buChar char="•"/>
              <a:defRPr sz="2200"/>
            </a:lvl2pPr>
            <a:lvl3pPr marL="719982" indent="-341991">
              <a:lnSpc>
                <a:spcPct val="80000"/>
              </a:lnSpc>
              <a:buFont typeface="Arial" panose="020B0604020202020204" pitchFamily="34" charset="0"/>
              <a:buChar char="‒"/>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FCF8074E-6DD3-4C09-9D4B-BDA7497E98CF}"/>
              </a:ext>
            </a:extLst>
          </p:cNvPr>
          <p:cNvSpPr>
            <a:spLocks noGrp="1"/>
          </p:cNvSpPr>
          <p:nvPr>
            <p:ph idx="30" hasCustomPrompt="1"/>
          </p:nvPr>
        </p:nvSpPr>
        <p:spPr>
          <a:xfrm>
            <a:off x="6264895" y="1233691"/>
            <a:ext cx="5540420" cy="2119087"/>
          </a:xfrm>
        </p:spPr>
        <p:txBody>
          <a:bodyPr wrap="square"/>
          <a:lstStyle>
            <a:lvl1pPr marL="0" indent="0">
              <a:lnSpc>
                <a:spcPct val="80000"/>
              </a:lnSpc>
              <a:spcBef>
                <a:spcPts val="0"/>
              </a:spcBef>
              <a:buClr>
                <a:schemeClr val="accent1"/>
              </a:buClr>
              <a:buFont typeface="+mj-lt"/>
              <a:buNone/>
              <a:defRPr sz="2400"/>
            </a:lvl1pPr>
            <a:lvl2pPr marL="0" indent="-341991">
              <a:lnSpc>
                <a:spcPct val="80000"/>
              </a:lnSpc>
              <a:buClr>
                <a:schemeClr val="tx1"/>
              </a:buClr>
              <a:buFont typeface="Arial" panose="020B0604020202020204" pitchFamily="34" charset="0"/>
              <a:buChar char="•"/>
              <a:defRPr sz="2200"/>
            </a:lvl2pPr>
            <a:lvl3pPr marL="719982" indent="-341991">
              <a:lnSpc>
                <a:spcPct val="80000"/>
              </a:lnSpc>
              <a:buFont typeface="Arial" panose="020B0604020202020204" pitchFamily="34" charset="0"/>
              <a:buChar char="‒"/>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DCAA458-0B62-4F8E-8186-B5B1A1835AF5}"/>
              </a:ext>
            </a:extLst>
          </p:cNvPr>
          <p:cNvSpPr>
            <a:spLocks noGrp="1"/>
          </p:cNvSpPr>
          <p:nvPr>
            <p:ph idx="31" hasCustomPrompt="1"/>
          </p:nvPr>
        </p:nvSpPr>
        <p:spPr>
          <a:xfrm>
            <a:off x="6264895" y="3505225"/>
            <a:ext cx="5540420" cy="2119087"/>
          </a:xfrm>
        </p:spPr>
        <p:txBody>
          <a:bodyPr wrap="square"/>
          <a:lstStyle>
            <a:lvl1pPr marL="0" indent="0">
              <a:lnSpc>
                <a:spcPct val="80000"/>
              </a:lnSpc>
              <a:spcBef>
                <a:spcPts val="0"/>
              </a:spcBef>
              <a:buClr>
                <a:schemeClr val="accent1"/>
              </a:buClr>
              <a:buFont typeface="+mj-lt"/>
              <a:buNone/>
              <a:defRPr sz="2400"/>
            </a:lvl1pPr>
            <a:lvl2pPr marL="0" indent="-341991">
              <a:lnSpc>
                <a:spcPct val="80000"/>
              </a:lnSpc>
              <a:buClr>
                <a:schemeClr val="tx1"/>
              </a:buClr>
              <a:buFont typeface="Arial" panose="020B0604020202020204" pitchFamily="34" charset="0"/>
              <a:buChar char="•"/>
              <a:defRPr sz="2200"/>
            </a:lvl2pPr>
            <a:lvl3pPr marL="719982" indent="-341991">
              <a:lnSpc>
                <a:spcPct val="80000"/>
              </a:lnSpc>
              <a:buFont typeface="Arial" panose="020B0604020202020204" pitchFamily="34" charset="0"/>
              <a:buChar char="‒"/>
              <a:defRPr sz="2000"/>
            </a:lvl3pPr>
            <a:lvl4pPr marL="1043974" indent="-341991">
              <a:lnSpc>
                <a:spcPct val="80000"/>
              </a:lnSpc>
              <a:buFont typeface="Wingdings" panose="05000000000000000000" pitchFamily="2" charset="2"/>
              <a:buChar char="§"/>
              <a:defRPr sz="1800"/>
            </a:lvl4pPr>
            <a:lvl5pPr marL="1367966" indent="-341991">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6272551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29495701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3"/>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1"/>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33194607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Content Placeholder 2">
            <a:extLst>
              <a:ext uri="{FF2B5EF4-FFF2-40B4-BE49-F238E27FC236}">
                <a16:creationId xmlns:a16="http://schemas.microsoft.com/office/drawing/2014/main" id="{6F615F9A-04DF-4A34-986D-162F51504EE6}"/>
              </a:ext>
            </a:extLst>
          </p:cNvPr>
          <p:cNvSpPr>
            <a:spLocks noGrp="1"/>
          </p:cNvSpPr>
          <p:nvPr>
            <p:ph idx="17" hasCustomPrompt="1"/>
          </p:nvPr>
        </p:nvSpPr>
        <p:spPr>
          <a:xfrm>
            <a:off x="358820" y="1273221"/>
            <a:ext cx="11446493" cy="4215792"/>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31635351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7FEF3665-9532-432B-9E9B-228B902CD515}"/>
              </a:ext>
            </a:extLst>
          </p:cNvPr>
          <p:cNvSpPr>
            <a:spLocks noGrp="1"/>
          </p:cNvSpPr>
          <p:nvPr>
            <p:ph idx="18" hasCustomPrompt="1"/>
          </p:nvPr>
        </p:nvSpPr>
        <p:spPr>
          <a:xfrm>
            <a:off x="6315668" y="1273222"/>
            <a:ext cx="5489645" cy="4215793"/>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025DCC0C-150D-4DAD-A90F-682DEF544D20}"/>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49241806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CD3A09D0-780E-4D5B-9D0F-5C53FFAEBF78}"/>
              </a:ext>
            </a:extLst>
          </p:cNvPr>
          <p:cNvSpPr>
            <a:spLocks noGrp="1"/>
          </p:cNvSpPr>
          <p:nvPr>
            <p:ph type="pic" sz="quarter" idx="13"/>
          </p:nvPr>
        </p:nvSpPr>
        <p:spPr>
          <a:xfrm>
            <a:off x="6324602" y="1273221"/>
            <a:ext cx="5372100" cy="4215793"/>
          </a:xfrm>
          <a:pattFill prst="wdUpDiag">
            <a:fgClr>
              <a:schemeClr val="bg2"/>
            </a:fgClr>
            <a:bgClr>
              <a:schemeClr val="bg1"/>
            </a:bgClr>
          </a:pattFill>
        </p:spPr>
        <p:txBody>
          <a:bodyPr/>
          <a:lstStyle/>
          <a:p>
            <a:r>
              <a:rPr lang="en-US"/>
              <a:t>Click icon to add picture</a:t>
            </a:r>
          </a:p>
        </p:txBody>
      </p:sp>
      <p:sp>
        <p:nvSpPr>
          <p:cNvPr id="8" name="Content Placeholder 2">
            <a:extLst>
              <a:ext uri="{FF2B5EF4-FFF2-40B4-BE49-F238E27FC236}">
                <a16:creationId xmlns:a16="http://schemas.microsoft.com/office/drawing/2014/main" id="{82D6B39E-299F-4BEA-9815-5FE397940D2C}"/>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68226836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Picture Placeholder 6">
            <a:extLst>
              <a:ext uri="{FF2B5EF4-FFF2-40B4-BE49-F238E27FC236}">
                <a16:creationId xmlns:a16="http://schemas.microsoft.com/office/drawing/2014/main" id="{F1831C0D-18F8-431C-9AB1-31C8DF298A6B}"/>
              </a:ext>
            </a:extLst>
          </p:cNvPr>
          <p:cNvSpPr>
            <a:spLocks noGrp="1"/>
          </p:cNvSpPr>
          <p:nvPr>
            <p:ph type="pic" sz="quarter" idx="16"/>
          </p:nvPr>
        </p:nvSpPr>
        <p:spPr>
          <a:xfrm>
            <a:off x="358820" y="1300517"/>
            <a:ext cx="5489645" cy="2247900"/>
          </a:xfrm>
          <a:pattFill prst="wdUpDiag">
            <a:fgClr>
              <a:schemeClr val="bg2"/>
            </a:fgClr>
            <a:bgClr>
              <a:schemeClr val="bg1"/>
            </a:bgClr>
          </a:pattFill>
        </p:spPr>
        <p:txBody>
          <a:bodyPr/>
          <a:lstStyle/>
          <a:p>
            <a:r>
              <a:rPr lang="en-US"/>
              <a:t>Click icon to add picture</a:t>
            </a:r>
          </a:p>
        </p:txBody>
      </p:sp>
      <p:sp>
        <p:nvSpPr>
          <p:cNvPr id="9" name="Picture Placeholder 6">
            <a:extLst>
              <a:ext uri="{FF2B5EF4-FFF2-40B4-BE49-F238E27FC236}">
                <a16:creationId xmlns:a16="http://schemas.microsoft.com/office/drawing/2014/main" id="{A62B049B-F84A-40BB-903F-2DBF6554F1E9}"/>
              </a:ext>
            </a:extLst>
          </p:cNvPr>
          <p:cNvSpPr>
            <a:spLocks noGrp="1"/>
          </p:cNvSpPr>
          <p:nvPr>
            <p:ph type="pic" sz="quarter" idx="20"/>
          </p:nvPr>
        </p:nvSpPr>
        <p:spPr>
          <a:xfrm>
            <a:off x="6315668" y="1300517"/>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1B5C180D-DA9F-44AA-B979-74E0F6F1F23C}"/>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7923579-8C72-48FD-B7DA-4C828FF25683}"/>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19988348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3" name="Group 12">
            <a:extLst>
              <a:ext uri="{FF2B5EF4-FFF2-40B4-BE49-F238E27FC236}">
                <a16:creationId xmlns:a16="http://schemas.microsoft.com/office/drawing/2014/main" id="{B29B8EF5-5AFA-49C1-88CD-8F699CD18CB3}"/>
              </a:ext>
            </a:extLst>
          </p:cNvPr>
          <p:cNvGrpSpPr/>
          <p:nvPr userDrawn="1"/>
        </p:nvGrpSpPr>
        <p:grpSpPr>
          <a:xfrm>
            <a:off x="4098325" y="1300517"/>
            <a:ext cx="4004515" cy="4344840"/>
            <a:chOff x="4125621" y="1410880"/>
            <a:chExt cx="4004515" cy="4462273"/>
          </a:xfrm>
        </p:grpSpPr>
        <p:cxnSp>
          <p:nvCxnSpPr>
            <p:cNvPr id="14" name="Straight Connector 13">
              <a:extLst>
                <a:ext uri="{FF2B5EF4-FFF2-40B4-BE49-F238E27FC236}">
                  <a16:creationId xmlns:a16="http://schemas.microsoft.com/office/drawing/2014/main" id="{6D9CC082-3CCF-417C-9B37-D2DD6DCBDB9D}"/>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76CA473-7615-4CAC-88BE-44144D4FF0AD}"/>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A3530F1A-C354-49D5-A637-2B1BAE890EC3}"/>
              </a:ext>
            </a:extLst>
          </p:cNvPr>
          <p:cNvSpPr>
            <a:spLocks noGrp="1"/>
          </p:cNvSpPr>
          <p:nvPr>
            <p:ph idx="19" hasCustomPrompt="1"/>
          </p:nvPr>
        </p:nvSpPr>
        <p:spPr>
          <a:xfrm>
            <a:off x="358823" y="1300519"/>
            <a:ext cx="3450037"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4" name="Content Placeholder 2">
            <a:extLst>
              <a:ext uri="{FF2B5EF4-FFF2-40B4-BE49-F238E27FC236}">
                <a16:creationId xmlns:a16="http://schemas.microsoft.com/office/drawing/2014/main" id="{607A8C85-772A-4F74-A86F-3482A098CC09}"/>
              </a:ext>
            </a:extLst>
          </p:cNvPr>
          <p:cNvSpPr>
            <a:spLocks noGrp="1"/>
          </p:cNvSpPr>
          <p:nvPr>
            <p:ph idx="20" hasCustomPrompt="1"/>
          </p:nvPr>
        </p:nvSpPr>
        <p:spPr>
          <a:xfrm>
            <a:off x="4402539" y="1300519"/>
            <a:ext cx="3429000"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5" name="Content Placeholder 2">
            <a:extLst>
              <a:ext uri="{FF2B5EF4-FFF2-40B4-BE49-F238E27FC236}">
                <a16:creationId xmlns:a16="http://schemas.microsoft.com/office/drawing/2014/main" id="{9197AF32-F35A-4EFE-AE46-C99C97A737A3}"/>
              </a:ext>
            </a:extLst>
          </p:cNvPr>
          <p:cNvSpPr>
            <a:spLocks noGrp="1"/>
          </p:cNvSpPr>
          <p:nvPr>
            <p:ph idx="21" hasCustomPrompt="1"/>
          </p:nvPr>
        </p:nvSpPr>
        <p:spPr>
          <a:xfrm>
            <a:off x="8355275" y="1300519"/>
            <a:ext cx="3450039" cy="4344839"/>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603271085"/>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0" name="Picture Placeholder 6">
            <a:extLst>
              <a:ext uri="{FF2B5EF4-FFF2-40B4-BE49-F238E27FC236}">
                <a16:creationId xmlns:a16="http://schemas.microsoft.com/office/drawing/2014/main" id="{88525126-748E-4DF9-9F30-7EF534BA5F96}"/>
              </a:ext>
            </a:extLst>
          </p:cNvPr>
          <p:cNvSpPr>
            <a:spLocks noGrp="1"/>
          </p:cNvSpPr>
          <p:nvPr>
            <p:ph type="pic" sz="quarter" idx="15"/>
          </p:nvPr>
        </p:nvSpPr>
        <p:spPr>
          <a:xfrm>
            <a:off x="358819" y="1273221"/>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B35F44D5-8BF3-459E-BB96-F4AFD54855BB}"/>
              </a:ext>
            </a:extLst>
          </p:cNvPr>
          <p:cNvSpPr>
            <a:spLocks noGrp="1"/>
          </p:cNvSpPr>
          <p:nvPr>
            <p:ph type="pic" sz="quarter" idx="16"/>
          </p:nvPr>
        </p:nvSpPr>
        <p:spPr>
          <a:xfrm>
            <a:off x="4381500" y="1273221"/>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95263858-2864-4550-A64C-2D9719E114BB}"/>
              </a:ext>
            </a:extLst>
          </p:cNvPr>
          <p:cNvSpPr>
            <a:spLocks noGrp="1"/>
          </p:cNvSpPr>
          <p:nvPr>
            <p:ph type="pic" sz="quarter" idx="17"/>
          </p:nvPr>
        </p:nvSpPr>
        <p:spPr>
          <a:xfrm>
            <a:off x="8376313" y="1273221"/>
            <a:ext cx="3429000" cy="2247900"/>
          </a:xfrm>
          <a:pattFill prst="wdUpDiag">
            <a:fgClr>
              <a:schemeClr val="bg2"/>
            </a:fgClr>
            <a:bgClr>
              <a:schemeClr val="bg1"/>
            </a:bgClr>
          </a:pattFill>
        </p:spPr>
        <p:txBody>
          <a:bodyPr/>
          <a:lstStyle/>
          <a:p>
            <a:r>
              <a:rPr lang="en-US"/>
              <a:t>Click icon to add picture</a:t>
            </a:r>
          </a:p>
        </p:txBody>
      </p:sp>
      <p:sp>
        <p:nvSpPr>
          <p:cNvPr id="13" name="Content Placeholder 2">
            <a:extLst>
              <a:ext uri="{FF2B5EF4-FFF2-40B4-BE49-F238E27FC236}">
                <a16:creationId xmlns:a16="http://schemas.microsoft.com/office/drawing/2014/main" id="{5371FB6A-3586-41A3-BF59-A8DC71DAB7EA}"/>
              </a:ext>
            </a:extLst>
          </p:cNvPr>
          <p:cNvSpPr>
            <a:spLocks noGrp="1"/>
          </p:cNvSpPr>
          <p:nvPr>
            <p:ph idx="19" hasCustomPrompt="1"/>
          </p:nvPr>
        </p:nvSpPr>
        <p:spPr>
          <a:xfrm>
            <a:off x="358823" y="3766783"/>
            <a:ext cx="3450037"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061BE314-3234-4EC6-9BB9-4003B4474687}"/>
              </a:ext>
            </a:extLst>
          </p:cNvPr>
          <p:cNvSpPr>
            <a:spLocks noGrp="1"/>
          </p:cNvSpPr>
          <p:nvPr>
            <p:ph idx="20" hasCustomPrompt="1"/>
          </p:nvPr>
        </p:nvSpPr>
        <p:spPr>
          <a:xfrm>
            <a:off x="4402539" y="3766783"/>
            <a:ext cx="3429000"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5" name="Content Placeholder 2">
            <a:extLst>
              <a:ext uri="{FF2B5EF4-FFF2-40B4-BE49-F238E27FC236}">
                <a16:creationId xmlns:a16="http://schemas.microsoft.com/office/drawing/2014/main" id="{4318DBAE-9453-4F82-BE8D-06765DCFFCD9}"/>
              </a:ext>
            </a:extLst>
          </p:cNvPr>
          <p:cNvSpPr>
            <a:spLocks noGrp="1"/>
          </p:cNvSpPr>
          <p:nvPr>
            <p:ph idx="21" hasCustomPrompt="1"/>
          </p:nvPr>
        </p:nvSpPr>
        <p:spPr>
          <a:xfrm>
            <a:off x="8355275" y="3766783"/>
            <a:ext cx="3450039" cy="1722231"/>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961210694"/>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0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2"/>
            <a:ext cx="8382000" cy="1219199"/>
          </a:xfrm>
          <a:prstGeom prst="rect">
            <a:avLst/>
          </a:prstGeom>
        </p:spPr>
        <p:txBody>
          <a:bodyPr tIns="18288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t>‹#›</a:t>
            </a:fld>
            <a:endParaRPr lang="en-US"/>
          </a:p>
        </p:txBody>
      </p:sp>
      <p:pic>
        <p:nvPicPr>
          <p:cNvPr id="8" name="Graphic 7">
            <a:extLst>
              <a:ext uri="{FF2B5EF4-FFF2-40B4-BE49-F238E27FC236}">
                <a16:creationId xmlns:a16="http://schemas.microsoft.com/office/drawing/2014/main" id="{8CBF321E-9BDF-4B43-9412-BE2C1DE6CD4F}"/>
              </a:ext>
            </a:extLst>
          </p:cNvPr>
          <p:cNvPicPr>
            <a:picLocks noChangeAspect="1"/>
          </p:cNvPicPr>
          <p:nvPr userDrawn="1"/>
        </p:nvPicPr>
        <p:blipFill>
          <a:blip r:embed="rId2"/>
          <a:srcRect/>
          <a:stretch>
            <a:fillRect/>
          </a:stretch>
        </p:blipFill>
        <p:spPr>
          <a:xfrm>
            <a:off x="498854" y="6476694"/>
            <a:ext cx="1155775" cy="162119"/>
          </a:xfrm>
          <a:prstGeom prst="rect">
            <a:avLst/>
          </a:prstGeom>
        </p:spPr>
      </p:pic>
    </p:spTree>
    <p:extLst>
      <p:ext uri="{BB962C8B-B14F-4D97-AF65-F5344CB8AC3E}">
        <p14:creationId xmlns:p14="http://schemas.microsoft.com/office/powerpoint/2010/main" val="364773501"/>
      </p:ext>
    </p:extLst>
  </p:cSld>
  <p:clrMapOvr>
    <a:masterClrMapping/>
  </p:clrMapOvr>
  <p:extLst>
    <p:ext uri="{DCECCB84-F9BA-43D5-87BE-67443E8EF086}">
      <p15:sldGuideLst xmlns:p15="http://schemas.microsoft.com/office/powerpoint/2012/main">
        <p15:guide id="1" orient="horz" pos="3072">
          <p15:clr>
            <a:srgbClr val="FBAE40"/>
          </p15:clr>
        </p15:guide>
        <p15:guide id="2" pos="419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grpSp>
        <p:nvGrpSpPr>
          <p:cNvPr id="12" name="Group 11">
            <a:extLst>
              <a:ext uri="{FF2B5EF4-FFF2-40B4-BE49-F238E27FC236}">
                <a16:creationId xmlns:a16="http://schemas.microsoft.com/office/drawing/2014/main" id="{74C9A9ED-4201-4B53-BFA8-CD7BF325DFB3}"/>
              </a:ext>
            </a:extLst>
          </p:cNvPr>
          <p:cNvGrpSpPr/>
          <p:nvPr userDrawn="1"/>
        </p:nvGrpSpPr>
        <p:grpSpPr>
          <a:xfrm>
            <a:off x="3086602" y="1274400"/>
            <a:ext cx="5991652" cy="4344687"/>
            <a:chOff x="3127545" y="1410880"/>
            <a:chExt cx="5991652" cy="4462272"/>
          </a:xfrm>
        </p:grpSpPr>
        <p:cxnSp>
          <p:nvCxnSpPr>
            <p:cNvPr id="13" name="Straight Connector 12">
              <a:extLst>
                <a:ext uri="{FF2B5EF4-FFF2-40B4-BE49-F238E27FC236}">
                  <a16:creationId xmlns:a16="http://schemas.microsoft.com/office/drawing/2014/main" id="{687CB45E-AA2A-4376-B950-DB2900EFCCC7}"/>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490B509-8F7D-4DCF-9CD7-C971511D66FC}"/>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E712D0-5FC9-4D8B-B36E-BC242C1C4624}"/>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Content Placeholder 2">
            <a:extLst>
              <a:ext uri="{FF2B5EF4-FFF2-40B4-BE49-F238E27FC236}">
                <a16:creationId xmlns:a16="http://schemas.microsoft.com/office/drawing/2014/main" id="{B6C6CDC3-80D5-48E2-9632-1914D89FACD3}"/>
              </a:ext>
            </a:extLst>
          </p:cNvPr>
          <p:cNvSpPr>
            <a:spLocks noGrp="1"/>
          </p:cNvSpPr>
          <p:nvPr>
            <p:ph idx="19" hasCustomPrompt="1"/>
          </p:nvPr>
        </p:nvSpPr>
        <p:spPr>
          <a:xfrm>
            <a:off x="358824"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AD14BC28-600A-4E9C-A9F3-CB37793FC023}"/>
              </a:ext>
            </a:extLst>
          </p:cNvPr>
          <p:cNvSpPr>
            <a:spLocks noGrp="1"/>
          </p:cNvSpPr>
          <p:nvPr>
            <p:ph idx="20" hasCustomPrompt="1"/>
          </p:nvPr>
        </p:nvSpPr>
        <p:spPr>
          <a:xfrm>
            <a:off x="9338706"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CA03C11D-F6C1-4FA7-8D97-050BCF80AD3D}"/>
              </a:ext>
            </a:extLst>
          </p:cNvPr>
          <p:cNvSpPr>
            <a:spLocks noGrp="1"/>
          </p:cNvSpPr>
          <p:nvPr>
            <p:ph idx="21" hasCustomPrompt="1"/>
          </p:nvPr>
        </p:nvSpPr>
        <p:spPr>
          <a:xfrm>
            <a:off x="3352118"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0" name="Content Placeholder 2">
            <a:extLst>
              <a:ext uri="{FF2B5EF4-FFF2-40B4-BE49-F238E27FC236}">
                <a16:creationId xmlns:a16="http://schemas.microsoft.com/office/drawing/2014/main" id="{FCA31FE9-4B35-4EB7-8ACB-9A295F7C1EA2}"/>
              </a:ext>
            </a:extLst>
          </p:cNvPr>
          <p:cNvSpPr>
            <a:spLocks noGrp="1"/>
          </p:cNvSpPr>
          <p:nvPr>
            <p:ph idx="22" hasCustomPrompt="1"/>
          </p:nvPr>
        </p:nvSpPr>
        <p:spPr>
          <a:xfrm>
            <a:off x="6345413" y="1300519"/>
            <a:ext cx="2466609" cy="434483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123096107"/>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2" name="Picture Placeholder 8">
            <a:extLst>
              <a:ext uri="{FF2B5EF4-FFF2-40B4-BE49-F238E27FC236}">
                <a16:creationId xmlns:a16="http://schemas.microsoft.com/office/drawing/2014/main" id="{334EDB37-A223-47C2-822F-639924722621}"/>
              </a:ext>
            </a:extLst>
          </p:cNvPr>
          <p:cNvSpPr>
            <a:spLocks noGrp="1"/>
          </p:cNvSpPr>
          <p:nvPr>
            <p:ph type="pic" sz="quarter" idx="16"/>
          </p:nvPr>
        </p:nvSpPr>
        <p:spPr>
          <a:xfrm>
            <a:off x="358821" y="1273221"/>
            <a:ext cx="2459039" cy="2019300"/>
          </a:xfrm>
          <a:pattFill prst="wdUpDiag">
            <a:fgClr>
              <a:schemeClr val="bg2"/>
            </a:fgClr>
            <a:bgClr>
              <a:schemeClr val="bg1"/>
            </a:bgClr>
          </a:pattFill>
        </p:spPr>
        <p:txBody>
          <a:bodyPr/>
          <a:lstStyle/>
          <a:p>
            <a:r>
              <a:rPr lang="en-US"/>
              <a:t>Click icon to add picture</a:t>
            </a:r>
          </a:p>
        </p:txBody>
      </p:sp>
      <p:sp>
        <p:nvSpPr>
          <p:cNvPr id="13" name="Picture Placeholder 8">
            <a:extLst>
              <a:ext uri="{FF2B5EF4-FFF2-40B4-BE49-F238E27FC236}">
                <a16:creationId xmlns:a16="http://schemas.microsoft.com/office/drawing/2014/main" id="{C6B70F7C-53F9-479A-AF07-7764900063E4}"/>
              </a:ext>
            </a:extLst>
          </p:cNvPr>
          <p:cNvSpPr>
            <a:spLocks noGrp="1"/>
          </p:cNvSpPr>
          <p:nvPr>
            <p:ph type="pic" sz="quarter" idx="17"/>
          </p:nvPr>
        </p:nvSpPr>
        <p:spPr>
          <a:xfrm>
            <a:off x="3354639" y="1273221"/>
            <a:ext cx="2459039"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07D4BF50-0E89-4AF7-AFFA-2486AD357765}"/>
              </a:ext>
            </a:extLst>
          </p:cNvPr>
          <p:cNvSpPr>
            <a:spLocks noGrp="1"/>
          </p:cNvSpPr>
          <p:nvPr>
            <p:ph type="pic" sz="quarter" idx="18"/>
          </p:nvPr>
        </p:nvSpPr>
        <p:spPr>
          <a:xfrm>
            <a:off x="6350459" y="1273221"/>
            <a:ext cx="2459039"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B13A2EAF-8540-4CB8-916F-A84716A7C2EB}"/>
              </a:ext>
            </a:extLst>
          </p:cNvPr>
          <p:cNvSpPr>
            <a:spLocks noGrp="1"/>
          </p:cNvSpPr>
          <p:nvPr>
            <p:ph type="pic" sz="quarter" idx="19"/>
          </p:nvPr>
        </p:nvSpPr>
        <p:spPr>
          <a:xfrm>
            <a:off x="9346277" y="1273221"/>
            <a:ext cx="2459039" cy="2019300"/>
          </a:xfrm>
          <a:pattFill prst="wdUpDiag">
            <a:fgClr>
              <a:schemeClr val="bg2"/>
            </a:fgClr>
            <a:bgClr>
              <a:schemeClr val="bg1"/>
            </a:bgClr>
          </a:pattFill>
        </p:spPr>
        <p:txBody>
          <a:bodyPr/>
          <a:lstStyle/>
          <a:p>
            <a:r>
              <a:rPr lang="en-US"/>
              <a:t>Click icon to add picture</a:t>
            </a:r>
          </a:p>
        </p:txBody>
      </p:sp>
      <p:sp>
        <p:nvSpPr>
          <p:cNvPr id="16" name="Content Placeholder 2">
            <a:extLst>
              <a:ext uri="{FF2B5EF4-FFF2-40B4-BE49-F238E27FC236}">
                <a16:creationId xmlns:a16="http://schemas.microsoft.com/office/drawing/2014/main" id="{5708D57C-7AF7-4F99-94EB-9D0493877BB6}"/>
              </a:ext>
            </a:extLst>
          </p:cNvPr>
          <p:cNvSpPr>
            <a:spLocks noGrp="1"/>
          </p:cNvSpPr>
          <p:nvPr>
            <p:ph idx="21" hasCustomPrompt="1"/>
          </p:nvPr>
        </p:nvSpPr>
        <p:spPr>
          <a:xfrm>
            <a:off x="358824"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7" name="Content Placeholder 2">
            <a:extLst>
              <a:ext uri="{FF2B5EF4-FFF2-40B4-BE49-F238E27FC236}">
                <a16:creationId xmlns:a16="http://schemas.microsoft.com/office/drawing/2014/main" id="{84E02FC2-8C6F-47A0-829C-EE80395E8F41}"/>
              </a:ext>
            </a:extLst>
          </p:cNvPr>
          <p:cNvSpPr>
            <a:spLocks noGrp="1"/>
          </p:cNvSpPr>
          <p:nvPr>
            <p:ph idx="22" hasCustomPrompt="1"/>
          </p:nvPr>
        </p:nvSpPr>
        <p:spPr>
          <a:xfrm>
            <a:off x="9338706"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8" name="Content Placeholder 2">
            <a:extLst>
              <a:ext uri="{FF2B5EF4-FFF2-40B4-BE49-F238E27FC236}">
                <a16:creationId xmlns:a16="http://schemas.microsoft.com/office/drawing/2014/main" id="{7E4A1903-FEA0-4239-98D1-7F32E7E41FE1}"/>
              </a:ext>
            </a:extLst>
          </p:cNvPr>
          <p:cNvSpPr>
            <a:spLocks noGrp="1"/>
          </p:cNvSpPr>
          <p:nvPr>
            <p:ph idx="23" hasCustomPrompt="1"/>
          </p:nvPr>
        </p:nvSpPr>
        <p:spPr>
          <a:xfrm>
            <a:off x="3352118"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55F4B652-D86D-49BA-BC4B-C3AD3B01909A}"/>
              </a:ext>
            </a:extLst>
          </p:cNvPr>
          <p:cNvSpPr>
            <a:spLocks noGrp="1"/>
          </p:cNvSpPr>
          <p:nvPr>
            <p:ph idx="24" hasCustomPrompt="1"/>
          </p:nvPr>
        </p:nvSpPr>
        <p:spPr>
          <a:xfrm>
            <a:off x="6345413" y="3472938"/>
            <a:ext cx="2466609" cy="2111844"/>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994605506"/>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itle 1">
            <a:extLst>
              <a:ext uri="{FF2B5EF4-FFF2-40B4-BE49-F238E27FC236}">
                <a16:creationId xmlns:a16="http://schemas.microsoft.com/office/drawing/2014/main" id="{939A8CD4-AE36-4E1C-A94A-232D6052FD0E}"/>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8F159359-0EBA-4A29-B2E4-CEBF42D0EBEF}"/>
              </a:ext>
            </a:extLst>
          </p:cNvPr>
          <p:cNvSpPr>
            <a:spLocks noGrp="1"/>
          </p:cNvSpPr>
          <p:nvPr>
            <p:ph idx="21" hasCustomPrompt="1"/>
          </p:nvPr>
        </p:nvSpPr>
        <p:spPr>
          <a:xfrm>
            <a:off x="358823" y="1233691"/>
            <a:ext cx="5540420" cy="211908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9" name="Content Placeholder 2">
            <a:extLst>
              <a:ext uri="{FF2B5EF4-FFF2-40B4-BE49-F238E27FC236}">
                <a16:creationId xmlns:a16="http://schemas.microsoft.com/office/drawing/2014/main" id="{716B8B7E-EF57-4DD0-B0B8-660220B32DD9}"/>
              </a:ext>
            </a:extLst>
          </p:cNvPr>
          <p:cNvSpPr>
            <a:spLocks noGrp="1"/>
          </p:cNvSpPr>
          <p:nvPr>
            <p:ph idx="29" hasCustomPrompt="1"/>
          </p:nvPr>
        </p:nvSpPr>
        <p:spPr>
          <a:xfrm>
            <a:off x="358823" y="3505225"/>
            <a:ext cx="5540420" cy="211908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60F5F313-AC98-44AB-BC67-23FC052F8E7D}"/>
              </a:ext>
            </a:extLst>
          </p:cNvPr>
          <p:cNvSpPr>
            <a:spLocks noGrp="1"/>
          </p:cNvSpPr>
          <p:nvPr>
            <p:ph idx="30" hasCustomPrompt="1"/>
          </p:nvPr>
        </p:nvSpPr>
        <p:spPr>
          <a:xfrm>
            <a:off x="6264895" y="1233691"/>
            <a:ext cx="5540420" cy="211908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B008E751-5B77-4D4A-81A9-9B2E7505302E}"/>
              </a:ext>
            </a:extLst>
          </p:cNvPr>
          <p:cNvSpPr>
            <a:spLocks noGrp="1"/>
          </p:cNvSpPr>
          <p:nvPr>
            <p:ph idx="31" hasCustomPrompt="1"/>
          </p:nvPr>
        </p:nvSpPr>
        <p:spPr>
          <a:xfrm>
            <a:off x="6264895" y="3505225"/>
            <a:ext cx="5540420" cy="2119087"/>
          </a:xfrm>
        </p:spPr>
        <p:txBody>
          <a:bodyPr wrap="square"/>
          <a:lstStyle>
            <a:lvl1pPr marL="0" indent="0">
              <a:lnSpc>
                <a:spcPct val="90000"/>
              </a:lnSpc>
              <a:spcBef>
                <a:spcPts val="0"/>
              </a:spcBef>
              <a:buClr>
                <a:schemeClr val="accent1"/>
              </a:buClr>
              <a:buFont typeface="+mj-lt"/>
              <a:buNone/>
              <a:defRPr sz="2400"/>
            </a:lvl1pPr>
            <a:lvl2pPr marL="0" indent="-341991">
              <a:lnSpc>
                <a:spcPct val="90000"/>
              </a:lnSpc>
              <a:buClr>
                <a:schemeClr val="tx1"/>
              </a:buClr>
              <a:buFont typeface="Arial" panose="020B0604020202020204" pitchFamily="34" charset="0"/>
              <a:buChar char="•"/>
              <a:defRPr sz="2200"/>
            </a:lvl2pPr>
            <a:lvl3pPr marL="719982" indent="-341991">
              <a:lnSpc>
                <a:spcPct val="90000"/>
              </a:lnSpc>
              <a:buFont typeface="Arial" panose="020B0604020202020204" pitchFamily="34" charset="0"/>
              <a:buChar char="‒"/>
              <a:defRPr sz="2000"/>
            </a:lvl3pPr>
            <a:lvl4pPr marL="1043974" indent="-341991">
              <a:lnSpc>
                <a:spcPct val="90000"/>
              </a:lnSpc>
              <a:buFont typeface="Wingdings" panose="05000000000000000000" pitchFamily="2" charset="2"/>
              <a:buChar char="§"/>
              <a:defRPr sz="1800"/>
            </a:lvl4pPr>
            <a:lvl5pPr marL="1367966" indent="-341991">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96949226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200"/>
            </a:lvl1pPr>
            <a:lvl2pPr marL="341991">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21" y="2634811"/>
            <a:ext cx="2459039" cy="786384"/>
          </a:xfrm>
        </p:spPr>
        <p:txBody>
          <a:bodyPr/>
          <a:lstStyle>
            <a:lvl1pPr>
              <a:defRPr sz="12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5" y="2634811"/>
            <a:ext cx="2459039" cy="786384"/>
          </a:xfrm>
        </p:spPr>
        <p:txBody>
          <a:bodyPr/>
          <a:lstStyle>
            <a:lvl1pPr>
              <a:defRPr sz="12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91" y="2634811"/>
            <a:ext cx="2459039" cy="786384"/>
          </a:xfrm>
        </p:spPr>
        <p:txBody>
          <a:bodyPr/>
          <a:lstStyle>
            <a:lvl1pPr>
              <a:defRPr sz="12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7" y="2634811"/>
            <a:ext cx="2459039" cy="786384"/>
          </a:xfrm>
        </p:spPr>
        <p:txBody>
          <a:bodyPr/>
          <a:lstStyle>
            <a:lvl1pPr>
              <a:defRPr sz="12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21" y="3857516"/>
            <a:ext cx="2459039" cy="786384"/>
          </a:xfrm>
        </p:spPr>
        <p:txBody>
          <a:bodyPr/>
          <a:lstStyle>
            <a:lvl1pPr>
              <a:defRPr sz="12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5" y="3857516"/>
            <a:ext cx="2459039" cy="786384"/>
          </a:xfrm>
        </p:spPr>
        <p:txBody>
          <a:bodyPr/>
          <a:lstStyle>
            <a:lvl1pPr>
              <a:defRPr sz="12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91" y="3857516"/>
            <a:ext cx="2459039" cy="786384"/>
          </a:xfrm>
        </p:spPr>
        <p:txBody>
          <a:bodyPr/>
          <a:lstStyle>
            <a:lvl1pPr>
              <a:defRPr sz="12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7" y="3857516"/>
            <a:ext cx="2459039" cy="786384"/>
          </a:xfrm>
        </p:spPr>
        <p:txBody>
          <a:bodyPr/>
          <a:lstStyle>
            <a:lvl1pPr>
              <a:defRPr sz="12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200"/>
            </a:lvl1pPr>
            <a:lvl2pPr>
              <a:buClrTx/>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200"/>
            </a:lvl1pPr>
            <a:lvl2pPr>
              <a:buClr>
                <a:schemeClr val="tx1"/>
              </a:buClr>
              <a:defRPr sz="1200"/>
            </a:lvl2pPr>
            <a:lvl3pPr>
              <a:defRPr sz="900"/>
            </a:lvl3pPr>
            <a:lvl4pPr>
              <a:defRPr sz="825"/>
            </a:lvl4pPr>
            <a:lvl5pPr>
              <a:defRPr sz="12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2288817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21"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Tree>
    <p:extLst>
      <p:ext uri="{BB962C8B-B14F-4D97-AF65-F5344CB8AC3E}">
        <p14:creationId xmlns:p14="http://schemas.microsoft.com/office/powerpoint/2010/main" val="115380455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09817901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2"/>
            <a:ext cx="6096000" cy="1467133"/>
          </a:xfrm>
          <a:prstGeom prst="rect">
            <a:avLst/>
          </a:prstGeom>
        </p:spPr>
        <p:txBody>
          <a:bodyPr lIns="0" tIns="0" rIns="0" bIns="0">
            <a:spAutoFit/>
          </a:bodyPr>
          <a:lstStyle/>
          <a:p>
            <a:pPr>
              <a:lnSpc>
                <a:spcPct val="70000"/>
              </a:lnSpc>
            </a:pPr>
            <a:r>
              <a:rPr kumimoji="0" lang="en-US" sz="6600" b="0" i="0" u="none" strike="noStrike" kern="1200" cap="all" spc="-225" normalizeH="0" baseline="0" noProof="0">
                <a:ln>
                  <a:noFill/>
                </a:ln>
                <a:solidFill>
                  <a:schemeClr val="bg1"/>
                </a:solidFill>
                <a:effectLst/>
                <a:uLnTx/>
                <a:uFillTx/>
                <a:latin typeface="+mj-lt"/>
                <a:ea typeface="+mj-ea"/>
                <a:cs typeface="+mj-cs"/>
              </a:rPr>
              <a:t>THANK</a:t>
            </a:r>
            <a:br>
              <a:rPr kumimoji="0" lang="en-US" sz="6600" b="0" i="0" u="none" strike="noStrike" kern="1200" cap="all" spc="-225" normalizeH="0" baseline="0" noProof="0">
                <a:ln>
                  <a:noFill/>
                </a:ln>
                <a:solidFill>
                  <a:schemeClr val="bg1"/>
                </a:solidFill>
                <a:effectLst/>
                <a:uLnTx/>
                <a:uFillTx/>
                <a:latin typeface="+mj-lt"/>
                <a:ea typeface="+mj-ea"/>
                <a:cs typeface="+mj-cs"/>
              </a:rPr>
            </a:br>
            <a:r>
              <a:rPr kumimoji="0" lang="en-US" sz="6600" b="0" i="0" u="none" strike="noStrike" kern="1200" cap="all" spc="-225" normalizeH="0" baseline="0" noProof="0">
                <a:ln>
                  <a:noFill/>
                </a:ln>
                <a:solidFill>
                  <a:schemeClr val="bg1"/>
                </a:solidFill>
                <a:effectLst/>
                <a:uLnTx/>
                <a:uFillTx/>
                <a:latin typeface="+mj-lt"/>
                <a:ea typeface="+mj-ea"/>
                <a:cs typeface="+mj-cs"/>
              </a:rPr>
              <a:t>YOU</a:t>
            </a:r>
            <a:endParaRPr lang="en-US" sz="6600" spc="-225">
              <a:solidFill>
                <a:schemeClr val="bg1"/>
              </a:solidFill>
              <a:latin typeface="+mj-lt"/>
            </a:endParaRPr>
          </a:p>
        </p:txBody>
      </p:sp>
      <p:pic>
        <p:nvPicPr>
          <p:cNvPr id="5" name="Graphic 4">
            <a:extLst>
              <a:ext uri="{FF2B5EF4-FFF2-40B4-BE49-F238E27FC236}">
                <a16:creationId xmlns:a16="http://schemas.microsoft.com/office/drawing/2014/main" id="{CFFA6F3F-F94F-40A5-8CE5-0F6AAA5F4B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821" y="6207120"/>
            <a:ext cx="2134171" cy="299357"/>
          </a:xfrm>
          <a:prstGeom prst="rect">
            <a:avLst/>
          </a:prstGeom>
        </p:spPr>
      </p:pic>
    </p:spTree>
    <p:extLst>
      <p:ext uri="{BB962C8B-B14F-4D97-AF65-F5344CB8AC3E}">
        <p14:creationId xmlns:p14="http://schemas.microsoft.com/office/powerpoint/2010/main" val="3978470683"/>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428149064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Box 1"/>
          <p:cNvSpPr txBox="1"/>
          <p:nvPr userDrawn="1"/>
        </p:nvSpPr>
        <p:spPr>
          <a:xfrm>
            <a:off x="5" y="2"/>
            <a:ext cx="12191999" cy="461665"/>
          </a:xfrm>
          <a:prstGeom prst="rect">
            <a:avLst/>
          </a:prstGeom>
          <a:solidFill>
            <a:schemeClr val="bg1"/>
          </a:solidFill>
        </p:spPr>
        <p:txBody>
          <a:bodyPr wrap="square" rtlCol="0">
            <a:spAutoFit/>
          </a:bodyPr>
          <a:lstStyle/>
          <a:p>
            <a:endParaRPr lang="en-US" sz="2400">
              <a:solidFill>
                <a:srgbClr val="000000"/>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368334"/>
            <a:ext cx="12203952" cy="1866900"/>
          </a:xfrm>
          <a:prstGeom prst="rect">
            <a:avLst/>
          </a:prstGeom>
        </p:spPr>
      </p:pic>
      <p:pic>
        <p:nvPicPr>
          <p:cNvPr id="10" name="Picture 9">
            <a:extLst>
              <a:ext uri="{FF2B5EF4-FFF2-40B4-BE49-F238E27FC236}">
                <a16:creationId xmlns:a16="http://schemas.microsoft.com/office/drawing/2014/main" id="{14053C1F-9AD3-41A4-9611-6FCE000FA6B4}"/>
              </a:ext>
            </a:extLst>
          </p:cNvPr>
          <p:cNvPicPr>
            <a:picLocks noChangeAspect="1"/>
          </p:cNvPicPr>
          <p:nvPr userDrawn="1"/>
        </p:nvPicPr>
        <p:blipFill>
          <a:blip r:embed="rId3"/>
          <a:stretch>
            <a:fillRect/>
          </a:stretch>
        </p:blipFill>
        <p:spPr>
          <a:xfrm>
            <a:off x="243647" y="226878"/>
            <a:ext cx="8354351" cy="364787"/>
          </a:xfrm>
          <a:prstGeom prst="rect">
            <a:avLst/>
          </a:prstGeom>
        </p:spPr>
      </p:pic>
    </p:spTree>
    <p:extLst>
      <p:ext uri="{BB962C8B-B14F-4D97-AF65-F5344CB8AC3E}">
        <p14:creationId xmlns:p14="http://schemas.microsoft.com/office/powerpoint/2010/main" val="376209425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op 25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59634"/>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lang="en-US" sz="1000" b="1" kern="0">
                <a:solidFill>
                  <a:srgbClr val="000000"/>
                </a:solidFill>
                <a:latin typeface="Arial"/>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eaLnBrk="1" hangingPunct="1">
              <a:defRPr/>
            </a:pPr>
            <a:r>
              <a:rPr lang="en-US" sz="1000" b="1" kern="0">
                <a:solidFill>
                  <a:srgbClr val="000000"/>
                </a:solidFill>
                <a:latin typeface="Arial"/>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p:cNvCxnSpPr/>
          <p:nvPr userDrawn="1"/>
        </p:nvCxnSpPr>
        <p:spPr>
          <a:xfrm flipH="1">
            <a:off x="0" y="5867400"/>
            <a:ext cx="841248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7387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175820764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1" y="1181103"/>
            <a:ext cx="5600700" cy="2247899"/>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848101"/>
            <a:ext cx="5600700" cy="22478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t>‹#›</a:t>
            </a:fld>
            <a:endParaRPr lang="en-US"/>
          </a:p>
        </p:txBody>
      </p:sp>
      <p:pic>
        <p:nvPicPr>
          <p:cNvPr id="7" name="Graphic 6">
            <a:extLst>
              <a:ext uri="{FF2B5EF4-FFF2-40B4-BE49-F238E27FC236}">
                <a16:creationId xmlns:a16="http://schemas.microsoft.com/office/drawing/2014/main" id="{C679AD7C-6C2B-4F22-9991-04C10E34819A}"/>
              </a:ext>
            </a:extLst>
          </p:cNvPr>
          <p:cNvPicPr>
            <a:picLocks noChangeAspect="1"/>
          </p:cNvPicPr>
          <p:nvPr userDrawn="1"/>
        </p:nvPicPr>
        <p:blipFill>
          <a:blip r:embed="rId2"/>
          <a:srcRect/>
          <a:stretch>
            <a:fillRect/>
          </a:stretch>
        </p:blipFill>
        <p:spPr>
          <a:xfrm>
            <a:off x="498854" y="6476694"/>
            <a:ext cx="1155775" cy="162119"/>
          </a:xfrm>
          <a:prstGeom prst="rect">
            <a:avLst/>
          </a:prstGeom>
        </p:spPr>
      </p:pic>
    </p:spTree>
    <p:extLst>
      <p:ext uri="{BB962C8B-B14F-4D97-AF65-F5344CB8AC3E}">
        <p14:creationId xmlns:p14="http://schemas.microsoft.com/office/powerpoint/2010/main" val="2838134948"/>
      </p:ext>
    </p:extLst>
  </p:cSld>
  <p:clrMapOvr>
    <a:masterClrMapping/>
  </p:clrMapOvr>
  <p:extLst>
    <p:ext uri="{DCECCB84-F9BA-43D5-87BE-67443E8EF086}">
      <p15:sldGuideLst xmlns:p15="http://schemas.microsoft.com/office/powerpoint/2012/main">
        <p15:guide id="1" orient="horz" pos="3072">
          <p15:clr>
            <a:srgbClr val="FBAE40"/>
          </p15:clr>
        </p15:guide>
        <p15:guide id="2" pos="419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RAIL Full Slide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cxnSp>
        <p:nvCxnSpPr>
          <p:cNvPr id="30" name="Straight Connector 29"/>
          <p:cNvCxnSpPr/>
          <p:nvPr userDrawn="1"/>
        </p:nvCxnSpPr>
        <p:spPr bwMode="auto">
          <a:xfrm flipH="1">
            <a:off x="0" y="5867400"/>
            <a:ext cx="1219200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292953928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RAIL Full Slide Non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6"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50393242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2103" y="495305"/>
            <a:ext cx="11544300" cy="504825"/>
          </a:xfrm>
        </p:spPr>
        <p:txBody>
          <a:bodyPr/>
          <a:lstStyle>
            <a:lvl1pPr algn="ctr">
              <a:defRPr sz="2000" baseline="0"/>
            </a:lvl1pPr>
          </a:lstStyle>
          <a:p>
            <a:r>
              <a:rPr lang="en-US"/>
              <a:t>Honeywell “One List” Priority RAILs</a:t>
            </a:r>
          </a:p>
        </p:txBody>
      </p:sp>
    </p:spTree>
    <p:extLst>
      <p:ext uri="{BB962C8B-B14F-4D97-AF65-F5344CB8AC3E}">
        <p14:creationId xmlns:p14="http://schemas.microsoft.com/office/powerpoint/2010/main" val="169838303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73715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No pubs affec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5102678"/>
          </a:xfrm>
          <a:prstGeom prst="rect">
            <a:avLst/>
          </a:prstGeo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lang="en-US" sz="1000" b="1" kern="0">
                <a:solidFill>
                  <a:srgbClr val="000000"/>
                </a:solidFill>
                <a:latin typeface="Arial"/>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eaLnBrk="1" hangingPunct="1">
              <a:defRPr/>
            </a:pPr>
            <a:r>
              <a:rPr lang="en-US" sz="1000" b="1" kern="0">
                <a:solidFill>
                  <a:srgbClr val="000000"/>
                </a:solidFill>
                <a:latin typeface="Arial"/>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5101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3573952009"/>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op 25 Full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6"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128486978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FTS_Title_Slide">
    <p:spTree>
      <p:nvGrpSpPr>
        <p:cNvPr id="1" name=""/>
        <p:cNvGrpSpPr/>
        <p:nvPr/>
      </p:nvGrpSpPr>
      <p:grpSpPr>
        <a:xfrm>
          <a:off x="0" y="0"/>
          <a:ext cx="0" cy="0"/>
          <a:chOff x="0" y="0"/>
          <a:chExt cx="0" cy="0"/>
        </a:xfrm>
      </p:grpSpPr>
      <p:pic>
        <p:nvPicPr>
          <p:cNvPr id="13" name="Picture 21"/>
          <p:cNvPicPr>
            <a:picLocks noChangeArrowheads="1"/>
          </p:cNvPicPr>
          <p:nvPr/>
        </p:nvPicPr>
        <p:blipFill>
          <a:blip r:embed="rId2" cstate="email"/>
          <a:srcRect/>
          <a:stretch>
            <a:fillRect/>
          </a:stretch>
        </p:blipFill>
        <p:spPr bwMode="auto">
          <a:xfrm>
            <a:off x="9082620" y="5970588"/>
            <a:ext cx="2063749" cy="292100"/>
          </a:xfrm>
          <a:prstGeom prst="rect">
            <a:avLst/>
          </a:prstGeom>
          <a:noFill/>
          <a:ln w="9525">
            <a:noFill/>
            <a:miter lim="800000"/>
            <a:headEnd/>
            <a:tailEnd/>
          </a:ln>
        </p:spPr>
      </p:pic>
      <p:pic>
        <p:nvPicPr>
          <p:cNvPr id="3" name="Picture 2" descr="C:\Users\e346811\AppData\Local\Microsoft\Windows\Temporary Internet Files\Content.Outlook\0RDM6YJG\GCC PP Cover v2 (2).jpg"/>
          <p:cNvPicPr>
            <a:picLocks noChangeAspect="1" noChangeArrowheads="1"/>
          </p:cNvPicPr>
          <p:nvPr userDrawn="1"/>
        </p:nvPicPr>
        <p:blipFill>
          <a:blip r:embed="rId3" cstate="email"/>
          <a:srcRect/>
          <a:stretch>
            <a:fillRect/>
          </a:stretch>
        </p:blipFill>
        <p:spPr bwMode="auto">
          <a:xfrm>
            <a:off x="-25400" y="0"/>
            <a:ext cx="12313920" cy="6926580"/>
          </a:xfrm>
          <a:prstGeom prst="rect">
            <a:avLst/>
          </a:prstGeom>
          <a:noFill/>
        </p:spPr>
      </p:pic>
      <p:pic>
        <p:nvPicPr>
          <p:cNvPr id="4" name="Picture 3" descr="https://brand.honeywell.com/wp-content/uploads/2012/02/Honeywell-Bar-Logo-Black.jpg"/>
          <p:cNvPicPr>
            <a:picLocks noChangeAspect="1" noChangeArrowheads="1"/>
          </p:cNvPicPr>
          <p:nvPr userDrawn="1"/>
        </p:nvPicPr>
        <p:blipFill>
          <a:blip r:embed="rId4" cstate="print">
            <a:lum contrast="-10000"/>
          </a:blip>
          <a:srcRect l="70824" t="-3404" r="3388" b="1276"/>
          <a:stretch>
            <a:fillRect/>
          </a:stretch>
        </p:blipFill>
        <p:spPr bwMode="auto">
          <a:xfrm>
            <a:off x="9042400" y="6004560"/>
            <a:ext cx="2783840" cy="457200"/>
          </a:xfrm>
          <a:prstGeom prst="rect">
            <a:avLst/>
          </a:prstGeom>
          <a:noFill/>
        </p:spPr>
      </p:pic>
      <p:pic>
        <p:nvPicPr>
          <p:cNvPr id="5" name="Picture 3" descr="slides GCC 7.jpg"/>
          <p:cNvPicPr>
            <a:picLocks noChangeAspect="1"/>
          </p:cNvPicPr>
          <p:nvPr userDrawn="1"/>
        </p:nvPicPr>
        <p:blipFill>
          <a:blip r:embed="rId5" cstate="print"/>
          <a:srcRect l="8448" r="52586" b="75402"/>
          <a:stretch>
            <a:fillRect/>
          </a:stretch>
        </p:blipFill>
        <p:spPr bwMode="auto">
          <a:xfrm>
            <a:off x="420415" y="5369278"/>
            <a:ext cx="4014952" cy="1425663"/>
          </a:xfrm>
          <a:prstGeom prst="rect">
            <a:avLst/>
          </a:prstGeom>
          <a:noFill/>
          <a:ln w="9525">
            <a:noFill/>
            <a:miter lim="800000"/>
            <a:headEnd/>
            <a:tailEnd/>
          </a:ln>
        </p:spPr>
      </p:pic>
    </p:spTree>
    <p:extLst>
      <p:ext uri="{BB962C8B-B14F-4D97-AF65-F5344CB8AC3E}">
        <p14:creationId xmlns:p14="http://schemas.microsoft.com/office/powerpoint/2010/main" val="3214556308"/>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Agenda Follow Up">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FF0000"/>
                </a:solidFill>
                <a:latin typeface="Arial"/>
              </a:rPr>
              <a:t>AGENDA FOLLOW UP  </a:t>
            </a:r>
            <a:r>
              <a:rPr lang="en-US" sz="1000" b="1" kern="0">
                <a:solidFill>
                  <a:srgbClr val="000000"/>
                </a:solidFill>
                <a:latin typeface="Arial"/>
              </a:rPr>
              <a:t>Initiator:                    	       Owner:   	     	      Initiation Date: 	     Original Commit Date:</a:t>
            </a:r>
          </a:p>
        </p:txBody>
      </p:sp>
      <p:sp>
        <p:nvSpPr>
          <p:cNvPr id="8" name="Rectangle 7"/>
          <p:cNvSpPr/>
          <p:nvPr userDrawn="1"/>
        </p:nvSpPr>
        <p:spPr>
          <a:xfrm>
            <a:off x="10388600" y="48376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 name="Rectangle 8"/>
          <p:cNvSpPr/>
          <p:nvPr userDrawn="1"/>
        </p:nvSpPr>
        <p:spPr>
          <a:xfrm>
            <a:off x="8564033" y="4850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6" name="Rectangle 15"/>
          <p:cNvSpPr/>
          <p:nvPr userDrawn="1"/>
        </p:nvSpPr>
        <p:spPr>
          <a:xfrm>
            <a:off x="10388600" y="51551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7" name="Rectangle 16"/>
          <p:cNvSpPr/>
          <p:nvPr userDrawn="1"/>
        </p:nvSpPr>
        <p:spPr>
          <a:xfrm>
            <a:off x="8564033" y="51678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8" name="Rectangle 17"/>
          <p:cNvSpPr/>
          <p:nvPr userDrawn="1"/>
        </p:nvSpPr>
        <p:spPr>
          <a:xfrm>
            <a:off x="10388600" y="5485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9" name="Rectangle 18"/>
          <p:cNvSpPr/>
          <p:nvPr userDrawn="1"/>
        </p:nvSpPr>
        <p:spPr>
          <a:xfrm>
            <a:off x="8564033" y="5485399"/>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0" name="Rectangle 19"/>
          <p:cNvSpPr/>
          <p:nvPr userDrawn="1"/>
        </p:nvSpPr>
        <p:spPr>
          <a:xfrm>
            <a:off x="10388600" y="5806074"/>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1" name="Rectangle 20"/>
          <p:cNvSpPr/>
          <p:nvPr userDrawn="1"/>
        </p:nvSpPr>
        <p:spPr>
          <a:xfrm>
            <a:off x="8564033" y="5806074"/>
            <a:ext cx="1706880" cy="923330"/>
          </a:xfrm>
          <a:prstGeom prst="rect">
            <a:avLst/>
          </a:prstGeom>
          <a:ln w="3175">
            <a:prstDash val="sysDot"/>
          </a:ln>
        </p:spPr>
        <p:style>
          <a:lnRef idx="2">
            <a:schemeClr val="dk1"/>
          </a:lnRef>
          <a:fillRef idx="1">
            <a:schemeClr val="lt1"/>
          </a:fillRef>
          <a:effectRef idx="0">
            <a:schemeClr val="dk1"/>
          </a:effectRef>
          <a:fontRef idx="minor">
            <a:schemeClr val="dk1"/>
          </a:fontRef>
        </p:style>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2" name="TextBox 21"/>
          <p:cNvSpPr txBox="1"/>
          <p:nvPr userDrawn="1"/>
        </p:nvSpPr>
        <p:spPr>
          <a:xfrm>
            <a:off x="8449736" y="1280477"/>
            <a:ext cx="3166533" cy="246221"/>
          </a:xfrm>
          <a:prstGeom prst="rect">
            <a:avLst/>
          </a:prstGeom>
          <a:noFill/>
        </p:spPr>
        <p:txBody>
          <a:bodyPr wrap="square" rtlCol="0">
            <a:spAutoFit/>
          </a:bodyPr>
          <a:lstStyle/>
          <a:p>
            <a:r>
              <a:rPr lang="en-US" sz="1000" b="1" kern="0">
                <a:solidFill>
                  <a:srgbClr val="000000"/>
                </a:solidFill>
                <a:latin typeface="Arial"/>
              </a:rPr>
              <a:t>% Completed: </a:t>
            </a:r>
          </a:p>
        </p:txBody>
      </p:sp>
      <p:cxnSp>
        <p:nvCxnSpPr>
          <p:cNvPr id="29" name="Straight Connector 28"/>
          <p:cNvCxnSpPr/>
          <p:nvPr userDrawn="1"/>
        </p:nvCxnSpPr>
        <p:spPr bwMode="auto">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8652933" y="2701251"/>
            <a:ext cx="3335867" cy="923330"/>
          </a:xfrm>
          <a:prstGeom prst="rect">
            <a:avLst/>
          </a:prstGeom>
          <a:noFill/>
          <a:ln>
            <a:solidFill>
              <a:schemeClr val="bg1">
                <a:lumMod val="75000"/>
              </a:schemeClr>
            </a:solidFill>
          </a:ln>
        </p:spPr>
        <p:txBody>
          <a:bodyPr wrap="squar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3" name="Rectangle 22"/>
          <p:cNvSpPr/>
          <p:nvPr userDrawn="1"/>
        </p:nvSpPr>
        <p:spPr>
          <a:xfrm>
            <a:off x="8546333" y="1057892"/>
            <a:ext cx="3572881" cy="246221"/>
          </a:xfrm>
          <a:prstGeom prst="rect">
            <a:avLst/>
          </a:prstGeom>
        </p:spPr>
        <p:txBody>
          <a:bodyPr wrap="square">
            <a:spAutoFit/>
          </a:bodyPr>
          <a:lstStyle/>
          <a:p>
            <a:pPr>
              <a:defRPr/>
            </a:pPr>
            <a:r>
              <a:rPr lang="en-US" sz="1000" b="1" kern="0">
                <a:solidFill>
                  <a:srgbClr val="000000"/>
                </a:solidFill>
              </a:rPr>
              <a:t>Estimated  Completion Date:   </a:t>
            </a:r>
          </a:p>
        </p:txBody>
      </p:sp>
    </p:spTree>
    <p:extLst>
      <p:ext uri="{BB962C8B-B14F-4D97-AF65-F5344CB8AC3E}">
        <p14:creationId xmlns:p14="http://schemas.microsoft.com/office/powerpoint/2010/main" val="328485661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2" descr="C:\Users\e346811\AppData\Local\Microsoft\Windows\Temporary Internet Files\Content.Outlook\0RDM6YJG\GCC PP Cover v2 (2).jpg"/>
          <p:cNvPicPr>
            <a:picLocks noChangeAspect="1" noChangeArrowheads="1"/>
          </p:cNvPicPr>
          <p:nvPr userDrawn="1"/>
        </p:nvPicPr>
        <p:blipFill>
          <a:blip r:embed="rId2" cstate="print"/>
          <a:srcRect/>
          <a:stretch>
            <a:fillRect/>
          </a:stretch>
        </p:blipFill>
        <p:spPr>
          <a:xfrm>
            <a:off x="-25400" y="0"/>
            <a:ext cx="12313920" cy="6926580"/>
          </a:xfrm>
          <a:prstGeom prst="rect">
            <a:avLst/>
          </a:prstGeom>
          <a:noFill/>
        </p:spPr>
      </p:pic>
      <p:pic>
        <p:nvPicPr>
          <p:cNvPr id="5" name="Picture 3" descr="slides GCC 7.jpg"/>
          <p:cNvPicPr>
            <a:picLocks noChangeAspect="1"/>
          </p:cNvPicPr>
          <p:nvPr userDrawn="1"/>
        </p:nvPicPr>
        <p:blipFill>
          <a:blip r:embed="rId3" cstate="print"/>
          <a:srcRect l="8448" r="52586" b="75402"/>
          <a:stretch>
            <a:fillRect/>
          </a:stretch>
        </p:blipFill>
        <p:spPr>
          <a:xfrm>
            <a:off x="420415" y="5369278"/>
            <a:ext cx="4014952" cy="1425663"/>
          </a:xfrm>
          <a:prstGeom prst="rect">
            <a:avLst/>
          </a:prstGeom>
          <a:noFill/>
          <a:ln w="9525">
            <a:noFill/>
            <a:miter lim="800000"/>
          </a:ln>
        </p:spPr>
      </p:pic>
      <p:pic>
        <p:nvPicPr>
          <p:cNvPr id="4" name="Picture 3" descr="https://brand.honeywell.com/wp-content/uploads/2012/02/Honeywell-Bar-Logo-Black.jpg"/>
          <p:cNvPicPr>
            <a:picLocks noChangeAspect="1" noChangeArrowheads="1"/>
          </p:cNvPicPr>
          <p:nvPr userDrawn="1"/>
        </p:nvPicPr>
        <p:blipFill>
          <a:blip r:embed="rId4" cstate="print">
            <a:lum contrast="-10000"/>
          </a:blip>
          <a:srcRect l="70824" t="-3404" r="3388" b="1276"/>
          <a:stretch>
            <a:fillRect/>
          </a:stretch>
        </p:blipFill>
        <p:spPr>
          <a:xfrm>
            <a:off x="9042400" y="6004560"/>
            <a:ext cx="2783840" cy="457200"/>
          </a:xfrm>
          <a:prstGeom prst="rect">
            <a:avLst/>
          </a:prstGeom>
          <a:noFill/>
        </p:spPr>
      </p:pic>
    </p:spTree>
    <p:extLst>
      <p:ext uri="{BB962C8B-B14F-4D97-AF65-F5344CB8AC3E}">
        <p14:creationId xmlns:p14="http://schemas.microsoft.com/office/powerpoint/2010/main" val="420233741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_Top 25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59634"/>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kumimoji="0" lang="en-US" sz="1000" b="1" i="0" u="none" strike="noStrike" kern="0" cap="none" spc="0" normalizeH="0" baseline="0" noProof="0">
                <a:ln>
                  <a:noFill/>
                </a:ln>
                <a:solidFill>
                  <a:schemeClr val="tx1"/>
                </a:solidFill>
                <a:effectLst/>
                <a:uLnTx/>
                <a:uFillTx/>
                <a:latin typeface="+mj-lt"/>
                <a:ea typeface="+mj-ea"/>
                <a:cs typeface="+mj-cs"/>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solidFill>
                  <a:schemeClr val="tx1"/>
                </a:solidFill>
                <a:effectLst/>
                <a:uLnTx/>
                <a:uFillTx/>
                <a:latin typeface="+mj-lt"/>
                <a:ea typeface="+mj-ea"/>
                <a:cs typeface="+mj-cs"/>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p:cNvCxnSpPr/>
          <p:nvPr userDrawn="1"/>
        </p:nvCxnSpPr>
        <p:spPr>
          <a:xfrm flipH="1">
            <a:off x="0" y="5867400"/>
            <a:ext cx="841248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2" name="Rectangle 31"/>
          <p:cNvSpPr/>
          <p:nvPr userDrawn="1"/>
        </p:nvSpPr>
        <p:spPr>
          <a:xfrm>
            <a:off x="0" y="5936246"/>
            <a:ext cx="8449733" cy="461665"/>
          </a:xfrm>
          <a:prstGeom prst="rect">
            <a:avLst/>
          </a:prstGeom>
          <a:solidFill>
            <a:schemeClr val="bg1">
              <a:lumMod val="85000"/>
            </a:schemeClr>
          </a:solidFill>
        </p:spPr>
        <p:txBody>
          <a:bodyPr wrap="square" lIns="91440" tIns="45720" rIns="91440" bIns="45720" rtlCol="0" anchor="ctr">
            <a:spAutoFit/>
          </a:bodyPr>
          <a:lstStyle/>
          <a:p>
            <a:pPr algn="ctr"/>
            <a:endParaRPr lang="en-US" sz="1200" b="0" cap="none" spc="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ndParaRPr>
          </a:p>
          <a:p>
            <a:pPr algn="ctr"/>
            <a:endParaRPr lang="en-US" sz="1200" b="0" cap="none" spc="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ndParaRPr>
          </a:p>
        </p:txBody>
      </p:sp>
      <p:sp>
        <p:nvSpPr>
          <p:cNvPr id="33" name="TextBox 32"/>
          <p:cNvSpPr txBox="1"/>
          <p:nvPr userDrawn="1"/>
        </p:nvSpPr>
        <p:spPr>
          <a:xfrm>
            <a:off x="16933" y="5930901"/>
            <a:ext cx="8365067" cy="261610"/>
          </a:xfrm>
          <a:prstGeom prst="rect">
            <a:avLst/>
          </a:prstGeom>
          <a:noFill/>
        </p:spPr>
        <p:txBody>
          <a:bodyPr wrap="square" rtlCol="0">
            <a:spAutoFit/>
          </a:bodyPr>
          <a:lstStyle/>
          <a:p>
            <a:r>
              <a:rPr lang="en-US" sz="1100" b="1">
                <a:latin typeface="+mj-lt"/>
              </a:rPr>
              <a:t>Publications affected: </a:t>
            </a:r>
          </a:p>
        </p:txBody>
      </p:sp>
      <p:sp>
        <p:nvSpPr>
          <p:cNvPr id="27" name="Rectangle 26"/>
          <p:cNvSpPr/>
          <p:nvPr userDrawn="1"/>
        </p:nvSpPr>
        <p:spPr>
          <a:xfrm>
            <a:off x="10194638" y="27387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b="0" cap="none" spc="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13775151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FBFEE9-47FF-40D3-9890-0A297C65A5A4}"/>
              </a:ext>
            </a:extLst>
          </p:cNvPr>
          <p:cNvGraphicFramePr>
            <a:graphicFrameLocks noChangeAspect="1"/>
          </p:cNvGraphicFramePr>
          <p:nvPr userDrawn="1">
            <p:custDataLst>
              <p:tags r:id="rId1"/>
            </p:custDataLst>
            <p:extLst>
              <p:ext uri="{D42A27DB-BD31-4B8C-83A1-F6EECF244321}">
                <p14:modId xmlns:p14="http://schemas.microsoft.com/office/powerpoint/2010/main" val="15543131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7" name="Object 6" hidden="1">
                        <a:extLst>
                          <a:ext uri="{FF2B5EF4-FFF2-40B4-BE49-F238E27FC236}">
                            <a16:creationId xmlns:a16="http://schemas.microsoft.com/office/drawing/2014/main" id="{ACFBFEE9-47FF-40D3-9890-0A297C65A5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A689A5BF-574F-4EBE-A887-B19E73B5C835}"/>
              </a:ext>
            </a:extLst>
          </p:cNvPr>
          <p:cNvSpPr/>
          <p:nvPr userDrawn="1">
            <p:custDataLst>
              <p:tags r:id="rId2"/>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3000">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11">
            <a:extLst>
              <a:ext uri="{FF2B5EF4-FFF2-40B4-BE49-F238E27FC236}">
                <a16:creationId xmlns:a16="http://schemas.microsoft.com/office/drawing/2014/main" id="{B77630F9-7DFE-4681-8FEA-6510F039724A}"/>
              </a:ext>
            </a:extLst>
          </p:cNvPr>
          <p:cNvSpPr>
            <a:spLocks noGrp="1"/>
          </p:cNvSpPr>
          <p:nvPr>
            <p:ph type="body" sz="quarter" idx="13"/>
          </p:nvPr>
        </p:nvSpPr>
        <p:spPr>
          <a:xfrm>
            <a:off x="495301" y="1181101"/>
            <a:ext cx="5372100"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D0781A84-B68E-4ABA-BE3F-1591264B2048}"/>
              </a:ext>
            </a:extLst>
          </p:cNvPr>
          <p:cNvSpPr>
            <a:spLocks noGrp="1"/>
          </p:cNvSpPr>
          <p:nvPr>
            <p:ph type="body" sz="quarter" idx="14"/>
          </p:nvPr>
        </p:nvSpPr>
        <p:spPr>
          <a:xfrm>
            <a:off x="6324601" y="1181101"/>
            <a:ext cx="5372103"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370742"/>
      </p:ext>
    </p:extLst>
  </p:cSld>
  <p:clrMapOvr>
    <a:masterClrMapping/>
  </p:clrMapOvr>
  <p:extLst>
    <p:ext uri="{DCECCB84-F9BA-43D5-87BE-67443E8EF086}">
      <p15:sldGuideLst xmlns:p15="http://schemas.microsoft.com/office/powerpoint/2012/main">
        <p15:guide id="2" pos="2772">
          <p15:clr>
            <a:srgbClr val="FBAE40"/>
          </p15:clr>
        </p15:guide>
        <p15:guide id="3" pos="2988">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RAIL Full Slide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cxnSp>
        <p:nvCxnSpPr>
          <p:cNvPr id="30" name="Straight Connector 29"/>
          <p:cNvCxnSpPr/>
          <p:nvPr userDrawn="1"/>
        </p:nvCxnSpPr>
        <p:spPr bwMode="auto">
          <a:xfrm flipH="1">
            <a:off x="0" y="5867400"/>
            <a:ext cx="1219200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2" name="Rectangle 31"/>
          <p:cNvSpPr/>
          <p:nvPr userDrawn="1"/>
        </p:nvSpPr>
        <p:spPr>
          <a:xfrm>
            <a:off x="0" y="5962003"/>
            <a:ext cx="12192000" cy="461665"/>
          </a:xfrm>
          <a:prstGeom prst="rect">
            <a:avLst/>
          </a:prstGeom>
          <a:solidFill>
            <a:schemeClr val="bg1">
              <a:lumMod val="85000"/>
            </a:schemeClr>
          </a:solidFill>
        </p:spPr>
        <p:txBody>
          <a:bodyPr wrap="square" lIns="91440" tIns="45720" rIns="91440" bIns="45720" rtlCol="0" anchor="ctr">
            <a:spAutoFit/>
          </a:bodyPr>
          <a:lstStyle/>
          <a:p>
            <a:pPr algn="ctr"/>
            <a:endParaRPr lang="en-US" sz="120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a:endParaRPr>
          </a:p>
          <a:p>
            <a:pPr algn="ctr"/>
            <a:endParaRPr lang="en-US" sz="120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a:endParaRPr>
          </a:p>
        </p:txBody>
      </p:sp>
      <p:sp>
        <p:nvSpPr>
          <p:cNvPr id="33" name="TextBox 32"/>
          <p:cNvSpPr txBox="1"/>
          <p:nvPr userDrawn="1"/>
        </p:nvSpPr>
        <p:spPr>
          <a:xfrm>
            <a:off x="16933" y="5930901"/>
            <a:ext cx="8365067" cy="261610"/>
          </a:xfrm>
          <a:prstGeom prst="rect">
            <a:avLst/>
          </a:prstGeom>
          <a:noFill/>
        </p:spPr>
        <p:txBody>
          <a:bodyPr wrap="square" rtlCol="0">
            <a:spAutoFit/>
          </a:bodyPr>
          <a:lstStyle/>
          <a:p>
            <a:r>
              <a:rPr lang="en-US" sz="1100" b="1">
                <a:solidFill>
                  <a:srgbClr val="000000"/>
                </a:solidFill>
                <a:latin typeface="Arial"/>
              </a:rPr>
              <a:t>Publications affected: </a:t>
            </a:r>
          </a:p>
        </p:txBody>
      </p:sp>
      <p:sp>
        <p:nvSpPr>
          <p:cNvPr id="8"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409925055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RAIL Full Slide Non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6"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Tree>
    <p:extLst>
      <p:ext uri="{BB962C8B-B14F-4D97-AF65-F5344CB8AC3E}">
        <p14:creationId xmlns:p14="http://schemas.microsoft.com/office/powerpoint/2010/main" val="323112770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No pubs affec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5102678"/>
          </a:xfrm>
          <a:prstGeom prst="rect">
            <a:avLst/>
          </a:prstGeo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kumimoji="0" lang="en-US" sz="1000" b="1" i="0" u="none" strike="noStrike" kern="0" cap="none" spc="0" normalizeH="0" baseline="0" noProof="0">
                <a:ln>
                  <a:noFill/>
                </a:ln>
                <a:solidFill>
                  <a:schemeClr val="tx1"/>
                </a:solidFill>
                <a:effectLst/>
                <a:uLnTx/>
                <a:uFillTx/>
                <a:latin typeface="+mj-lt"/>
                <a:ea typeface="+mj-ea"/>
                <a:cs typeface="+mj-cs"/>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defRPr/>
            </a:pPr>
            <a:r>
              <a:rPr kumimoji="0" lang="en-US" sz="1000" b="1" i="0" u="none" strike="noStrike" kern="0" cap="none" spc="0" normalizeH="0" baseline="0" noProof="0">
                <a:ln>
                  <a:noFill/>
                </a:ln>
                <a:solidFill>
                  <a:schemeClr val="tx1"/>
                </a:solidFill>
                <a:effectLst/>
                <a:uLnTx/>
                <a:uFillTx/>
                <a:latin typeface="+mj-lt"/>
                <a:ea typeface="+mj-ea"/>
                <a:cs typeface="+mj-cs"/>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5101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b="0" cap="none" spc="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1198303629"/>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Top 25 Full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80C7"/>
                </a:solidFill>
                <a:effectLst/>
                <a:uLnTx/>
                <a:uFillTx/>
                <a:latin typeface="+mj-lt"/>
                <a:ea typeface="+mj-ea"/>
                <a:cs typeface="+mj-cs"/>
              </a:rPr>
              <a:t>RAIL             </a:t>
            </a:r>
            <a:r>
              <a:rPr kumimoji="0" lang="en-US" sz="1800" b="1" i="0" u="none" strike="noStrike" kern="0" cap="none" spc="0" normalizeH="0" baseline="0" noProof="0">
                <a:ln>
                  <a:noFill/>
                </a:ln>
                <a:solidFill>
                  <a:schemeClr val="tx1"/>
                </a:solidFill>
                <a:effectLst/>
                <a:uLnTx/>
                <a:uFillTx/>
                <a:latin typeface="+mj-lt"/>
                <a:ea typeface="+mj-ea"/>
                <a:cs typeface="+mj-cs"/>
              </a:rPr>
              <a:t>- </a:t>
            </a:r>
            <a:endParaRPr kumimoji="0" lang="en-US" sz="1800" b="0" i="0" u="none" strike="noStrike" kern="0" cap="none" spc="0" normalizeH="0" baseline="0" noProof="0">
              <a:ln>
                <a:noFill/>
              </a:ln>
              <a:solidFill>
                <a:schemeClr val="tx1"/>
              </a:solidFill>
              <a:effectLst/>
              <a:uLnTx/>
              <a:uFillTx/>
              <a:latin typeface="+mj-lt"/>
              <a:ea typeface="+mj-ea"/>
              <a:cs typeface="+mj-cs"/>
            </a:endParaRPr>
          </a:p>
        </p:txBody>
      </p:sp>
      <p:sp>
        <p:nvSpPr>
          <p:cNvPr id="6"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effectLst/>
                <a:uLnTx/>
                <a:uFillTx/>
                <a:latin typeface="+mj-lt"/>
                <a:ea typeface="+mj-ea"/>
                <a:cs typeface="+mj-cs"/>
              </a:rPr>
              <a:t>Initiator: 	                    Owner: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Initiation Date:        </a:t>
            </a:r>
            <a:r>
              <a:rPr kumimoji="0" lang="en-US" sz="1000" b="1" i="0" u="none" strike="noStrike" kern="0" cap="none" spc="0" normalizeH="0" noProof="0">
                <a:ln>
                  <a:noFill/>
                </a:ln>
                <a:effectLst/>
                <a:uLnTx/>
                <a:uFillTx/>
                <a:latin typeface="+mj-lt"/>
                <a:ea typeface="+mj-ea"/>
                <a:cs typeface="+mj-cs"/>
              </a:rPr>
              <a:t>	              </a:t>
            </a:r>
            <a:r>
              <a:rPr kumimoji="0" lang="en-US" sz="1000" b="1" i="0" u="none" strike="noStrike" kern="0" cap="none" spc="0" normalizeH="0" baseline="0" noProof="0">
                <a:ln>
                  <a:noFill/>
                </a:ln>
                <a:solidFill>
                  <a:schemeClr val="tx1"/>
                </a:solidFill>
                <a:effectLst/>
                <a:uLnTx/>
                <a:uFillTx/>
                <a:latin typeface="+mj-lt"/>
                <a:ea typeface="+mj-ea"/>
                <a:cs typeface="+mj-cs"/>
              </a:rPr>
              <a:t>Moved to Top 25:                        Original Commit Date:</a:t>
            </a:r>
          </a:p>
        </p:txBody>
      </p:sp>
    </p:spTree>
    <p:extLst>
      <p:ext uri="{BB962C8B-B14F-4D97-AF65-F5344CB8AC3E}">
        <p14:creationId xmlns:p14="http://schemas.microsoft.com/office/powerpoint/2010/main" val="2313302594"/>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3" name="Title 1"/>
          <p:cNvSpPr>
            <a:spLocks noGrp="1"/>
          </p:cNvSpPr>
          <p:nvPr>
            <p:ph type="title"/>
          </p:nvPr>
        </p:nvSpPr>
        <p:spPr>
          <a:xfrm>
            <a:off x="914400" y="554038"/>
            <a:ext cx="10363200" cy="658812"/>
          </a:xfrm>
        </p:spPr>
        <p:txBody>
          <a:bodyPr/>
          <a:lstStyle/>
          <a:p>
            <a:r>
              <a:rPr lang="en-US"/>
              <a:t>Click to edit Master title style</a:t>
            </a:r>
          </a:p>
        </p:txBody>
      </p:sp>
    </p:spTree>
    <p:extLst>
      <p:ext uri="{BB962C8B-B14F-4D97-AF65-F5344CB8AC3E}">
        <p14:creationId xmlns:p14="http://schemas.microsoft.com/office/powerpoint/2010/main" val="1358122978"/>
      </p:ext>
    </p:extLst>
  </p:cSld>
  <p:clrMapOvr>
    <a:masterClrMapping/>
  </p:clrMapOvr>
  <p:transition spd="med">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November 12, 2024</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96636354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November 12, 2024</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236154741"/>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CABE2306-64B2-4E76-99C5-2A47454E6DC8}" type="datetime4">
              <a:rPr lang="en-US" smtClean="0"/>
              <a:t>November 12, 2024</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45859204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fld id="{933D8C16-F92E-42E4-A695-CFC4867433E8}" type="datetime4">
              <a:rPr lang="en-US" smtClean="0"/>
              <a:t>November 12, 2024</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508474566"/>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16950892"/>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381000"/>
            <a:ext cx="8382001" cy="5715001"/>
          </a:xfrm>
        </p:spPr>
        <p:txBody>
          <a:bodyPr tIns="0"/>
          <a:lstStyle>
            <a:lvl1pPr>
              <a:lnSpc>
                <a:spcPct val="80000"/>
              </a:lnSpc>
              <a:defRPr sz="6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t>‹#›</a:t>
            </a:fld>
            <a:endParaRPr lang="en-US"/>
          </a:p>
        </p:txBody>
      </p:sp>
      <p:sp>
        <p:nvSpPr>
          <p:cNvPr id="10" name="Rectangle 23"/>
          <p:cNvSpPr>
            <a:spLocks noChangeArrowheads="1"/>
          </p:cNvSpPr>
          <p:nvPr userDrawn="1"/>
        </p:nvSpPr>
        <p:spPr>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bg1"/>
                </a:solidFill>
                <a:latin typeface="+mn-lt"/>
                <a:cs typeface="Arial" panose="020B0604020202020204" pitchFamily="34" charset="0"/>
              </a:rPr>
              <a:t>Honeywell Confidential - ©2020 by Honeywell International Inc. All rights reserved.</a:t>
            </a:r>
          </a:p>
        </p:txBody>
      </p:sp>
    </p:spTree>
    <p:extLst>
      <p:ext uri="{BB962C8B-B14F-4D97-AF65-F5344CB8AC3E}">
        <p14:creationId xmlns:p14="http://schemas.microsoft.com/office/powerpoint/2010/main" val="1657411403"/>
      </p:ext>
    </p:extLst>
  </p:cSld>
  <p:clrMapOvr>
    <a:masterClrMapping/>
  </p:clrMapOvr>
  <p:extLst>
    <p:ext uri="{DCECCB84-F9BA-43D5-87BE-67443E8EF086}">
      <p15:sldGuideLst xmlns:p15="http://schemas.microsoft.com/office/powerpoint/2012/main">
        <p15:guide id="2" pos="4194">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57888347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45388349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403680934"/>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07833236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393820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1866284884"/>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45072413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71488748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44257076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37160811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t>‹#›</a:t>
            </a:fld>
            <a:endParaRPr lang="en-US"/>
          </a:p>
        </p:txBody>
      </p:sp>
    </p:spTree>
    <p:extLst>
      <p:ext uri="{BB962C8B-B14F-4D97-AF65-F5344CB8AC3E}">
        <p14:creationId xmlns:p14="http://schemas.microsoft.com/office/powerpoint/2010/main" val="4023160462"/>
      </p:ext>
    </p:extLst>
  </p:cSld>
  <p:clrMapOvr>
    <a:masterClrMapping/>
  </p:clrMapOvr>
  <p:extLst>
    <p:ext uri="{DCECCB84-F9BA-43D5-87BE-67443E8EF086}">
      <p15:sldGuideLst xmlns:p15="http://schemas.microsoft.com/office/powerpoint/2012/main">
        <p15:guide id="1" pos="2772">
          <p15:clr>
            <a:srgbClr val="FBAE40"/>
          </p15:clr>
        </p15:guide>
        <p15:guide id="2" pos="2988">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22245229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97418216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148048819"/>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50978827"/>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132379603"/>
      </p:ext>
    </p:extLst>
  </p:cSld>
  <p:clrMapOvr>
    <a:masterClrMapping/>
  </p:clrMapOvr>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272612287"/>
      </p:ext>
    </p:extLst>
  </p:cSld>
  <p:clrMapOvr>
    <a:masterClrMapping/>
  </p:clrMapOvr>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96211345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399321195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7280720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9116512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t>‹#›</a:t>
            </a:fld>
            <a:endParaRPr lang="en-US"/>
          </a:p>
        </p:txBody>
      </p:sp>
    </p:spTree>
    <p:extLst>
      <p:ext uri="{BB962C8B-B14F-4D97-AF65-F5344CB8AC3E}">
        <p14:creationId xmlns:p14="http://schemas.microsoft.com/office/powerpoint/2010/main" val="432499144"/>
      </p:ext>
    </p:extLst>
  </p:cSld>
  <p:clrMapOvr>
    <a:masterClrMapping/>
  </p:clrMapOvr>
  <p:extLst>
    <p:ext uri="{DCECCB84-F9BA-43D5-87BE-67443E8EF086}">
      <p15:sldGuideLst xmlns:p15="http://schemas.microsoft.com/office/powerpoint/2012/main">
        <p15:guide id="1" pos="2772">
          <p15:clr>
            <a:srgbClr val="FBAE40"/>
          </p15:clr>
        </p15:guide>
        <p15:guide id="2" pos="2988">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2907445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190254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2527398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92330031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00960"/>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479283852"/>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307465"/>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673579222"/>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15884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39098179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AIL Full Slide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cxnSp>
        <p:nvCxnSpPr>
          <p:cNvPr id="30" name="Straight Connector 29"/>
          <p:cNvCxnSpPr/>
          <p:nvPr userDrawn="1"/>
        </p:nvCxnSpPr>
        <p:spPr bwMode="auto">
          <a:xfrm flipH="1">
            <a:off x="0" y="5867400"/>
            <a:ext cx="12192000" cy="635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11204352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55C4FA61-8681-4CCE-A300-954C39210D10}"/>
              </a:ext>
            </a:extLst>
          </p:cNvPr>
          <p:cNvSpPr>
            <a:spLocks noGrp="1"/>
          </p:cNvSpPr>
          <p:nvPr>
            <p:ph type="body" sz="quarter" idx="17"/>
          </p:nvPr>
        </p:nvSpPr>
        <p:spPr>
          <a:xfrm>
            <a:off x="495300" y="1181100"/>
            <a:ext cx="11201400" cy="466344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038326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63102401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41862238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a:solidFill>
                  <a:schemeClr val="bg1"/>
                </a:solidFill>
                <a:latin typeface="+mj-lt"/>
              </a:rPr>
              <a:t>END OF THE TEMPLATE</a:t>
            </a:r>
          </a:p>
        </p:txBody>
      </p:sp>
    </p:spTree>
    <p:extLst>
      <p:ext uri="{BB962C8B-B14F-4D97-AF65-F5344CB8AC3E}">
        <p14:creationId xmlns:p14="http://schemas.microsoft.com/office/powerpoint/2010/main" val="154188570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Content_Blank">
    <p:spTree>
      <p:nvGrpSpPr>
        <p:cNvPr id="1" name=""/>
        <p:cNvGrpSpPr/>
        <p:nvPr/>
      </p:nvGrpSpPr>
      <p:grpSpPr>
        <a:xfrm>
          <a:off x="0" y="0"/>
          <a:ext cx="0" cy="0"/>
          <a:chOff x="0" y="0"/>
          <a:chExt cx="0" cy="0"/>
        </a:xfrm>
      </p:grpSpPr>
      <p:sp>
        <p:nvSpPr>
          <p:cNvPr id="17" name="Title Placeholder 1">
            <a:extLst>
              <a:ext uri="{FF2B5EF4-FFF2-40B4-BE49-F238E27FC236}">
                <a16:creationId xmlns:a16="http://schemas.microsoft.com/office/drawing/2014/main" id="{3608D1B4-3571-D547-9044-DF4647E45FDC}"/>
              </a:ext>
            </a:extLst>
          </p:cNvPr>
          <p:cNvSpPr>
            <a:spLocks noGrp="1"/>
          </p:cNvSpPr>
          <p:nvPr>
            <p:ph type="title" hasCustomPrompt="1"/>
          </p:nvPr>
        </p:nvSpPr>
        <p:spPr>
          <a:xfrm>
            <a:off x="684945" y="435941"/>
            <a:ext cx="10515600" cy="491222"/>
          </a:xfrm>
          <a:prstGeom prst="rect">
            <a:avLst/>
          </a:prstGeom>
        </p:spPr>
        <p:txBody>
          <a:bodyPr vert="horz" lIns="91440" tIns="45720" rIns="91440" bIns="45720" rtlCol="0" anchor="t">
            <a:noAutofit/>
          </a:bodyPr>
          <a:lstStyle>
            <a:lvl1pPr>
              <a:lnSpc>
                <a:spcPts val="2940"/>
              </a:lnSpc>
              <a:defRPr/>
            </a:lvl1pPr>
          </a:lstStyle>
          <a:p>
            <a:r>
              <a:rPr lang="en-US"/>
              <a:t>CLICK TO EDIT MASTER TITLE STYLE</a:t>
            </a:r>
          </a:p>
        </p:txBody>
      </p:sp>
      <p:sp>
        <p:nvSpPr>
          <p:cNvPr id="18" name="Text Placeholder 5">
            <a:extLst>
              <a:ext uri="{FF2B5EF4-FFF2-40B4-BE49-F238E27FC236}">
                <a16:creationId xmlns:a16="http://schemas.microsoft.com/office/drawing/2014/main" id="{7E422B6C-ABE4-B34F-B9D5-FE2A40B0BE90}"/>
              </a:ext>
            </a:extLst>
          </p:cNvPr>
          <p:cNvSpPr>
            <a:spLocks noGrp="1"/>
          </p:cNvSpPr>
          <p:nvPr>
            <p:ph type="body" sz="quarter" idx="26" hasCustomPrompt="1"/>
          </p:nvPr>
        </p:nvSpPr>
        <p:spPr>
          <a:xfrm>
            <a:off x="684213" y="824422"/>
            <a:ext cx="10225087" cy="418461"/>
          </a:xfrm>
          <a:prstGeom prst="rect">
            <a:avLst/>
          </a:prstGeom>
        </p:spPr>
        <p:txBody>
          <a:bodyPr>
            <a:noAutofit/>
          </a:bodyPr>
          <a:lstStyle>
            <a:lvl1pPr marL="0" indent="0">
              <a:buNone/>
              <a:defRPr sz="1500" b="0" i="0">
                <a:solidFill>
                  <a:schemeClr val="bg2">
                    <a:lumMod val="25000"/>
                  </a:schemeClr>
                </a:solidFill>
                <a:latin typeface="Arial" panose="020B0604020202020204" pitchFamily="34" charset="0"/>
                <a:cs typeface="Arial" panose="020B0604020202020204" pitchFamily="34" charset="0"/>
              </a:defRPr>
            </a:lvl1pPr>
          </a:lstStyle>
          <a:p>
            <a:pPr lvl="0"/>
            <a:r>
              <a:rPr lang="en-US" b="0" i="0">
                <a:latin typeface="Arial" panose="020B0604020202020204" pitchFamily="34" charset="0"/>
                <a:cs typeface="Arial" panose="020B0604020202020204" pitchFamily="34" charset="0"/>
              </a:rPr>
              <a:t>Sub Header Text Optional, Arial Regular 15pt</a:t>
            </a:r>
            <a:endParaRPr lang="en-US"/>
          </a:p>
        </p:txBody>
      </p:sp>
      <p:sp>
        <p:nvSpPr>
          <p:cNvPr id="3" name="Text Placeholder 2">
            <a:extLst>
              <a:ext uri="{FF2B5EF4-FFF2-40B4-BE49-F238E27FC236}">
                <a16:creationId xmlns:a16="http://schemas.microsoft.com/office/drawing/2014/main" id="{02A312E3-9997-774E-86BF-DFE4821388F9}"/>
              </a:ext>
            </a:extLst>
          </p:cNvPr>
          <p:cNvSpPr>
            <a:spLocks noGrp="1"/>
          </p:cNvSpPr>
          <p:nvPr>
            <p:ph type="body" sz="quarter" idx="27" hasCustomPrompt="1"/>
          </p:nvPr>
        </p:nvSpPr>
        <p:spPr>
          <a:xfrm>
            <a:off x="684213" y="2251424"/>
            <a:ext cx="5827712" cy="2954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6940202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a:ln>
                  <a:noFill/>
                </a:ln>
                <a:solidFill>
                  <a:schemeClr val="bg1"/>
                </a:solidFill>
                <a:effectLst/>
                <a:uLnTx/>
                <a:uFillTx/>
                <a:latin typeface="+mj-lt"/>
                <a:ea typeface="+mj-ea"/>
                <a:cs typeface="+mj-cs"/>
              </a:rPr>
              <a:t>THANK</a:t>
            </a:r>
            <a:br>
              <a:rPr kumimoji="0" lang="en-US" sz="8800" b="0" i="0" u="none" strike="noStrike" kern="1200" cap="all" spc="-300" normalizeH="0" baseline="0" noProof="0">
                <a:ln>
                  <a:noFill/>
                </a:ln>
                <a:solidFill>
                  <a:schemeClr val="bg1"/>
                </a:solidFill>
                <a:effectLst/>
                <a:uLnTx/>
                <a:uFillTx/>
                <a:latin typeface="+mj-lt"/>
                <a:ea typeface="+mj-ea"/>
                <a:cs typeface="+mj-cs"/>
              </a:rPr>
            </a:br>
            <a:r>
              <a:rPr kumimoji="0" lang="en-US" sz="8800" b="0" i="0" u="none" strike="noStrike" kern="1200" cap="all" spc="-300" normalizeH="0" baseline="0" noProof="0">
                <a:ln>
                  <a:noFill/>
                </a:ln>
                <a:solidFill>
                  <a:schemeClr val="bg1"/>
                </a:solidFill>
                <a:effectLst/>
                <a:uLnTx/>
                <a:uFillTx/>
                <a:latin typeface="+mj-lt"/>
                <a:ea typeface="+mj-ea"/>
                <a:cs typeface="+mj-cs"/>
              </a:rPr>
              <a:t>YOU</a:t>
            </a:r>
            <a:endParaRPr lang="en-US" sz="8800" spc="-30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4245401130"/>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3232" y="356616"/>
            <a:ext cx="10523336" cy="498475"/>
          </a:xfrm>
        </p:spPr>
        <p:txBody>
          <a:bodyPr/>
          <a:lstStyle>
            <a:lvl1pPr>
              <a:defRPr>
                <a:solidFill>
                  <a:schemeClr val="tx1"/>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Tree>
    <p:extLst>
      <p:ext uri="{BB962C8B-B14F-4D97-AF65-F5344CB8AC3E}">
        <p14:creationId xmlns:p14="http://schemas.microsoft.com/office/powerpoint/2010/main" val="980127693"/>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29768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77569225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77295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F4E44-EE30-4F15-03F8-2E1E021702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8D9D07-EBD2-B4B3-69B1-C68DD8D3D7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A6756E-1AB3-EFA5-75FC-B14993F6CF0F}"/>
              </a:ext>
            </a:extLst>
          </p:cNvPr>
          <p:cNvSpPr>
            <a:spLocks noGrp="1"/>
          </p:cNvSpPr>
          <p:nvPr>
            <p:ph type="dt" sz="half" idx="10"/>
          </p:nvPr>
        </p:nvSpPr>
        <p:spPr/>
        <p:txBody>
          <a:bodyPr/>
          <a:lstStyle/>
          <a:p>
            <a:fld id="{3D1D92CB-F88C-4178-9AB0-8183AC4B4E57}" type="datetimeFigureOut">
              <a:rPr lang="en-US" smtClean="0"/>
              <a:t>11/12/2024</a:t>
            </a:fld>
            <a:endParaRPr lang="en-US"/>
          </a:p>
        </p:txBody>
      </p:sp>
      <p:sp>
        <p:nvSpPr>
          <p:cNvPr id="5" name="Footer Placeholder 4">
            <a:extLst>
              <a:ext uri="{FF2B5EF4-FFF2-40B4-BE49-F238E27FC236}">
                <a16:creationId xmlns:a16="http://schemas.microsoft.com/office/drawing/2014/main" id="{E1450310-4F48-5C8C-5A9E-4D8D80F70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6A1EA9-5786-B9CA-1CB0-76DD5CAF77A1}"/>
              </a:ext>
            </a:extLst>
          </p:cNvPr>
          <p:cNvSpPr>
            <a:spLocks noGrp="1"/>
          </p:cNvSpPr>
          <p:nvPr>
            <p:ph type="sldNum" sz="quarter" idx="12"/>
          </p:nvPr>
        </p:nvSpPr>
        <p:spPr/>
        <p:txBody>
          <a:bodyPr/>
          <a:lstStyle/>
          <a:p>
            <a:fld id="{18590125-ACC4-456D-94EE-D0D452E3C3D3}" type="slidenum">
              <a:rPr lang="en-US" smtClean="0"/>
              <a:t>‹#›</a:t>
            </a:fld>
            <a:endParaRPr lang="en-US"/>
          </a:p>
        </p:txBody>
      </p:sp>
    </p:spTree>
    <p:extLst>
      <p:ext uri="{BB962C8B-B14F-4D97-AF65-F5344CB8AC3E}">
        <p14:creationId xmlns:p14="http://schemas.microsoft.com/office/powerpoint/2010/main" val="233026900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55C4FA61-8681-4CCE-A300-954C39210D10}"/>
              </a:ext>
            </a:extLst>
          </p:cNvPr>
          <p:cNvSpPr>
            <a:spLocks noGrp="1"/>
          </p:cNvSpPr>
          <p:nvPr>
            <p:ph type="body" sz="quarter" idx="17"/>
          </p:nvPr>
        </p:nvSpPr>
        <p:spPr>
          <a:xfrm>
            <a:off x="495300" y="1181100"/>
            <a:ext cx="112014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98234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ext Placeholder 6">
            <a:extLst>
              <a:ext uri="{FF2B5EF4-FFF2-40B4-BE49-F238E27FC236}">
                <a16:creationId xmlns:a16="http://schemas.microsoft.com/office/drawing/2014/main" id="{B18EA922-C92C-4AFE-8F8C-4C6FC6A3E54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B7B0E1F4-2F4A-4068-9412-42703EFEC144}"/>
              </a:ext>
            </a:extLst>
          </p:cNvPr>
          <p:cNvSpPr>
            <a:spLocks noGrp="1"/>
          </p:cNvSpPr>
          <p:nvPr>
            <p:ph type="body" sz="quarter" idx="17"/>
          </p:nvPr>
        </p:nvSpPr>
        <p:spPr>
          <a:xfrm>
            <a:off x="495301" y="1181099"/>
            <a:ext cx="5372100" cy="466344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D59105BE-9443-4DB5-8A79-68A2799BA0DB}"/>
              </a:ext>
            </a:extLst>
          </p:cNvPr>
          <p:cNvSpPr>
            <a:spLocks noGrp="1"/>
          </p:cNvSpPr>
          <p:nvPr>
            <p:ph type="body" sz="quarter" idx="18"/>
          </p:nvPr>
        </p:nvSpPr>
        <p:spPr>
          <a:xfrm>
            <a:off x="6324599" y="1181099"/>
            <a:ext cx="5372103" cy="466344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035158"/>
      </p:ext>
    </p:extLst>
  </p:cSld>
  <p:clrMapOvr>
    <a:masterClrMapping/>
  </p:clrMapOvr>
  <p:extLst>
    <p:ext uri="{DCECCB84-F9BA-43D5-87BE-67443E8EF086}">
      <p15:sldGuideLst xmlns:p15="http://schemas.microsoft.com/office/powerpoint/2012/main">
        <p15:guide id="2" pos="2772">
          <p15:clr>
            <a:srgbClr val="FBAE40"/>
          </p15:clr>
        </p15:guide>
        <p15:guide id="3" pos="298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Honeywell PPT Templat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32500"/>
            <a:ext cx="12192000" cy="330199"/>
          </a:xfrm>
          <a:solidFill>
            <a:schemeClr val="accent1"/>
          </a:solidFill>
        </p:spPr>
        <p:txBody>
          <a:bodyPr lIns="493776" tIns="45720" rIns="493776" bIns="45720" anchor="ctr" anchorCtr="0">
            <a:noAutofit/>
          </a:bodyPr>
          <a:lstStyle>
            <a:lvl1pPr algn="ctr">
              <a:lnSpc>
                <a:spcPct val="90000"/>
              </a:lnSpc>
              <a:spcAft>
                <a:spcPts val="0"/>
              </a:spcAft>
              <a:defRPr sz="20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84574603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2DA497B2-243B-4FD4-8B4C-1E09B70CB43A}"/>
              </a:ext>
            </a:extLst>
          </p:cNvPr>
          <p:cNvSpPr>
            <a:spLocks noGrp="1"/>
          </p:cNvSpPr>
          <p:nvPr>
            <p:ph idx="18" hasCustomPrompt="1"/>
          </p:nvPr>
        </p:nvSpPr>
        <p:spPr>
          <a:xfrm>
            <a:off x="6315668" y="1273221"/>
            <a:ext cx="5489645" cy="4215793"/>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9ED23A41-0D60-48EB-986C-21EDF999D9F9}"/>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87288181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04665179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a:p>
        </p:txBody>
      </p:sp>
      <p:sp>
        <p:nvSpPr>
          <p:cNvPr id="2" name="Footer Placeholder 1"/>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74307305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latin typeface="+mj-lt"/>
              </a:defRPr>
            </a:lvl1pPr>
            <a:lvl2pPr marL="0" indent="0" algn="l">
              <a:spcAft>
                <a:spcPts val="900"/>
              </a:spcAft>
              <a:buNone/>
              <a:defRPr sz="1400" b="1" cap="all" baseline="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92469"/>
            <a:ext cx="2743200" cy="407632"/>
          </a:xfrm>
          <a:prstGeom prst="rect">
            <a:avLst/>
          </a:prstGeom>
        </p:spPr>
        <p:txBody>
          <a:bodyPr lIns="0" tIns="0" rIns="0" bIns="0" anchor="t"/>
          <a:lstStyle>
            <a:lvl1pPr>
              <a:defRPr sz="1400" b="1">
                <a:latin typeface="+mn-lt"/>
              </a:defRPr>
            </a:lvl1pPr>
          </a:lstStyle>
          <a:p>
            <a:endParaRPr lang="en-US"/>
          </a:p>
        </p:txBody>
      </p:sp>
      <p:pic>
        <p:nvPicPr>
          <p:cNvPr id="8" name="Graphic 7">
            <a:extLst>
              <a:ext uri="{FF2B5EF4-FFF2-40B4-BE49-F238E27FC236}">
                <a16:creationId xmlns:a16="http://schemas.microsoft.com/office/drawing/2014/main" id="{5C285063-1080-43C0-AE6D-98E69F0C0DE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35079921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2"/>
            <a:ext cx="2743200" cy="419099"/>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6" name="Graphic 5">
            <a:extLst>
              <a:ext uri="{FF2B5EF4-FFF2-40B4-BE49-F238E27FC236}">
                <a16:creationId xmlns:a16="http://schemas.microsoft.com/office/drawing/2014/main" id="{9671872F-C4A2-460A-ADE6-F23D8177799F}"/>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300" y="6169948"/>
            <a:ext cx="1753669" cy="327979"/>
          </a:xfrm>
          <a:prstGeom prst="rect">
            <a:avLst/>
          </a:prstGeom>
        </p:spPr>
      </p:pic>
    </p:spTree>
    <p:extLst>
      <p:ext uri="{BB962C8B-B14F-4D97-AF65-F5344CB8AC3E}">
        <p14:creationId xmlns:p14="http://schemas.microsoft.com/office/powerpoint/2010/main" val="297792371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181100"/>
            <a:ext cx="8382000" cy="2247900"/>
          </a:xfrm>
        </p:spPr>
        <p:txBody>
          <a:bodyPr tIns="0" anchor="t"/>
          <a:lstStyle>
            <a:lvl1pPr algn="l">
              <a:lnSpc>
                <a:spcPct val="80000"/>
              </a:lnSpc>
              <a:defRPr sz="40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1" y="3657601"/>
            <a:ext cx="5600700" cy="1082518"/>
          </a:xfrm>
          <a:prstGeom prst="rect">
            <a:avLst/>
          </a:prstGeom>
        </p:spPr>
        <p:txBody>
          <a:bodyPr tIns="0" bIns="182880" anchor="t" anchorCtr="0"/>
          <a:lstStyle>
            <a:lvl1pPr marL="0" indent="0" algn="l">
              <a:spcAft>
                <a:spcPts val="0"/>
              </a:spcAft>
              <a:buNone/>
              <a:defRPr sz="1400" b="0" cap="all" baseline="0">
                <a:solidFill>
                  <a:schemeClr val="bg1"/>
                </a:solidFill>
                <a:latin typeface="+mj-lt"/>
              </a:defRPr>
            </a:lvl1pPr>
            <a:lvl2pPr marL="0" indent="0" algn="l">
              <a:spcAft>
                <a:spcPts val="900"/>
              </a:spcAft>
              <a:buNone/>
              <a:defRPr sz="14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381001"/>
            <a:ext cx="2743200" cy="419100"/>
          </a:xfrm>
          <a:prstGeom prst="rect">
            <a:avLst/>
          </a:prstGeom>
        </p:spPr>
        <p:txBody>
          <a:bodyPr lIns="0" tIns="0" rIns="0" bIns="0" anchor="t"/>
          <a:lstStyle>
            <a:lvl1pPr>
              <a:defRPr sz="1400" b="1">
                <a:solidFill>
                  <a:schemeClr val="bg1"/>
                </a:solidFill>
                <a:latin typeface="+mn-lt"/>
              </a:defRPr>
            </a:lvl1pPr>
          </a:lstStyle>
          <a:p>
            <a:endParaRPr lang="en-US"/>
          </a:p>
        </p:txBody>
      </p:sp>
      <p:pic>
        <p:nvPicPr>
          <p:cNvPr id="7" name="Graphic 6">
            <a:extLst>
              <a:ext uri="{FF2B5EF4-FFF2-40B4-BE49-F238E27FC236}">
                <a16:creationId xmlns:a16="http://schemas.microsoft.com/office/drawing/2014/main" id="{981F08AD-0F5F-4C86-BED1-3B2AFB6F33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20039395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rstGeom prst="rect">
            <a:avLst/>
          </a:prstGeo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0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299" y="4800602"/>
            <a:ext cx="5600700" cy="1066801"/>
          </a:xfrm>
          <a:prstGeom prst="rect">
            <a:avLst/>
          </a:prstGeom>
        </p:spPr>
        <p:txBody>
          <a:bodyPr tIns="0" bIns="182880" anchor="t" anchorCtr="0"/>
          <a:lstStyle>
            <a:lvl1pPr marL="0" indent="0" algn="l">
              <a:spcAft>
                <a:spcPts val="0"/>
              </a:spcAft>
              <a:buNone/>
              <a:defRPr sz="1400" b="0" cap="all" baseline="0">
                <a:solidFill>
                  <a:schemeClr val="tx1"/>
                </a:solidFill>
                <a:latin typeface="+mj-lt"/>
              </a:defRPr>
            </a:lvl1pPr>
            <a:lvl2pPr marL="0" indent="0" algn="l">
              <a:spcAft>
                <a:spcPts val="900"/>
              </a:spcAft>
              <a:buNone/>
              <a:defRPr sz="14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3"/>
            <a:ext cx="2819400" cy="673625"/>
          </a:xfrm>
          <a:prstGeom prst="rect">
            <a:avLst/>
          </a:prstGeom>
        </p:spPr>
        <p:txBody>
          <a:bodyPr lIns="0" tIns="0" rIns="0" bIns="0" anchor="t"/>
          <a:lstStyle>
            <a:lvl1pPr algn="r">
              <a:defRPr sz="1400" b="1">
                <a:solidFill>
                  <a:schemeClr val="tx1"/>
                </a:solidFill>
                <a:latin typeface="+mn-lt"/>
              </a:defRPr>
            </a:lvl1pPr>
          </a:lstStyle>
          <a:p>
            <a:endParaRPr lang="en-US"/>
          </a:p>
        </p:txBody>
      </p:sp>
      <p:pic>
        <p:nvPicPr>
          <p:cNvPr id="16" name="Graphic 15">
            <a:extLst>
              <a:ext uri="{FF2B5EF4-FFF2-40B4-BE49-F238E27FC236}">
                <a16:creationId xmlns:a16="http://schemas.microsoft.com/office/drawing/2014/main" id="{7F3F8F8E-6850-4C28-9BEC-33473F4A7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178496"/>
            <a:ext cx="1753669" cy="327979"/>
          </a:xfrm>
          <a:prstGeom prst="rect">
            <a:avLst/>
          </a:prstGeom>
        </p:spPr>
      </p:pic>
    </p:spTree>
    <p:extLst>
      <p:ext uri="{BB962C8B-B14F-4D97-AF65-F5344CB8AC3E}">
        <p14:creationId xmlns:p14="http://schemas.microsoft.com/office/powerpoint/2010/main" val="868864874"/>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181102"/>
            <a:ext cx="8382000" cy="2247899"/>
          </a:xfrm>
        </p:spPr>
        <p:txBody>
          <a:bodyPr tIns="0" anchor="t"/>
          <a:lstStyle>
            <a:lvl1pPr>
              <a:lnSpc>
                <a:spcPct val="80000"/>
              </a:lnSpc>
              <a:defRPr lang="en-US" sz="40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657600"/>
            <a:ext cx="5600700" cy="2438400"/>
          </a:xfrm>
          <a:prstGeom prst="rect">
            <a:avLst/>
          </a:prstGeom>
        </p:spPr>
        <p:txBody>
          <a:bodyPr/>
          <a:lstStyle>
            <a:lvl1pPr marL="0" indent="0">
              <a:buNone/>
              <a:defRPr lang="en-US" sz="1800" kern="1200" dirty="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75109A7E-E7AA-4EE2-ADEF-C746CAFAACD5}"/>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1" y="6369208"/>
            <a:ext cx="1143000" cy="213769"/>
          </a:xfrm>
          <a:prstGeom prst="rect">
            <a:avLst/>
          </a:prstGeom>
        </p:spPr>
      </p:pic>
    </p:spTree>
    <p:extLst>
      <p:ext uri="{BB962C8B-B14F-4D97-AF65-F5344CB8AC3E}">
        <p14:creationId xmlns:p14="http://schemas.microsoft.com/office/powerpoint/2010/main" val="2928883637"/>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2"/>
            <a:ext cx="8382000"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rstGeom prst="rect">
            <a:avLst/>
          </a:prstGeom>
          <a:pattFill prst="wdUpDiag">
            <a:fgClr>
              <a:schemeClr val="bg2"/>
            </a:fgClr>
            <a:bgClr>
              <a:schemeClr val="bg1"/>
            </a:bgClr>
          </a:pattFill>
        </p:spPr>
        <p:txBody>
          <a:bodyPr/>
          <a:lstStyle/>
          <a:p>
            <a:r>
              <a:rPr lang="en-US"/>
              <a:t>Click icon to add picture</a:t>
            </a:r>
          </a:p>
        </p:txBody>
      </p:sp>
      <p:pic>
        <p:nvPicPr>
          <p:cNvPr id="9" name="Graphic 8">
            <a:extLst>
              <a:ext uri="{FF2B5EF4-FFF2-40B4-BE49-F238E27FC236}">
                <a16:creationId xmlns:a16="http://schemas.microsoft.com/office/drawing/2014/main" id="{C4396CCD-611B-4440-9CDE-0BB35815E168}"/>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304859295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663440"/>
          </a:xfrm>
          <a:prstGeom prst="rect">
            <a:avLst/>
          </a:prstGeom>
          <a:pattFill prst="wdUpDiag">
            <a:fgClr>
              <a:schemeClr val="bg2"/>
            </a:fgClr>
            <a:bgClr>
              <a:schemeClr val="bg1"/>
            </a:bgClr>
          </a:pattFill>
        </p:spPr>
        <p:txBody>
          <a:bodyPr/>
          <a:lstStyle/>
          <a:p>
            <a:r>
              <a:rPr lang="en-US"/>
              <a:t>Click icon to add picture</a:t>
            </a:r>
          </a:p>
        </p:txBody>
      </p:sp>
      <p:sp>
        <p:nvSpPr>
          <p:cNvPr id="8" name="Text Placeholder 6">
            <a:extLst>
              <a:ext uri="{FF2B5EF4-FFF2-40B4-BE49-F238E27FC236}">
                <a16:creationId xmlns:a16="http://schemas.microsoft.com/office/drawing/2014/main" id="{D2EAEDD0-A35F-4B38-8359-296A2F6F6F1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084EA13-0694-4C7A-AC48-6F77F1D7C54B}"/>
              </a:ext>
            </a:extLst>
          </p:cNvPr>
          <p:cNvSpPr>
            <a:spLocks noGrp="1"/>
          </p:cNvSpPr>
          <p:nvPr>
            <p:ph type="body" sz="quarter" idx="17"/>
          </p:nvPr>
        </p:nvSpPr>
        <p:spPr>
          <a:xfrm>
            <a:off x="495301" y="1181100"/>
            <a:ext cx="5372100" cy="466344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003968"/>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657601"/>
            <a:ext cx="8382000" cy="1447801"/>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5105402"/>
            <a:ext cx="8381999" cy="9905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rstGeom prst="rect">
            <a:avLst/>
          </a:prstGeom>
          <a:pattFill prst="wdUpDiag">
            <a:fgClr>
              <a:schemeClr val="bg2"/>
            </a:fgClr>
            <a:bgClr>
              <a:schemeClr val="bg1"/>
            </a:bgClr>
          </a:pattFill>
        </p:spPr>
        <p:txBody>
          <a:bodyPr/>
          <a:lstStyle/>
          <a:p>
            <a:r>
              <a:rPr lang="en-US"/>
              <a:t>Click icon to add picture</a:t>
            </a:r>
          </a:p>
        </p:txBody>
      </p:sp>
      <p:pic>
        <p:nvPicPr>
          <p:cNvPr id="16" name="Graphic 15">
            <a:extLst>
              <a:ext uri="{FF2B5EF4-FFF2-40B4-BE49-F238E27FC236}">
                <a16:creationId xmlns:a16="http://schemas.microsoft.com/office/drawing/2014/main" id="{826B682B-AEBD-447A-B538-F2CB2CE108A4}"/>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3765564964"/>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0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2"/>
            <a:ext cx="8382000" cy="1219199"/>
          </a:xfrm>
          <a:prstGeom prst="rect">
            <a:avLst/>
          </a:prstGeom>
        </p:spPr>
        <p:txBody>
          <a:bodyPr tIns="18288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9B56999B-C7A5-4AFD-B32B-0F810652EB2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 y="6369208"/>
            <a:ext cx="1143000" cy="213769"/>
          </a:xfrm>
          <a:prstGeom prst="rect">
            <a:avLst/>
          </a:prstGeom>
        </p:spPr>
      </p:pic>
    </p:spTree>
    <p:extLst>
      <p:ext uri="{BB962C8B-B14F-4D97-AF65-F5344CB8AC3E}">
        <p14:creationId xmlns:p14="http://schemas.microsoft.com/office/powerpoint/2010/main" val="391200328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1" y="1181103"/>
            <a:ext cx="5600700" cy="2247899"/>
          </a:xfrm>
        </p:spPr>
        <p:txBody>
          <a:bodyPr tIns="0" anchor="t"/>
          <a:lstStyle>
            <a:lvl1pPr>
              <a:lnSpc>
                <a:spcPct val="80000"/>
              </a:lnSpc>
              <a:defRPr sz="40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1" y="3848101"/>
            <a:ext cx="5600700" cy="2247899"/>
          </a:xfrm>
          <a:prstGeom prst="rect">
            <a:avLst/>
          </a:prstGeom>
        </p:spPr>
        <p:txBody>
          <a:bodyPr tIns="182880"/>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8BA04C2-FBEC-4DFC-AC3F-6E757E5061FF}"/>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298" y="6369208"/>
            <a:ext cx="1143000" cy="213769"/>
          </a:xfrm>
          <a:prstGeom prst="rect">
            <a:avLst/>
          </a:prstGeom>
        </p:spPr>
      </p:pic>
    </p:spTree>
    <p:extLst>
      <p:ext uri="{BB962C8B-B14F-4D97-AF65-F5344CB8AC3E}">
        <p14:creationId xmlns:p14="http://schemas.microsoft.com/office/powerpoint/2010/main" val="195178474"/>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FBFEE9-47FF-40D3-9890-0A297C65A5A4}"/>
              </a:ext>
            </a:extLst>
          </p:cNvPr>
          <p:cNvGraphicFramePr>
            <a:graphicFrameLocks noChangeAspect="1"/>
          </p:cNvGraphicFramePr>
          <p:nvPr userDrawn="1">
            <p:custDataLst>
              <p:tags r:id="rId1"/>
            </p:custDataLst>
            <p:extLst>
              <p:ext uri="{D42A27DB-BD31-4B8C-83A1-F6EECF244321}">
                <p14:modId xmlns:p14="http://schemas.microsoft.com/office/powerpoint/2010/main" val="19545474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ACFBFEE9-47FF-40D3-9890-0A297C65A5A4}"/>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89A5BF-574F-4EBE-A887-B19E73B5C835}"/>
              </a:ext>
            </a:extLst>
          </p:cNvPr>
          <p:cNvSpPr/>
          <p:nvPr userDrawn="1">
            <p:custDataLst>
              <p:tags r:id="rId2"/>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3000">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11">
            <a:extLst>
              <a:ext uri="{FF2B5EF4-FFF2-40B4-BE49-F238E27FC236}">
                <a16:creationId xmlns:a16="http://schemas.microsoft.com/office/drawing/2014/main" id="{B77630F9-7DFE-4681-8FEA-6510F039724A}"/>
              </a:ext>
            </a:extLst>
          </p:cNvPr>
          <p:cNvSpPr>
            <a:spLocks noGrp="1"/>
          </p:cNvSpPr>
          <p:nvPr>
            <p:ph type="body" sz="quarter" idx="13"/>
          </p:nvPr>
        </p:nvSpPr>
        <p:spPr>
          <a:xfrm>
            <a:off x="495301" y="1181101"/>
            <a:ext cx="5372100"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a:extLst>
              <a:ext uri="{FF2B5EF4-FFF2-40B4-BE49-F238E27FC236}">
                <a16:creationId xmlns:a16="http://schemas.microsoft.com/office/drawing/2014/main" id="{D0781A84-B68E-4ABA-BE3F-1591264B2048}"/>
              </a:ext>
            </a:extLst>
          </p:cNvPr>
          <p:cNvSpPr>
            <a:spLocks noGrp="1"/>
          </p:cNvSpPr>
          <p:nvPr>
            <p:ph type="body" sz="quarter" idx="14"/>
          </p:nvPr>
        </p:nvSpPr>
        <p:spPr>
          <a:xfrm>
            <a:off x="6324601" y="1181101"/>
            <a:ext cx="5372103" cy="4914900"/>
          </a:xfrm>
          <a:prstGeom prst="rect">
            <a:avLst/>
          </a:prstGeom>
        </p:spPr>
        <p:txBody>
          <a:bodyPr lIns="0" tIns="0" rIns="0" bIns="0"/>
          <a:lstStyle>
            <a:lvl2pPr>
              <a:defRPr/>
            </a:lvl2pPr>
            <a:lvl3pPr marL="515938" indent="-250825">
              <a:buClrTx/>
              <a:buFont typeface="Arial" panose="020B0604020202020204" pitchFamily="34" charset="0"/>
              <a:buChar char="‒"/>
              <a:defRPr sz="1800"/>
            </a:lvl3pPr>
            <a:lvl4pPr marL="760413" indent="-196850">
              <a:buClr>
                <a:schemeClr val="accent3"/>
              </a:buClr>
              <a:defRPr/>
            </a:lvl4pPr>
            <a:lvl5pPr marL="949325" indent="-171450">
              <a:buClr>
                <a:schemeClr val="tx1"/>
              </a:buClr>
              <a:buFont typeface="Arial" panose="020B0604020202020204" pitchFamily="34" charset="0"/>
              <a:buChar char="•"/>
              <a:defRPr sz="1400"/>
            </a:lvl5pPr>
            <a:lvl6pPr marL="803275" indent="-111125">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49438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381000"/>
            <a:ext cx="8382001" cy="5715001"/>
          </a:xfrm>
        </p:spPr>
        <p:txBody>
          <a:bodyPr tIns="0"/>
          <a:lstStyle>
            <a:lvl1pPr>
              <a:lnSpc>
                <a:spcPct val="80000"/>
              </a:lnSpc>
              <a:defRPr sz="6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10" name="Rectangle 23"/>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bg1"/>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3332188935"/>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accent4"/>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10449518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381000"/>
            <a:ext cx="5372101" cy="5715000"/>
          </a:xfrm>
        </p:spPr>
        <p:txBody>
          <a:bodyPr/>
          <a:lstStyle>
            <a:lvl1pPr>
              <a:defRPr sz="28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rstGeom prst="rect">
            <a:avLst/>
          </a:prstGeo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lvl1pPr>
              <a:defRPr>
                <a:solidFill>
                  <a:schemeClr val="bg1"/>
                </a:solidFill>
              </a:defRPr>
            </a:lvl1p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796907602"/>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55C4FA61-8681-4CCE-A300-954C39210D10}"/>
              </a:ext>
            </a:extLst>
          </p:cNvPr>
          <p:cNvSpPr>
            <a:spLocks noGrp="1"/>
          </p:cNvSpPr>
          <p:nvPr>
            <p:ph type="body" sz="quarter" idx="17"/>
          </p:nvPr>
        </p:nvSpPr>
        <p:spPr>
          <a:xfrm>
            <a:off x="495300" y="1181100"/>
            <a:ext cx="112014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5972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Text Placeholder 6">
            <a:extLst>
              <a:ext uri="{FF2B5EF4-FFF2-40B4-BE49-F238E27FC236}">
                <a16:creationId xmlns:a16="http://schemas.microsoft.com/office/drawing/2014/main" id="{B18EA922-C92C-4AFE-8F8C-4C6FC6A3E54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B7B0E1F4-2F4A-4068-9412-42703EFEC144}"/>
              </a:ext>
            </a:extLst>
          </p:cNvPr>
          <p:cNvSpPr>
            <a:spLocks noGrp="1"/>
          </p:cNvSpPr>
          <p:nvPr>
            <p:ph type="body" sz="quarter" idx="17"/>
          </p:nvPr>
        </p:nvSpPr>
        <p:spPr>
          <a:xfrm>
            <a:off x="495301" y="1181099"/>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D59105BE-9443-4DB5-8A79-68A2799BA0DB}"/>
              </a:ext>
            </a:extLst>
          </p:cNvPr>
          <p:cNvSpPr>
            <a:spLocks noGrp="1"/>
          </p:cNvSpPr>
          <p:nvPr>
            <p:ph type="body" sz="quarter" idx="18"/>
          </p:nvPr>
        </p:nvSpPr>
        <p:spPr>
          <a:xfrm>
            <a:off x="6324599" y="1181099"/>
            <a:ext cx="5372103"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991390"/>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663440"/>
          </a:xfrm>
          <a:prstGeom prst="rect">
            <a:avLst/>
          </a:prstGeom>
          <a:pattFill prst="wdUpDiag">
            <a:fgClr>
              <a:schemeClr val="bg2"/>
            </a:fgClr>
            <a:bgClr>
              <a:schemeClr val="bg1"/>
            </a:bgClr>
          </a:pattFill>
        </p:spPr>
        <p:txBody>
          <a:bodyPr/>
          <a:lstStyle/>
          <a:p>
            <a:r>
              <a:rPr lang="en-US"/>
              <a:t>Click icon to add picture</a:t>
            </a:r>
          </a:p>
        </p:txBody>
      </p:sp>
      <p:sp>
        <p:nvSpPr>
          <p:cNvPr id="8" name="Text Placeholder 6">
            <a:extLst>
              <a:ext uri="{FF2B5EF4-FFF2-40B4-BE49-F238E27FC236}">
                <a16:creationId xmlns:a16="http://schemas.microsoft.com/office/drawing/2014/main" id="{D2EAEDD0-A35F-4B38-8359-296A2F6F6F1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084EA13-0694-4C7A-AC48-6F77F1D7C54B}"/>
              </a:ext>
            </a:extLst>
          </p:cNvPr>
          <p:cNvSpPr>
            <a:spLocks noGrp="1"/>
          </p:cNvSpPr>
          <p:nvPr>
            <p:ph type="body" sz="quarter" idx="17"/>
          </p:nvPr>
        </p:nvSpPr>
        <p:spPr>
          <a:xfrm>
            <a:off x="495301" y="1181100"/>
            <a:ext cx="5372100" cy="4663440"/>
          </a:xfrm>
        </p:spPr>
        <p:txBody>
          <a:bodyPr lIns="0" tIns="0" rIns="0" bIns="0"/>
          <a:lstStyle>
            <a:lvl2pPr>
              <a:buClrTx/>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960421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Text Placeholder 6">
            <a:extLst>
              <a:ext uri="{FF2B5EF4-FFF2-40B4-BE49-F238E27FC236}">
                <a16:creationId xmlns:a16="http://schemas.microsoft.com/office/drawing/2014/main" id="{CEA0B76E-0CE5-48CC-9380-74748B7F2F08}"/>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832488D-0F0D-4E7C-8B6F-6772CE07490B}"/>
              </a:ext>
            </a:extLst>
          </p:cNvPr>
          <p:cNvSpPr>
            <a:spLocks noGrp="1"/>
          </p:cNvSpPr>
          <p:nvPr>
            <p:ph type="body" sz="quarter" idx="19"/>
          </p:nvPr>
        </p:nvSpPr>
        <p:spPr>
          <a:xfrm>
            <a:off x="495301" y="3886386"/>
            <a:ext cx="5372100" cy="201168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BD6CF0C4-FB27-428A-A446-FCA838725E8E}"/>
              </a:ext>
            </a:extLst>
          </p:cNvPr>
          <p:cNvSpPr>
            <a:spLocks noGrp="1"/>
          </p:cNvSpPr>
          <p:nvPr>
            <p:ph type="body" sz="quarter" idx="20"/>
          </p:nvPr>
        </p:nvSpPr>
        <p:spPr>
          <a:xfrm>
            <a:off x="6324603" y="3886201"/>
            <a:ext cx="5372100" cy="201168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638408"/>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guide id="4" orient="horz" pos="2448">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Text Placeholder 6">
            <a:extLst>
              <a:ext uri="{FF2B5EF4-FFF2-40B4-BE49-F238E27FC236}">
                <a16:creationId xmlns:a16="http://schemas.microsoft.com/office/drawing/2014/main" id="{CEA0B76E-0CE5-48CC-9380-74748B7F2F08}"/>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832488D-0F0D-4E7C-8B6F-6772CE07490B}"/>
              </a:ext>
            </a:extLst>
          </p:cNvPr>
          <p:cNvSpPr>
            <a:spLocks noGrp="1"/>
          </p:cNvSpPr>
          <p:nvPr>
            <p:ph type="body" sz="quarter" idx="19" hasCustomPrompt="1"/>
          </p:nvPr>
        </p:nvSpPr>
        <p:spPr>
          <a:xfrm>
            <a:off x="495301" y="3886386"/>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BD6CF0C4-FB27-428A-A446-FCA838725E8E}"/>
              </a:ext>
            </a:extLst>
          </p:cNvPr>
          <p:cNvSpPr>
            <a:spLocks noGrp="1"/>
          </p:cNvSpPr>
          <p:nvPr>
            <p:ph type="body" sz="quarter" idx="20" hasCustomPrompt="1"/>
          </p:nvPr>
        </p:nvSpPr>
        <p:spPr>
          <a:xfrm>
            <a:off x="6324603" y="3886201"/>
            <a:ext cx="5372100" cy="2011681"/>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211295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6">
            <a:extLst>
              <a:ext uri="{FF2B5EF4-FFF2-40B4-BE49-F238E27FC236}">
                <a16:creationId xmlns:a16="http://schemas.microsoft.com/office/drawing/2014/main" id="{81E721B0-CDAF-44F4-8423-069EE7EBA5D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1882DBD-7CE6-4E67-BE21-CF2EA9B8F066}"/>
              </a:ext>
            </a:extLst>
          </p:cNvPr>
          <p:cNvSpPr>
            <a:spLocks noGrp="1"/>
          </p:cNvSpPr>
          <p:nvPr>
            <p:ph type="body" sz="quarter" idx="17"/>
          </p:nvPr>
        </p:nvSpPr>
        <p:spPr>
          <a:xfrm>
            <a:off x="49530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68F25FA-7AB1-4485-8A29-0B13307C9FD7}"/>
              </a:ext>
            </a:extLst>
          </p:cNvPr>
          <p:cNvSpPr>
            <a:spLocks noGrp="1"/>
          </p:cNvSpPr>
          <p:nvPr>
            <p:ph type="body" sz="quarter" idx="18"/>
          </p:nvPr>
        </p:nvSpPr>
        <p:spPr>
          <a:xfrm>
            <a:off x="433254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D3C024F-607B-4696-868C-7A179354EF36}"/>
              </a:ext>
            </a:extLst>
          </p:cNvPr>
          <p:cNvSpPr>
            <a:spLocks noGrp="1"/>
          </p:cNvSpPr>
          <p:nvPr>
            <p:ph type="body" sz="quarter" idx="19"/>
          </p:nvPr>
        </p:nvSpPr>
        <p:spPr>
          <a:xfrm>
            <a:off x="816978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540005"/>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3" name="Text Placeholder 6">
            <a:extLst>
              <a:ext uri="{FF2B5EF4-FFF2-40B4-BE49-F238E27FC236}">
                <a16:creationId xmlns:a16="http://schemas.microsoft.com/office/drawing/2014/main" id="{74201712-F7BB-4A99-8BB4-2F3A4AA5E7A1}"/>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36CA5848-1E3E-484D-A8BA-488AE247A918}"/>
              </a:ext>
            </a:extLst>
          </p:cNvPr>
          <p:cNvSpPr>
            <a:spLocks noGrp="1"/>
          </p:cNvSpPr>
          <p:nvPr>
            <p:ph type="body" sz="quarter" idx="19"/>
          </p:nvPr>
        </p:nvSpPr>
        <p:spPr>
          <a:xfrm>
            <a:off x="4953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50D1185B-DC9F-45EC-924C-400E3CCFF5E5}"/>
              </a:ext>
            </a:extLst>
          </p:cNvPr>
          <p:cNvSpPr>
            <a:spLocks noGrp="1"/>
          </p:cNvSpPr>
          <p:nvPr>
            <p:ph type="body" sz="quarter" idx="20"/>
          </p:nvPr>
        </p:nvSpPr>
        <p:spPr>
          <a:xfrm>
            <a:off x="4381535"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5CAB71A9-D925-4753-A467-93464FB52243}"/>
              </a:ext>
            </a:extLst>
          </p:cNvPr>
          <p:cNvSpPr>
            <a:spLocks noGrp="1"/>
          </p:cNvSpPr>
          <p:nvPr>
            <p:ph type="body" sz="quarter" idx="21"/>
          </p:nvPr>
        </p:nvSpPr>
        <p:spPr>
          <a:xfrm>
            <a:off x="82677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248163"/>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ext Placeholder 6">
            <a:extLst>
              <a:ext uri="{FF2B5EF4-FFF2-40B4-BE49-F238E27FC236}">
                <a16:creationId xmlns:a16="http://schemas.microsoft.com/office/drawing/2014/main" id="{97920842-F4A1-466C-8CAC-F232F8B1E21C}"/>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23D6088-971D-4AD9-A3B9-7C31EC559063}"/>
              </a:ext>
            </a:extLst>
          </p:cNvPr>
          <p:cNvSpPr>
            <a:spLocks noGrp="1"/>
          </p:cNvSpPr>
          <p:nvPr>
            <p:ph type="body" sz="quarter" idx="19"/>
          </p:nvPr>
        </p:nvSpPr>
        <p:spPr>
          <a:xfrm>
            <a:off x="495300"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10E3C9ED-4574-4EA1-BF6A-8AC71C5DC917}"/>
              </a:ext>
            </a:extLst>
          </p:cNvPr>
          <p:cNvSpPr>
            <a:spLocks noGrp="1"/>
          </p:cNvSpPr>
          <p:nvPr>
            <p:ph type="body" sz="quarter" idx="20"/>
          </p:nvPr>
        </p:nvSpPr>
        <p:spPr>
          <a:xfrm>
            <a:off x="3376302"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44A3A4B2-BE5E-4259-ADCF-7B4B87BE0210}"/>
              </a:ext>
            </a:extLst>
          </p:cNvPr>
          <p:cNvSpPr>
            <a:spLocks noGrp="1"/>
          </p:cNvSpPr>
          <p:nvPr>
            <p:ph type="body" sz="quarter" idx="21"/>
          </p:nvPr>
        </p:nvSpPr>
        <p:spPr>
          <a:xfrm>
            <a:off x="6257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
            <a:extLst>
              <a:ext uri="{FF2B5EF4-FFF2-40B4-BE49-F238E27FC236}">
                <a16:creationId xmlns:a16="http://schemas.microsoft.com/office/drawing/2014/main" id="{DB55C525-D748-4F1F-B00C-0161C1846846}"/>
              </a:ext>
            </a:extLst>
          </p:cNvPr>
          <p:cNvSpPr>
            <a:spLocks noGrp="1"/>
          </p:cNvSpPr>
          <p:nvPr>
            <p:ph type="body" sz="quarter" idx="22"/>
          </p:nvPr>
        </p:nvSpPr>
        <p:spPr>
          <a:xfrm>
            <a:off x="9138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014554"/>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0714819"/>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6E91B017-4E2A-4A38-92DF-E15E85281DA9}"/>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661A302C-F620-47F3-89B7-1FC2A196FEC3}"/>
              </a:ext>
            </a:extLst>
          </p:cNvPr>
          <p:cNvSpPr>
            <a:spLocks noGrp="1"/>
          </p:cNvSpPr>
          <p:nvPr>
            <p:ph type="body" sz="quarter" idx="17"/>
          </p:nvPr>
        </p:nvSpPr>
        <p:spPr>
          <a:xfrm>
            <a:off x="495301"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29DF399D-538E-4A44-8F38-C4CDD177DEF3}"/>
              </a:ext>
            </a:extLst>
          </p:cNvPr>
          <p:cNvSpPr>
            <a:spLocks noGrp="1"/>
          </p:cNvSpPr>
          <p:nvPr>
            <p:ph type="body" sz="quarter" idx="18"/>
          </p:nvPr>
        </p:nvSpPr>
        <p:spPr>
          <a:xfrm>
            <a:off x="6324599"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32C32CA4-A646-4DB1-98A0-21DB79D58DC2}"/>
              </a:ext>
            </a:extLst>
          </p:cNvPr>
          <p:cNvSpPr>
            <a:spLocks noGrp="1"/>
          </p:cNvSpPr>
          <p:nvPr>
            <p:ph type="body" sz="quarter" idx="19"/>
          </p:nvPr>
        </p:nvSpPr>
        <p:spPr>
          <a:xfrm>
            <a:off x="495301"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D268984-FD8E-4787-89BD-2B962BD2695F}"/>
              </a:ext>
            </a:extLst>
          </p:cNvPr>
          <p:cNvSpPr>
            <a:spLocks noGrp="1"/>
          </p:cNvSpPr>
          <p:nvPr>
            <p:ph type="body" sz="quarter" idx="20"/>
          </p:nvPr>
        </p:nvSpPr>
        <p:spPr>
          <a:xfrm>
            <a:off x="6324599"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7209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ext Placeholder 6">
            <a:extLst>
              <a:ext uri="{FF2B5EF4-FFF2-40B4-BE49-F238E27FC236}">
                <a16:creationId xmlns:a16="http://schemas.microsoft.com/office/drawing/2014/main" id="{1AC9AF1B-77C9-4194-9346-57C0BA353963}"/>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69489785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ext Placeholder 6">
            <a:extLst>
              <a:ext uri="{FF2B5EF4-FFF2-40B4-BE49-F238E27FC236}">
                <a16:creationId xmlns:a16="http://schemas.microsoft.com/office/drawing/2014/main" id="{EF1BA960-F634-4BFE-B468-887287A86BD1}"/>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256538562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539E6B73-C7B7-482C-A588-6792D62C7146}"/>
              </a:ext>
            </a:extLst>
          </p:cNvPr>
          <p:cNvSpPr>
            <a:spLocks noGrp="1"/>
          </p:cNvSpPr>
          <p:nvPr>
            <p:ph type="body" sz="quarter" idx="13"/>
          </p:nvPr>
        </p:nvSpPr>
        <p:spPr>
          <a:xfrm>
            <a:off x="495300" y="1181100"/>
            <a:ext cx="112014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25864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55568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Text Placeholder 6">
            <a:extLst>
              <a:ext uri="{FF2B5EF4-FFF2-40B4-BE49-F238E27FC236}">
                <a16:creationId xmlns:a16="http://schemas.microsoft.com/office/drawing/2014/main" id="{81E721B0-CDAF-44F4-8423-069EE7EBA5D6}"/>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71882DBD-7CE6-4E67-BE21-CF2EA9B8F066}"/>
              </a:ext>
            </a:extLst>
          </p:cNvPr>
          <p:cNvSpPr>
            <a:spLocks noGrp="1"/>
          </p:cNvSpPr>
          <p:nvPr>
            <p:ph type="body" sz="quarter" idx="17"/>
          </p:nvPr>
        </p:nvSpPr>
        <p:spPr>
          <a:xfrm>
            <a:off x="49530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68F25FA-7AB1-4485-8A29-0B13307C9FD7}"/>
              </a:ext>
            </a:extLst>
          </p:cNvPr>
          <p:cNvSpPr>
            <a:spLocks noGrp="1"/>
          </p:cNvSpPr>
          <p:nvPr>
            <p:ph type="body" sz="quarter" idx="18"/>
          </p:nvPr>
        </p:nvSpPr>
        <p:spPr>
          <a:xfrm>
            <a:off x="433254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D3C024F-607B-4696-868C-7A179354EF36}"/>
              </a:ext>
            </a:extLst>
          </p:cNvPr>
          <p:cNvSpPr>
            <a:spLocks noGrp="1"/>
          </p:cNvSpPr>
          <p:nvPr>
            <p:ph type="body" sz="quarter" idx="19"/>
          </p:nvPr>
        </p:nvSpPr>
        <p:spPr>
          <a:xfrm>
            <a:off x="8169781" y="1181101"/>
            <a:ext cx="3526920" cy="466343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940472"/>
      </p:ext>
    </p:extLst>
  </p:cSld>
  <p:clrMapOvr>
    <a:masterClrMapping/>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81741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2A529F3F-4A1B-4316-A963-B7F0BCB9C790}"/>
              </a:ext>
            </a:extLst>
          </p:cNvPr>
          <p:cNvSpPr>
            <a:spLocks noGrp="1"/>
          </p:cNvSpPr>
          <p:nvPr>
            <p:ph type="body" sz="quarter" idx="18"/>
          </p:nvPr>
        </p:nvSpPr>
        <p:spPr>
          <a:xfrm>
            <a:off x="495301"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91B3B3EA-46C5-4F3C-A05C-1E65859A6A10}"/>
              </a:ext>
            </a:extLst>
          </p:cNvPr>
          <p:cNvSpPr>
            <a:spLocks noGrp="1"/>
          </p:cNvSpPr>
          <p:nvPr>
            <p:ph type="body" sz="quarter" idx="19"/>
          </p:nvPr>
        </p:nvSpPr>
        <p:spPr>
          <a:xfrm>
            <a:off x="6324599" y="3886200"/>
            <a:ext cx="5372100" cy="22098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44455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BE4070D-4D68-4B0E-99D3-56723F6E22E4}"/>
              </a:ext>
            </a:extLst>
          </p:cNvPr>
          <p:cNvSpPr>
            <a:spLocks noGrp="1"/>
          </p:cNvSpPr>
          <p:nvPr>
            <p:ph type="body" sz="quarter" idx="13"/>
          </p:nvPr>
        </p:nvSpPr>
        <p:spPr>
          <a:xfrm>
            <a:off x="495301"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9C44DBD4-130D-4000-BE4C-130497236B92}"/>
              </a:ext>
            </a:extLst>
          </p:cNvPr>
          <p:cNvSpPr>
            <a:spLocks noGrp="1"/>
          </p:cNvSpPr>
          <p:nvPr>
            <p:ph type="body" sz="quarter" idx="14"/>
          </p:nvPr>
        </p:nvSpPr>
        <p:spPr>
          <a:xfrm>
            <a:off x="4343934"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838848C-2E86-47CF-AB76-7C3F5555DEE5}"/>
              </a:ext>
            </a:extLst>
          </p:cNvPr>
          <p:cNvSpPr>
            <a:spLocks noGrp="1"/>
          </p:cNvSpPr>
          <p:nvPr>
            <p:ph type="body" sz="quarter" idx="15"/>
          </p:nvPr>
        </p:nvSpPr>
        <p:spPr>
          <a:xfrm>
            <a:off x="8192570"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3088111"/>
      </p:ext>
    </p:extLst>
  </p:cSld>
  <p:clrMapOvr>
    <a:masterClrMapping/>
  </p:clrMapOvr>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9" name="Text Placeholder 8">
            <a:extLst>
              <a:ext uri="{FF2B5EF4-FFF2-40B4-BE49-F238E27FC236}">
                <a16:creationId xmlns:a16="http://schemas.microsoft.com/office/drawing/2014/main" id="{04E0D5FF-A12A-4A26-8652-14F08C1690F1}"/>
              </a:ext>
            </a:extLst>
          </p:cNvPr>
          <p:cNvSpPr>
            <a:spLocks noGrp="1"/>
          </p:cNvSpPr>
          <p:nvPr>
            <p:ph type="body" sz="quarter" idx="18"/>
          </p:nvPr>
        </p:nvSpPr>
        <p:spPr>
          <a:xfrm>
            <a:off x="4953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3130903-25B6-495D-9F9B-EE0D7C541CF6}"/>
              </a:ext>
            </a:extLst>
          </p:cNvPr>
          <p:cNvSpPr>
            <a:spLocks noGrp="1"/>
          </p:cNvSpPr>
          <p:nvPr>
            <p:ph type="body" sz="quarter" idx="19"/>
          </p:nvPr>
        </p:nvSpPr>
        <p:spPr>
          <a:xfrm>
            <a:off x="43815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A4F72656-28AE-4BD6-A453-E95CEC3845E5}"/>
              </a:ext>
            </a:extLst>
          </p:cNvPr>
          <p:cNvSpPr>
            <a:spLocks noGrp="1"/>
          </p:cNvSpPr>
          <p:nvPr>
            <p:ph type="body" sz="quarter" idx="20"/>
          </p:nvPr>
        </p:nvSpPr>
        <p:spPr>
          <a:xfrm>
            <a:off x="82677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5649255"/>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EA572FC-49A0-4A00-91C9-26DE09B2A376}"/>
              </a:ext>
            </a:extLst>
          </p:cNvPr>
          <p:cNvSpPr>
            <a:spLocks noGrp="1"/>
          </p:cNvSpPr>
          <p:nvPr>
            <p:ph type="body" sz="quarter" idx="13"/>
          </p:nvPr>
        </p:nvSpPr>
        <p:spPr>
          <a:xfrm>
            <a:off x="49530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36FCFF6-1D52-41AB-92CC-81BB0E2D3BFE}"/>
              </a:ext>
            </a:extLst>
          </p:cNvPr>
          <p:cNvSpPr>
            <a:spLocks noGrp="1"/>
          </p:cNvSpPr>
          <p:nvPr>
            <p:ph type="body" sz="quarter" idx="14"/>
          </p:nvPr>
        </p:nvSpPr>
        <p:spPr>
          <a:xfrm>
            <a:off x="333832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495DB9-D632-4C9E-BC1B-C5E4627F2F6A}"/>
              </a:ext>
            </a:extLst>
          </p:cNvPr>
          <p:cNvSpPr>
            <a:spLocks noGrp="1"/>
          </p:cNvSpPr>
          <p:nvPr>
            <p:ph type="body" sz="quarter" idx="15"/>
          </p:nvPr>
        </p:nvSpPr>
        <p:spPr>
          <a:xfrm>
            <a:off x="618134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F89E66F3-24F9-4E52-BED5-06D3929B0034}"/>
              </a:ext>
            </a:extLst>
          </p:cNvPr>
          <p:cNvSpPr>
            <a:spLocks noGrp="1"/>
          </p:cNvSpPr>
          <p:nvPr>
            <p:ph type="body" sz="quarter" idx="16"/>
          </p:nvPr>
        </p:nvSpPr>
        <p:spPr>
          <a:xfrm>
            <a:off x="9024362"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6300241"/>
      </p:ext>
    </p:extLst>
  </p:cSld>
  <p:clrMapOvr>
    <a:masterClrMapping/>
  </p:clrMapOvr>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58F2FC03-71CF-4FB1-8012-40F6458F3246}"/>
              </a:ext>
            </a:extLst>
          </p:cNvPr>
          <p:cNvSpPr>
            <a:spLocks noGrp="1"/>
          </p:cNvSpPr>
          <p:nvPr>
            <p:ph type="body" sz="quarter" idx="20"/>
          </p:nvPr>
        </p:nvSpPr>
        <p:spPr>
          <a:xfrm>
            <a:off x="495301"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BF1FD01D-2E17-4D6F-862B-EAB2FE451BC5}"/>
              </a:ext>
            </a:extLst>
          </p:cNvPr>
          <p:cNvSpPr>
            <a:spLocks noGrp="1"/>
          </p:cNvSpPr>
          <p:nvPr>
            <p:ph type="body" sz="quarter" idx="21"/>
          </p:nvPr>
        </p:nvSpPr>
        <p:spPr>
          <a:xfrm>
            <a:off x="3409407"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527D457A-2050-465F-9F98-78757B33D082}"/>
              </a:ext>
            </a:extLst>
          </p:cNvPr>
          <p:cNvSpPr>
            <a:spLocks noGrp="1"/>
          </p:cNvSpPr>
          <p:nvPr>
            <p:ph type="body" sz="quarter" idx="22"/>
          </p:nvPr>
        </p:nvSpPr>
        <p:spPr>
          <a:xfrm>
            <a:off x="6323030"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410D5E3D-BE05-4F33-9E34-8B0B639BB166}"/>
              </a:ext>
            </a:extLst>
          </p:cNvPr>
          <p:cNvSpPr>
            <a:spLocks noGrp="1"/>
          </p:cNvSpPr>
          <p:nvPr>
            <p:ph type="body" sz="quarter" idx="23"/>
          </p:nvPr>
        </p:nvSpPr>
        <p:spPr>
          <a:xfrm>
            <a:off x="9236585"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9606577"/>
      </p:ext>
    </p:extLst>
  </p:cSld>
  <p:clrMapOvr>
    <a:masterClrMapping/>
  </p:clrMapOvr>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8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B200414-C27C-4EAF-8828-8B5D0E90458E}"/>
              </a:ext>
            </a:extLst>
          </p:cNvPr>
          <p:cNvSpPr>
            <a:spLocks noGrp="1"/>
          </p:cNvSpPr>
          <p:nvPr>
            <p:ph type="body" sz="quarter" idx="13"/>
          </p:nvPr>
        </p:nvSpPr>
        <p:spPr>
          <a:xfrm>
            <a:off x="495301"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4D63F576-0CF3-44CC-B07C-B8D4061FBA85}"/>
              </a:ext>
            </a:extLst>
          </p:cNvPr>
          <p:cNvSpPr>
            <a:spLocks noGrp="1"/>
          </p:cNvSpPr>
          <p:nvPr>
            <p:ph type="body" sz="quarter" idx="14"/>
          </p:nvPr>
        </p:nvSpPr>
        <p:spPr>
          <a:xfrm>
            <a:off x="495301"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CF7C5A7-1B5F-4106-AF84-D9162AE1281A}"/>
              </a:ext>
            </a:extLst>
          </p:cNvPr>
          <p:cNvSpPr>
            <a:spLocks noGrp="1"/>
          </p:cNvSpPr>
          <p:nvPr>
            <p:ph type="body" sz="quarter" idx="15"/>
          </p:nvPr>
        </p:nvSpPr>
        <p:spPr>
          <a:xfrm>
            <a:off x="6324600" y="1181100"/>
            <a:ext cx="5372099" cy="2247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44E274C7-1613-423E-BB7B-522987CD1460}"/>
              </a:ext>
            </a:extLst>
          </p:cNvPr>
          <p:cNvSpPr>
            <a:spLocks noGrp="1"/>
          </p:cNvSpPr>
          <p:nvPr>
            <p:ph type="body" sz="quarter" idx="16"/>
          </p:nvPr>
        </p:nvSpPr>
        <p:spPr>
          <a:xfrm>
            <a:off x="6324600" y="3657600"/>
            <a:ext cx="5372099" cy="2438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34821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8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63208253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r>
              <a:rPr lang="en-US"/>
              <a:t>Footer, Arial Bold 8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96442331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1" y="2978965"/>
            <a:ext cx="3159659" cy="914400"/>
          </a:xfrm>
          <a:prstGeom prst="rect">
            <a:avLst/>
          </a:prstGeom>
          <a:noFill/>
        </p:spPr>
        <p:txBody>
          <a:bodyPr wrap="none" lIns="0" tIns="0" rIns="0" bIns="0" rtlCol="0" anchor="ctr">
            <a:noAutofit/>
          </a:bodyPr>
          <a:lstStyle/>
          <a:p>
            <a:pPr algn="ctr"/>
            <a:r>
              <a:rPr lang="en-US" sz="4950" b="1">
                <a:solidFill>
                  <a:schemeClr val="bg1"/>
                </a:solidFill>
                <a:latin typeface="+mj-lt"/>
              </a:rPr>
              <a:t>END OF THE TEMPLATE</a:t>
            </a:r>
          </a:p>
        </p:txBody>
      </p:sp>
    </p:spTree>
    <p:extLst>
      <p:ext uri="{BB962C8B-B14F-4D97-AF65-F5344CB8AC3E}">
        <p14:creationId xmlns:p14="http://schemas.microsoft.com/office/powerpoint/2010/main" val="28307575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3" name="Text Placeholder 6">
            <a:extLst>
              <a:ext uri="{FF2B5EF4-FFF2-40B4-BE49-F238E27FC236}">
                <a16:creationId xmlns:a16="http://schemas.microsoft.com/office/drawing/2014/main" id="{74201712-F7BB-4A99-8BB4-2F3A4AA5E7A1}"/>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36CA5848-1E3E-484D-A8BA-488AE247A918}"/>
              </a:ext>
            </a:extLst>
          </p:cNvPr>
          <p:cNvSpPr>
            <a:spLocks noGrp="1"/>
          </p:cNvSpPr>
          <p:nvPr>
            <p:ph type="body" sz="quarter" idx="19"/>
          </p:nvPr>
        </p:nvSpPr>
        <p:spPr>
          <a:xfrm>
            <a:off x="4953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50D1185B-DC9F-45EC-924C-400E3CCFF5E5}"/>
              </a:ext>
            </a:extLst>
          </p:cNvPr>
          <p:cNvSpPr>
            <a:spLocks noGrp="1"/>
          </p:cNvSpPr>
          <p:nvPr>
            <p:ph type="body" sz="quarter" idx="20"/>
          </p:nvPr>
        </p:nvSpPr>
        <p:spPr>
          <a:xfrm>
            <a:off x="4381535"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5CAB71A9-D925-4753-A467-93464FB52243}"/>
              </a:ext>
            </a:extLst>
          </p:cNvPr>
          <p:cNvSpPr>
            <a:spLocks noGrp="1"/>
          </p:cNvSpPr>
          <p:nvPr>
            <p:ph type="body" sz="quarter" idx="21"/>
          </p:nvPr>
        </p:nvSpPr>
        <p:spPr>
          <a:xfrm>
            <a:off x="8267700" y="3886200"/>
            <a:ext cx="3429000" cy="2070100"/>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21282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94E83-83A8-15A0-FBE6-9EF9933F4F3F}"/>
              </a:ext>
            </a:extLst>
          </p:cNvPr>
          <p:cNvSpPr>
            <a:spLocks noGrp="1"/>
          </p:cNvSpPr>
          <p:nvPr>
            <p:ph type="title" hasCustomPrompt="1"/>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8968959-4A75-A7AC-ACF5-B7AD1073C499}"/>
              </a:ext>
            </a:extLst>
          </p:cNvPr>
          <p:cNvSpPr>
            <a:spLocks noGrp="1"/>
          </p:cNvSpPr>
          <p:nvPr>
            <p:ph type="sldNum" sz="quarter" idx="10"/>
          </p:nvPr>
        </p:nvSpPr>
        <p:spPr/>
        <p:txBody>
          <a:bodyPr/>
          <a:lstStyle/>
          <a:p>
            <a:fld id="{BA66E354-A1E5-D643-A18C-204373C670DA}" type="slidenum">
              <a:rPr lang="en-US" smtClean="0"/>
              <a:pPr/>
              <a:t>‹#›</a:t>
            </a:fld>
            <a:endParaRPr lang="en-US"/>
          </a:p>
        </p:txBody>
      </p:sp>
      <p:sp>
        <p:nvSpPr>
          <p:cNvPr id="5" name="Text Placeholder 4">
            <a:extLst>
              <a:ext uri="{FF2B5EF4-FFF2-40B4-BE49-F238E27FC236}">
                <a16:creationId xmlns:a16="http://schemas.microsoft.com/office/drawing/2014/main" id="{762713B1-11F7-A9B6-75B6-676AAEC8AD54}"/>
              </a:ext>
            </a:extLst>
          </p:cNvPr>
          <p:cNvSpPr>
            <a:spLocks noGrp="1"/>
          </p:cNvSpPr>
          <p:nvPr>
            <p:ph type="body" sz="quarter" idx="11"/>
          </p:nvPr>
        </p:nvSpPr>
        <p:spPr>
          <a:xfrm>
            <a:off x="650875" y="1809750"/>
            <a:ext cx="10890250" cy="3878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930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6" name="Text Placeholder 6">
            <a:extLst>
              <a:ext uri="{FF2B5EF4-FFF2-40B4-BE49-F238E27FC236}">
                <a16:creationId xmlns:a16="http://schemas.microsoft.com/office/drawing/2014/main" id="{97920842-F4A1-466C-8CAC-F232F8B1E21C}"/>
              </a:ext>
            </a:extLst>
          </p:cNvPr>
          <p:cNvSpPr>
            <a:spLocks noGrp="1" noChangeAspect="1"/>
          </p:cNvSpPr>
          <p:nvPr>
            <p:ph type="body" sz="quarter" idx="18"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423D6088-971D-4AD9-A3B9-7C31EC559063}"/>
              </a:ext>
            </a:extLst>
          </p:cNvPr>
          <p:cNvSpPr>
            <a:spLocks noGrp="1"/>
          </p:cNvSpPr>
          <p:nvPr>
            <p:ph type="body" sz="quarter" idx="19"/>
          </p:nvPr>
        </p:nvSpPr>
        <p:spPr>
          <a:xfrm>
            <a:off x="495300"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10E3C9ED-4574-4EA1-BF6A-8AC71C5DC917}"/>
              </a:ext>
            </a:extLst>
          </p:cNvPr>
          <p:cNvSpPr>
            <a:spLocks noGrp="1"/>
          </p:cNvSpPr>
          <p:nvPr>
            <p:ph type="body" sz="quarter" idx="20"/>
          </p:nvPr>
        </p:nvSpPr>
        <p:spPr>
          <a:xfrm>
            <a:off x="3376302"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44A3A4B2-BE5E-4259-ADCF-7B4B87BE0210}"/>
              </a:ext>
            </a:extLst>
          </p:cNvPr>
          <p:cNvSpPr>
            <a:spLocks noGrp="1"/>
          </p:cNvSpPr>
          <p:nvPr>
            <p:ph type="body" sz="quarter" idx="21"/>
          </p:nvPr>
        </p:nvSpPr>
        <p:spPr>
          <a:xfrm>
            <a:off x="6257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
            <a:extLst>
              <a:ext uri="{FF2B5EF4-FFF2-40B4-BE49-F238E27FC236}">
                <a16:creationId xmlns:a16="http://schemas.microsoft.com/office/drawing/2014/main" id="{DB55C525-D748-4F1F-B00C-0161C1846846}"/>
              </a:ext>
            </a:extLst>
          </p:cNvPr>
          <p:cNvSpPr>
            <a:spLocks noGrp="1"/>
          </p:cNvSpPr>
          <p:nvPr>
            <p:ph type="body" sz="quarter" idx="22"/>
          </p:nvPr>
        </p:nvSpPr>
        <p:spPr>
          <a:xfrm>
            <a:off x="9138303" y="1181100"/>
            <a:ext cx="2558397" cy="466344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404434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6" name="Text Placeholder 6">
            <a:extLst>
              <a:ext uri="{FF2B5EF4-FFF2-40B4-BE49-F238E27FC236}">
                <a16:creationId xmlns:a16="http://schemas.microsoft.com/office/drawing/2014/main" id="{5AFD6C4D-50E1-45BF-B2ED-0A9FFDEAE4C0}"/>
              </a:ext>
            </a:extLst>
          </p:cNvPr>
          <p:cNvSpPr>
            <a:spLocks noGrp="1" noChangeAspect="1"/>
          </p:cNvSpPr>
          <p:nvPr>
            <p:ph type="body" sz="quarter" idx="20"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0F51EC41-342E-4D02-9FFF-C5D4DEB2EEEA}"/>
              </a:ext>
            </a:extLst>
          </p:cNvPr>
          <p:cNvSpPr>
            <a:spLocks noGrp="1"/>
          </p:cNvSpPr>
          <p:nvPr>
            <p:ph type="body" sz="quarter" idx="21"/>
          </p:nvPr>
        </p:nvSpPr>
        <p:spPr>
          <a:xfrm>
            <a:off x="495301"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047C2A36-7590-4740-94C1-01EC018E9EB3}"/>
              </a:ext>
            </a:extLst>
          </p:cNvPr>
          <p:cNvSpPr>
            <a:spLocks noGrp="1"/>
          </p:cNvSpPr>
          <p:nvPr>
            <p:ph type="body" sz="quarter" idx="22"/>
          </p:nvPr>
        </p:nvSpPr>
        <p:spPr>
          <a:xfrm>
            <a:off x="3409935"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2A9BC169-559C-4F7E-A57E-01F28DA84F56}"/>
              </a:ext>
            </a:extLst>
          </p:cNvPr>
          <p:cNvSpPr>
            <a:spLocks noGrp="1"/>
          </p:cNvSpPr>
          <p:nvPr>
            <p:ph type="body" sz="quarter" idx="23"/>
          </p:nvPr>
        </p:nvSpPr>
        <p:spPr>
          <a:xfrm>
            <a:off x="6322502"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
            <a:extLst>
              <a:ext uri="{FF2B5EF4-FFF2-40B4-BE49-F238E27FC236}">
                <a16:creationId xmlns:a16="http://schemas.microsoft.com/office/drawing/2014/main" id="{F3E4D4D8-82E2-4E1B-B1D8-0A481E845E01}"/>
              </a:ext>
            </a:extLst>
          </p:cNvPr>
          <p:cNvSpPr>
            <a:spLocks noGrp="1"/>
          </p:cNvSpPr>
          <p:nvPr>
            <p:ph type="body" sz="quarter" idx="24"/>
          </p:nvPr>
        </p:nvSpPr>
        <p:spPr>
          <a:xfrm>
            <a:off x="9235069" y="3657600"/>
            <a:ext cx="2459567" cy="2187575"/>
          </a:xfrm>
        </p:spPr>
        <p:txBody>
          <a:bodyPr lIns="0" tIns="0" rIns="0" bIns="0">
            <a:normAutofit/>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84897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6E91B017-4E2A-4A38-92DF-E15E85281DA9}"/>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4" name="Text Placeholder 3">
            <a:extLst>
              <a:ext uri="{FF2B5EF4-FFF2-40B4-BE49-F238E27FC236}">
                <a16:creationId xmlns:a16="http://schemas.microsoft.com/office/drawing/2014/main" id="{661A302C-F620-47F3-89B7-1FC2A196FEC3}"/>
              </a:ext>
            </a:extLst>
          </p:cNvPr>
          <p:cNvSpPr>
            <a:spLocks noGrp="1"/>
          </p:cNvSpPr>
          <p:nvPr>
            <p:ph type="body" sz="quarter" idx="17"/>
          </p:nvPr>
        </p:nvSpPr>
        <p:spPr>
          <a:xfrm>
            <a:off x="495301"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29DF399D-538E-4A44-8F38-C4CDD177DEF3}"/>
              </a:ext>
            </a:extLst>
          </p:cNvPr>
          <p:cNvSpPr>
            <a:spLocks noGrp="1"/>
          </p:cNvSpPr>
          <p:nvPr>
            <p:ph type="body" sz="quarter" idx="18"/>
          </p:nvPr>
        </p:nvSpPr>
        <p:spPr>
          <a:xfrm>
            <a:off x="6324599" y="1181100"/>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32C32CA4-A646-4DB1-98A0-21DB79D58DC2}"/>
              </a:ext>
            </a:extLst>
          </p:cNvPr>
          <p:cNvSpPr>
            <a:spLocks noGrp="1"/>
          </p:cNvSpPr>
          <p:nvPr>
            <p:ph type="body" sz="quarter" idx="19"/>
          </p:nvPr>
        </p:nvSpPr>
        <p:spPr>
          <a:xfrm>
            <a:off x="495301"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9D268984-FD8E-4787-89BD-2B962BD2695F}"/>
              </a:ext>
            </a:extLst>
          </p:cNvPr>
          <p:cNvSpPr>
            <a:spLocks noGrp="1"/>
          </p:cNvSpPr>
          <p:nvPr>
            <p:ph type="body" sz="quarter" idx="20"/>
          </p:nvPr>
        </p:nvSpPr>
        <p:spPr>
          <a:xfrm>
            <a:off x="6324599" y="3657601"/>
            <a:ext cx="5372099" cy="2247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272823"/>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6" name="Text Placeholder 6">
            <a:extLst>
              <a:ext uri="{FF2B5EF4-FFF2-40B4-BE49-F238E27FC236}">
                <a16:creationId xmlns:a16="http://schemas.microsoft.com/office/drawing/2014/main" id="{1AC9AF1B-77C9-4194-9346-57C0BA353963}"/>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961581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AIL Full Slide Non Technical">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6"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41552690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5" name="Text Placeholder 6">
            <a:extLst>
              <a:ext uri="{FF2B5EF4-FFF2-40B4-BE49-F238E27FC236}">
                <a16:creationId xmlns:a16="http://schemas.microsoft.com/office/drawing/2014/main" id="{EF1BA960-F634-4BFE-B468-887287A86BD1}"/>
              </a:ext>
            </a:extLst>
          </p:cNvPr>
          <p:cNvSpPr>
            <a:spLocks noGrp="1" noChangeAspect="1"/>
          </p:cNvSpPr>
          <p:nvPr>
            <p:ph type="body" sz="quarter" idx="16" hasCustomPrompt="1"/>
          </p:nvPr>
        </p:nvSpPr>
        <p:spPr>
          <a:xfrm>
            <a:off x="-1" y="6096000"/>
            <a:ext cx="12192000" cy="376654"/>
          </a:xfrm>
          <a:prstGeom prst="rect">
            <a:avLst/>
          </a:prstGeom>
          <a:solidFill>
            <a:srgbClr val="DC202E"/>
          </a:solidFill>
        </p:spPr>
        <p:txBody>
          <a:bodyPr lIns="493776" tIns="45720" rIns="493776" bIns="45720" anchor="ctr" anchorCtr="0">
            <a:noAutofit/>
          </a:bodyPr>
          <a:lstStyle>
            <a:lvl1pPr algn="ctr">
              <a:lnSpc>
                <a:spcPct val="90000"/>
              </a:lnSpc>
              <a:spcAft>
                <a:spcPct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8244592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539E6B73-C7B7-482C-A588-6792D62C7146}"/>
              </a:ext>
            </a:extLst>
          </p:cNvPr>
          <p:cNvSpPr>
            <a:spLocks noGrp="1"/>
          </p:cNvSpPr>
          <p:nvPr>
            <p:ph type="body" sz="quarter" idx="13"/>
          </p:nvPr>
        </p:nvSpPr>
        <p:spPr>
          <a:xfrm>
            <a:off x="495300" y="1181100"/>
            <a:ext cx="11201400" cy="4914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0535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C9A3177-5314-4162-AEDA-FD50A4159376}"/>
              </a:ext>
            </a:extLst>
          </p:cNvPr>
          <p:cNvSpPr>
            <a:spLocks noGrp="1"/>
          </p:cNvSpPr>
          <p:nvPr>
            <p:ph type="body" sz="quarter" idx="13"/>
          </p:nvPr>
        </p:nvSpPr>
        <p:spPr>
          <a:xfrm>
            <a:off x="495301" y="1181101"/>
            <a:ext cx="5372100" cy="4914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4FCA8548-4236-4C23-A633-9F2F0E3BC296}"/>
              </a:ext>
            </a:extLst>
          </p:cNvPr>
          <p:cNvSpPr>
            <a:spLocks noGrp="1"/>
          </p:cNvSpPr>
          <p:nvPr>
            <p:ph type="body" sz="quarter" idx="14"/>
          </p:nvPr>
        </p:nvSpPr>
        <p:spPr>
          <a:xfrm>
            <a:off x="6324601" y="1181101"/>
            <a:ext cx="5372100" cy="4914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782667"/>
      </p:ext>
    </p:extLst>
  </p:cSld>
  <p:clrMapOvr>
    <a:masterClrMapping/>
  </p:clrMapOvr>
  <p:extLst>
    <p:ext uri="{DCECCB84-F9BA-43D5-87BE-67443E8EF086}">
      <p15:sldGuideLst xmlns:p15="http://schemas.microsoft.com/office/powerpoint/2012/main">
        <p15:guide id="2" pos="2772">
          <p15:clr>
            <a:srgbClr val="FBAE40"/>
          </p15:clr>
        </p15:guide>
        <p15:guide id="3" pos="29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715461"/>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1" y="1181100"/>
            <a:ext cx="5372100" cy="24765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2A529F3F-4A1B-4316-A963-B7F0BCB9C790}"/>
              </a:ext>
            </a:extLst>
          </p:cNvPr>
          <p:cNvSpPr>
            <a:spLocks noGrp="1"/>
          </p:cNvSpPr>
          <p:nvPr>
            <p:ph type="body" sz="quarter" idx="18"/>
          </p:nvPr>
        </p:nvSpPr>
        <p:spPr>
          <a:xfrm>
            <a:off x="495301" y="3886200"/>
            <a:ext cx="5372100" cy="22098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91B3B3EA-46C5-4F3C-A05C-1E65859A6A10}"/>
              </a:ext>
            </a:extLst>
          </p:cNvPr>
          <p:cNvSpPr>
            <a:spLocks noGrp="1"/>
          </p:cNvSpPr>
          <p:nvPr>
            <p:ph type="body" sz="quarter" idx="19"/>
          </p:nvPr>
        </p:nvSpPr>
        <p:spPr>
          <a:xfrm>
            <a:off x="6324599" y="3886200"/>
            <a:ext cx="5372100" cy="22098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5842008"/>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guide id="4" orient="horz" pos="244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FBE4070D-4D68-4B0E-99D3-56723F6E22E4}"/>
              </a:ext>
            </a:extLst>
          </p:cNvPr>
          <p:cNvSpPr>
            <a:spLocks noGrp="1"/>
          </p:cNvSpPr>
          <p:nvPr>
            <p:ph type="body" sz="quarter" idx="13"/>
          </p:nvPr>
        </p:nvSpPr>
        <p:spPr>
          <a:xfrm>
            <a:off x="495301"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9C44DBD4-130D-4000-BE4C-130497236B92}"/>
              </a:ext>
            </a:extLst>
          </p:cNvPr>
          <p:cNvSpPr>
            <a:spLocks noGrp="1"/>
          </p:cNvSpPr>
          <p:nvPr>
            <p:ph type="body" sz="quarter" idx="14"/>
          </p:nvPr>
        </p:nvSpPr>
        <p:spPr>
          <a:xfrm>
            <a:off x="4343934"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3">
            <a:extLst>
              <a:ext uri="{FF2B5EF4-FFF2-40B4-BE49-F238E27FC236}">
                <a16:creationId xmlns:a16="http://schemas.microsoft.com/office/drawing/2014/main" id="{D838848C-2E86-47CF-AB76-7C3F5555DEE5}"/>
              </a:ext>
            </a:extLst>
          </p:cNvPr>
          <p:cNvSpPr>
            <a:spLocks noGrp="1"/>
          </p:cNvSpPr>
          <p:nvPr>
            <p:ph type="body" sz="quarter" idx="15"/>
          </p:nvPr>
        </p:nvSpPr>
        <p:spPr>
          <a:xfrm>
            <a:off x="8192570" y="1181101"/>
            <a:ext cx="3504132" cy="4914899"/>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961303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5"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181100"/>
            <a:ext cx="3429000" cy="2476500"/>
          </a:xfrm>
          <a:prstGeom prst="rect">
            <a:avLst/>
          </a:prstGeom>
          <a:pattFill prst="wdUpDiag">
            <a:fgClr>
              <a:schemeClr val="bg2"/>
            </a:fgClr>
            <a:bgClr>
              <a:schemeClr val="bg1"/>
            </a:bgClr>
          </a:pattFill>
        </p:spPr>
        <p:txBody>
          <a:bodyPr/>
          <a:lstStyle/>
          <a:p>
            <a:r>
              <a:rPr lang="en-US"/>
              <a:t>Click icon to add picture</a:t>
            </a:r>
          </a:p>
        </p:txBody>
      </p:sp>
      <p:sp>
        <p:nvSpPr>
          <p:cNvPr id="9" name="Text Placeholder 8">
            <a:extLst>
              <a:ext uri="{FF2B5EF4-FFF2-40B4-BE49-F238E27FC236}">
                <a16:creationId xmlns:a16="http://schemas.microsoft.com/office/drawing/2014/main" id="{04E0D5FF-A12A-4A26-8652-14F08C1690F1}"/>
              </a:ext>
            </a:extLst>
          </p:cNvPr>
          <p:cNvSpPr>
            <a:spLocks noGrp="1"/>
          </p:cNvSpPr>
          <p:nvPr>
            <p:ph type="body" sz="quarter" idx="18"/>
          </p:nvPr>
        </p:nvSpPr>
        <p:spPr>
          <a:xfrm>
            <a:off x="4953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3130903-25B6-495D-9F9B-EE0D7C541CF6}"/>
              </a:ext>
            </a:extLst>
          </p:cNvPr>
          <p:cNvSpPr>
            <a:spLocks noGrp="1"/>
          </p:cNvSpPr>
          <p:nvPr>
            <p:ph type="body" sz="quarter" idx="19"/>
          </p:nvPr>
        </p:nvSpPr>
        <p:spPr>
          <a:xfrm>
            <a:off x="43815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A4F72656-28AE-4BD6-A453-E95CEC3845E5}"/>
              </a:ext>
            </a:extLst>
          </p:cNvPr>
          <p:cNvSpPr>
            <a:spLocks noGrp="1"/>
          </p:cNvSpPr>
          <p:nvPr>
            <p:ph type="body" sz="quarter" idx="20"/>
          </p:nvPr>
        </p:nvSpPr>
        <p:spPr>
          <a:xfrm>
            <a:off x="8267700" y="3886200"/>
            <a:ext cx="3429000" cy="22098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606324"/>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EA572FC-49A0-4A00-91C9-26DE09B2A376}"/>
              </a:ext>
            </a:extLst>
          </p:cNvPr>
          <p:cNvSpPr>
            <a:spLocks noGrp="1"/>
          </p:cNvSpPr>
          <p:nvPr>
            <p:ph type="body" sz="quarter" idx="13"/>
          </p:nvPr>
        </p:nvSpPr>
        <p:spPr>
          <a:xfrm>
            <a:off x="49530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36FCFF6-1D52-41AB-92CC-81BB0E2D3BFE}"/>
              </a:ext>
            </a:extLst>
          </p:cNvPr>
          <p:cNvSpPr>
            <a:spLocks noGrp="1"/>
          </p:cNvSpPr>
          <p:nvPr>
            <p:ph type="body" sz="quarter" idx="14"/>
          </p:nvPr>
        </p:nvSpPr>
        <p:spPr>
          <a:xfrm>
            <a:off x="333832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8F495DB9-D632-4C9E-BC1B-C5E4627F2F6A}"/>
              </a:ext>
            </a:extLst>
          </p:cNvPr>
          <p:cNvSpPr>
            <a:spLocks noGrp="1"/>
          </p:cNvSpPr>
          <p:nvPr>
            <p:ph type="body" sz="quarter" idx="15"/>
          </p:nvPr>
        </p:nvSpPr>
        <p:spPr>
          <a:xfrm>
            <a:off x="6181341"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F89E66F3-24F9-4E52-BED5-06D3929B0034}"/>
              </a:ext>
            </a:extLst>
          </p:cNvPr>
          <p:cNvSpPr>
            <a:spLocks noGrp="1"/>
          </p:cNvSpPr>
          <p:nvPr>
            <p:ph type="body" sz="quarter" idx="16"/>
          </p:nvPr>
        </p:nvSpPr>
        <p:spPr>
          <a:xfrm>
            <a:off x="9024362" y="1181100"/>
            <a:ext cx="2672340" cy="4914901"/>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600718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1"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3" y="1181100"/>
            <a:ext cx="2459039" cy="2247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58F2FC03-71CF-4FB1-8012-40F6458F3246}"/>
              </a:ext>
            </a:extLst>
          </p:cNvPr>
          <p:cNvSpPr>
            <a:spLocks noGrp="1"/>
          </p:cNvSpPr>
          <p:nvPr>
            <p:ph type="body" sz="quarter" idx="20"/>
          </p:nvPr>
        </p:nvSpPr>
        <p:spPr>
          <a:xfrm>
            <a:off x="495301"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BF1FD01D-2E17-4D6F-862B-EAB2FE451BC5}"/>
              </a:ext>
            </a:extLst>
          </p:cNvPr>
          <p:cNvSpPr>
            <a:spLocks noGrp="1"/>
          </p:cNvSpPr>
          <p:nvPr>
            <p:ph type="body" sz="quarter" idx="21"/>
          </p:nvPr>
        </p:nvSpPr>
        <p:spPr>
          <a:xfrm>
            <a:off x="3409407"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3">
            <a:extLst>
              <a:ext uri="{FF2B5EF4-FFF2-40B4-BE49-F238E27FC236}">
                <a16:creationId xmlns:a16="http://schemas.microsoft.com/office/drawing/2014/main" id="{527D457A-2050-465F-9F98-78757B33D082}"/>
              </a:ext>
            </a:extLst>
          </p:cNvPr>
          <p:cNvSpPr>
            <a:spLocks noGrp="1"/>
          </p:cNvSpPr>
          <p:nvPr>
            <p:ph type="body" sz="quarter" idx="22"/>
          </p:nvPr>
        </p:nvSpPr>
        <p:spPr>
          <a:xfrm>
            <a:off x="6323030"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410D5E3D-BE05-4F33-9E34-8B0B639BB166}"/>
              </a:ext>
            </a:extLst>
          </p:cNvPr>
          <p:cNvSpPr>
            <a:spLocks noGrp="1"/>
          </p:cNvSpPr>
          <p:nvPr>
            <p:ph type="body" sz="quarter" idx="23"/>
          </p:nvPr>
        </p:nvSpPr>
        <p:spPr>
          <a:xfrm>
            <a:off x="9236585" y="3657601"/>
            <a:ext cx="2459567" cy="2438400"/>
          </a:xfrm>
        </p:spPr>
        <p:txBody>
          <a:bodyPr lIns="0" tIns="0" rIns="0" bIns="0">
            <a:norm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55461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4" name="Text Placeholder 3">
            <a:extLst>
              <a:ext uri="{FF2B5EF4-FFF2-40B4-BE49-F238E27FC236}">
                <a16:creationId xmlns:a16="http://schemas.microsoft.com/office/drawing/2014/main" id="{8B200414-C27C-4EAF-8828-8B5D0E90458E}"/>
              </a:ext>
            </a:extLst>
          </p:cNvPr>
          <p:cNvSpPr>
            <a:spLocks noGrp="1"/>
          </p:cNvSpPr>
          <p:nvPr>
            <p:ph type="body" sz="quarter" idx="13"/>
          </p:nvPr>
        </p:nvSpPr>
        <p:spPr>
          <a:xfrm>
            <a:off x="495301" y="1181100"/>
            <a:ext cx="5372099" cy="2247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4D63F576-0CF3-44CC-B07C-B8D4061FBA85}"/>
              </a:ext>
            </a:extLst>
          </p:cNvPr>
          <p:cNvSpPr>
            <a:spLocks noGrp="1"/>
          </p:cNvSpPr>
          <p:nvPr>
            <p:ph type="body" sz="quarter" idx="14"/>
          </p:nvPr>
        </p:nvSpPr>
        <p:spPr>
          <a:xfrm>
            <a:off x="495301" y="3657600"/>
            <a:ext cx="5372099" cy="2438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CF7C5A7-1B5F-4106-AF84-D9162AE1281A}"/>
              </a:ext>
            </a:extLst>
          </p:cNvPr>
          <p:cNvSpPr>
            <a:spLocks noGrp="1"/>
          </p:cNvSpPr>
          <p:nvPr>
            <p:ph type="body" sz="quarter" idx="15"/>
          </p:nvPr>
        </p:nvSpPr>
        <p:spPr>
          <a:xfrm>
            <a:off x="6324600" y="1181100"/>
            <a:ext cx="5372099" cy="22479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44E274C7-1613-423E-BB7B-522987CD1460}"/>
              </a:ext>
            </a:extLst>
          </p:cNvPr>
          <p:cNvSpPr>
            <a:spLocks noGrp="1"/>
          </p:cNvSpPr>
          <p:nvPr>
            <p:ph type="body" sz="quarter" idx="16"/>
          </p:nvPr>
        </p:nvSpPr>
        <p:spPr>
          <a:xfrm>
            <a:off x="6324600" y="3657600"/>
            <a:ext cx="5372099" cy="2438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239204"/>
      </p:ext>
    </p:extLst>
  </p:cSld>
  <p:clrMapOvr>
    <a:masterClrMapping/>
  </p:clrMapOvr>
  <p:extLst>
    <p:ext uri="{DCECCB84-F9BA-43D5-87BE-67443E8EF086}">
      <p15:sldGuideLst xmlns:p15="http://schemas.microsoft.com/office/powerpoint/2012/main">
        <p15:guide id="1" pos="2880">
          <p15:clr>
            <a:srgbClr val="FBAE40"/>
          </p15:clr>
        </p15:guide>
        <p15:guide id="2" pos="2772">
          <p15:clr>
            <a:srgbClr val="FBAE40"/>
          </p15:clr>
        </p15:guide>
        <p15:guide id="3" pos="29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2103" y="495305"/>
            <a:ext cx="11544300" cy="504825"/>
          </a:xfrm>
        </p:spPr>
        <p:txBody>
          <a:bodyPr/>
          <a:lstStyle>
            <a:lvl1pPr algn="ctr">
              <a:defRPr sz="2000" baseline="0"/>
            </a:lvl1pPr>
          </a:lstStyle>
          <a:p>
            <a:r>
              <a:rPr lang="en-US"/>
              <a:t>Honeywell “One List” Priority RAILs</a:t>
            </a:r>
          </a:p>
        </p:txBody>
      </p:sp>
    </p:spTree>
    <p:extLst>
      <p:ext uri="{BB962C8B-B14F-4D97-AF65-F5344CB8AC3E}">
        <p14:creationId xmlns:p14="http://schemas.microsoft.com/office/powerpoint/2010/main" val="289253042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3031903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2201517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1" y="2978965"/>
            <a:ext cx="3159659" cy="914400"/>
          </a:xfrm>
          <a:prstGeom prst="rect">
            <a:avLst/>
          </a:prstGeom>
          <a:noFill/>
        </p:spPr>
        <p:txBody>
          <a:bodyPr wrap="none" lIns="0" tIns="0" rIns="0" bIns="0" rtlCol="0" anchor="ctr">
            <a:noAutofit/>
          </a:bodyPr>
          <a:lstStyle/>
          <a:p>
            <a:pPr algn="ctr"/>
            <a:r>
              <a:rPr lang="en-US" sz="4950" b="1">
                <a:solidFill>
                  <a:schemeClr val="bg1"/>
                </a:solidFill>
                <a:latin typeface="+mj-lt"/>
              </a:rPr>
              <a:t>END OF THE TEMPLATE</a:t>
            </a:r>
          </a:p>
        </p:txBody>
      </p:sp>
    </p:spTree>
    <p:extLst>
      <p:ext uri="{BB962C8B-B14F-4D97-AF65-F5344CB8AC3E}">
        <p14:creationId xmlns:p14="http://schemas.microsoft.com/office/powerpoint/2010/main" val="19040623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F4E44-EE30-4F15-03F8-2E1E021702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8D9D07-EBD2-B4B3-69B1-C68DD8D3D7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A6756E-1AB3-EFA5-75FC-B14993F6CF0F}"/>
              </a:ext>
            </a:extLst>
          </p:cNvPr>
          <p:cNvSpPr>
            <a:spLocks noGrp="1"/>
          </p:cNvSpPr>
          <p:nvPr>
            <p:ph type="dt" sz="half" idx="10"/>
          </p:nvPr>
        </p:nvSpPr>
        <p:spPr/>
        <p:txBody>
          <a:bodyPr/>
          <a:lstStyle/>
          <a:p>
            <a:fld id="{3D1D92CB-F88C-4178-9AB0-8183AC4B4E57}" type="datetimeFigureOut">
              <a:rPr lang="en-US" smtClean="0"/>
              <a:t>11/12/2024</a:t>
            </a:fld>
            <a:endParaRPr lang="en-US"/>
          </a:p>
        </p:txBody>
      </p:sp>
      <p:sp>
        <p:nvSpPr>
          <p:cNvPr id="5" name="Footer Placeholder 4">
            <a:extLst>
              <a:ext uri="{FF2B5EF4-FFF2-40B4-BE49-F238E27FC236}">
                <a16:creationId xmlns:a16="http://schemas.microsoft.com/office/drawing/2014/main" id="{E1450310-4F48-5C8C-5A9E-4D8D80F70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6A1EA9-5786-B9CA-1CB0-76DD5CAF77A1}"/>
              </a:ext>
            </a:extLst>
          </p:cNvPr>
          <p:cNvSpPr>
            <a:spLocks noGrp="1"/>
          </p:cNvSpPr>
          <p:nvPr>
            <p:ph type="sldNum" sz="quarter" idx="12"/>
          </p:nvPr>
        </p:nvSpPr>
        <p:spPr/>
        <p:txBody>
          <a:bodyPr/>
          <a:lstStyle/>
          <a:p>
            <a:fld id="{18590125-ACC4-456D-94EE-D0D452E3C3D3}" type="slidenum">
              <a:rPr lang="en-US" smtClean="0"/>
              <a:t>‹#›</a:t>
            </a:fld>
            <a:endParaRPr lang="en-US"/>
          </a:p>
        </p:txBody>
      </p:sp>
    </p:spTree>
    <p:extLst>
      <p:ext uri="{BB962C8B-B14F-4D97-AF65-F5344CB8AC3E}">
        <p14:creationId xmlns:p14="http://schemas.microsoft.com/office/powerpoint/2010/main" val="542204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3232" y="356616"/>
            <a:ext cx="10523336" cy="498475"/>
          </a:xfrm>
        </p:spPr>
        <p:txBody>
          <a:bodyPr/>
          <a:lstStyle>
            <a:lvl1pPr>
              <a:defRPr>
                <a:solidFill>
                  <a:schemeClr val="tx1"/>
                </a:solidFill>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a:p>
        </p:txBody>
      </p:sp>
    </p:spTree>
    <p:extLst>
      <p:ext uri="{BB962C8B-B14F-4D97-AF65-F5344CB8AC3E}">
        <p14:creationId xmlns:p14="http://schemas.microsoft.com/office/powerpoint/2010/main" val="136274758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904929504"/>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450988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1_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7999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1999473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069414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374851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295760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181100"/>
            <a:ext cx="5372100" cy="4914900"/>
          </a:xfrm>
          <a:prstGeom prst="rect">
            <a:avLst/>
          </a:prstGeom>
          <a:pattFill prst="wdUpDiag">
            <a:fgClr>
              <a:schemeClr val="bg2"/>
            </a:fgClr>
            <a:bgClr>
              <a:schemeClr val="bg1"/>
            </a:bgClr>
          </a:pattFill>
        </p:spPr>
        <p:txBody>
          <a:bodyPr/>
          <a:lstStyle/>
          <a:p>
            <a:r>
              <a:rPr lang="en-US"/>
              <a:t>Click icon to add picture</a:t>
            </a:r>
          </a:p>
        </p:txBody>
      </p:sp>
      <p:sp>
        <p:nvSpPr>
          <p:cNvPr id="4" name="Text Placeholder 3">
            <a:extLst>
              <a:ext uri="{FF2B5EF4-FFF2-40B4-BE49-F238E27FC236}">
                <a16:creationId xmlns:a16="http://schemas.microsoft.com/office/drawing/2014/main" id="{65B85A23-2758-42AF-8508-3F7213122D9B}"/>
              </a:ext>
            </a:extLst>
          </p:cNvPr>
          <p:cNvSpPr>
            <a:spLocks noGrp="1"/>
          </p:cNvSpPr>
          <p:nvPr>
            <p:ph type="body" sz="quarter" idx="14"/>
          </p:nvPr>
        </p:nvSpPr>
        <p:spPr>
          <a:xfrm>
            <a:off x="495302" y="1181100"/>
            <a:ext cx="5372100" cy="49149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9175457"/>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p:cNvSpPr>
          <p:nvPr>
            <p:ph type="body" sz="quarter" idx="16" hasCustomPrompt="1"/>
          </p:nvPr>
        </p:nvSpPr>
        <p:spPr>
          <a:xfrm>
            <a:off x="-1" y="5985387"/>
            <a:ext cx="12192000" cy="374904"/>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400"/>
            </a:lvl2pPr>
            <a:lvl3pPr>
              <a:defRPr sz="1200"/>
            </a:lvl3pPr>
            <a:lvl4pPr>
              <a:defRPr sz="1100"/>
            </a:lvl4pPr>
            <a:lvl5pPr>
              <a:defRPr sz="1600"/>
            </a:lvl5pPr>
          </a:lstStyle>
          <a:p>
            <a:r>
              <a:rPr lang="en-US" dirty="0"/>
              <a:t>Key Takeaway, Lorem ipsum dolor sit </a:t>
            </a:r>
            <a:r>
              <a:rPr lang="en-US" dirty="0" err="1"/>
              <a:t>amet</a:t>
            </a:r>
            <a:r>
              <a:rPr lang="en-US" dirty="0"/>
              <a:t>, </a:t>
            </a:r>
            <a:r>
              <a:rPr lang="en-US" dirty="0" err="1"/>
              <a:t>ea</a:t>
            </a:r>
            <a:r>
              <a:rPr lang="en-US" dirty="0"/>
              <a:t> diam </a:t>
            </a:r>
            <a:r>
              <a:rPr lang="en-US" dirty="0" err="1"/>
              <a:t>vitu</a:t>
            </a:r>
            <a:r>
              <a:rPr lang="en-US" dirty="0"/>
              <a:t> </a:t>
            </a:r>
            <a:r>
              <a:rPr lang="en-US" dirty="0" err="1"/>
              <a:t>perata</a:t>
            </a:r>
            <a:r>
              <a:rPr lang="en-US" dirty="0"/>
              <a:t> sea.</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a:t>Click to edit Master title style</a:t>
            </a:r>
            <a:endParaRPr lang="en-US" dirty="0"/>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100000"/>
              </a:lnSpc>
              <a:spcBef>
                <a:spcPts val="400"/>
              </a:spcBef>
              <a:buClr>
                <a:schemeClr val="accent1"/>
              </a:buClr>
              <a:buFont typeface="+mj-lt"/>
              <a:buNone/>
              <a:defRPr sz="2400"/>
            </a:lvl1pPr>
            <a:lvl2pPr marL="0" indent="-342900">
              <a:lnSpc>
                <a:spcPct val="100000"/>
              </a:lnSpc>
              <a:spcBef>
                <a:spcPts val="400"/>
              </a:spcBef>
              <a:buClr>
                <a:schemeClr val="tx1"/>
              </a:buClr>
              <a:buFont typeface="Arial" panose="020B0604020202020204" pitchFamily="34" charset="0"/>
              <a:buChar char="•"/>
              <a:defRPr sz="2200"/>
            </a:lvl2pPr>
            <a:lvl3pPr marL="720000" indent="-342900">
              <a:lnSpc>
                <a:spcPct val="100000"/>
              </a:lnSpc>
              <a:spcBef>
                <a:spcPts val="400"/>
              </a:spcBef>
              <a:buFont typeface="Arial" panose="020B0604020202020204" pitchFamily="34" charset="0"/>
              <a:buChar char="‒"/>
              <a:defRPr sz="2000"/>
            </a:lvl3pPr>
            <a:lvl4pPr marL="1044000" indent="-342000">
              <a:lnSpc>
                <a:spcPct val="100000"/>
              </a:lnSpc>
              <a:spcBef>
                <a:spcPts val="400"/>
              </a:spcBef>
              <a:buFont typeface="Wingdings" panose="05000000000000000000" pitchFamily="2" charset="2"/>
              <a:buChar char="§"/>
              <a:defRPr sz="1800"/>
            </a:lvl4pPr>
            <a:lvl5pPr marL="1368000" indent="-342000">
              <a:lnSpc>
                <a:spcPct val="100000"/>
              </a:lnSpc>
              <a:spcBef>
                <a:spcPts val="400"/>
              </a:spcBef>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p:txBody>
      </p:sp>
    </p:spTree>
    <p:extLst>
      <p:ext uri="{BB962C8B-B14F-4D97-AF65-F5344CB8AC3E}">
        <p14:creationId xmlns:p14="http://schemas.microsoft.com/office/powerpoint/2010/main" val="3347825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pPr>
                <a:defRPr/>
              </a:pPr>
              <a:t>‹#›</a:t>
            </a:fld>
            <a:endParaRPr lang="en-US"/>
          </a:p>
        </p:txBody>
      </p:sp>
      <p:sp>
        <p:nvSpPr>
          <p:cNvPr id="2" name="Footer Placeholder 1"/>
          <p:cNvSpPr>
            <a:spLocks noGrp="1"/>
          </p:cNvSpPr>
          <p:nvPr>
            <p:ph type="ftr" sz="quarter" idx="14"/>
          </p:nvPr>
        </p:nvSpPr>
        <p:spPr>
          <a:xfrm>
            <a:off x="712788" y="6656832"/>
            <a:ext cx="1248739" cy="276999"/>
          </a:xfrm>
          <a:prstGeom prst="rect">
            <a:avLst/>
          </a:prstGeom>
        </p:spPr>
        <p:txBody>
          <a:bodyPr/>
          <a:lstStyle/>
          <a:p>
            <a:endParaRPr lang="en-US"/>
          </a:p>
        </p:txBody>
      </p:sp>
    </p:spTree>
    <p:extLst>
      <p:ext uri="{BB962C8B-B14F-4D97-AF65-F5344CB8AC3E}">
        <p14:creationId xmlns:p14="http://schemas.microsoft.com/office/powerpoint/2010/main" val="24247566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p:spPr>
      </p:cxnSp>
      <p:sp>
        <p:nvSpPr>
          <p:cNvPr id="13" name="Title 1"/>
          <p:cNvSpPr>
            <a:spLocks noGrp="1"/>
          </p:cNvSpPr>
          <p:nvPr>
            <p:ph type="title"/>
          </p:nvPr>
        </p:nvSpPr>
        <p:spPr>
          <a:xfrm>
            <a:off x="714567" y="357810"/>
            <a:ext cx="10499918" cy="498610"/>
          </a:xfrm>
        </p:spPr>
        <p:txBody>
          <a:bodyPr/>
          <a:lstStyle/>
          <a:p>
            <a:r>
              <a:rPr lang="en-US"/>
              <a:t>Click to edit Master title style</a:t>
            </a:r>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baseline="0">
                <a:latin typeface="Arial" charset="0"/>
              </a:defRPr>
            </a:lvl1pPr>
            <a:lvl2pPr>
              <a:defRPr baseline="0">
                <a:latin typeface="Arial" charset="0"/>
              </a:defRPr>
            </a:lvl2pPr>
            <a:lvl3pP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6"/>
          </p:nvPr>
        </p:nvSpPr>
        <p:spPr>
          <a:xfrm>
            <a:off x="11645900" y="0"/>
            <a:ext cx="674688" cy="504825"/>
          </a:xfrm>
          <a:prstGeom prst="rect">
            <a:avLst/>
          </a:prstGeom>
        </p:spPr>
        <p:txBody>
          <a:bodyPr/>
          <a:lstStyle>
            <a:lvl1pPr>
              <a:defRPr/>
            </a:lvl1pPr>
          </a:lstStyle>
          <a:p>
            <a:pPr>
              <a:defRPr/>
            </a:pPr>
            <a:fld id="{F0121559-6FAE-4C9F-95D5-751370D9C50E}" type="slidenum">
              <a:rPr lang="en-US"/>
              <a:pPr>
                <a:defRPr/>
              </a:pPr>
              <a:t>‹#›</a:t>
            </a:fld>
            <a:endParaRPr lang="en-US"/>
          </a:p>
        </p:txBody>
      </p:sp>
      <p:sp>
        <p:nvSpPr>
          <p:cNvPr id="2" name="Footer Placeholder 1"/>
          <p:cNvSpPr>
            <a:spLocks noGrp="1"/>
          </p:cNvSpPr>
          <p:nvPr>
            <p:ph type="ftr" sz="quarter" idx="17"/>
          </p:nvPr>
        </p:nvSpPr>
        <p:spPr>
          <a:xfrm>
            <a:off x="712788" y="6656832"/>
            <a:ext cx="1248739" cy="276999"/>
          </a:xfrm>
          <a:prstGeom prst="rect">
            <a:avLst/>
          </a:prstGeom>
        </p:spPr>
        <p:txBody>
          <a:bodyPr/>
          <a:lstStyle/>
          <a:p>
            <a:endParaRPr lang="en-US"/>
          </a:p>
        </p:txBody>
      </p:sp>
    </p:spTree>
    <p:extLst>
      <p:ext uri="{BB962C8B-B14F-4D97-AF65-F5344CB8AC3E}">
        <p14:creationId xmlns:p14="http://schemas.microsoft.com/office/powerpoint/2010/main" val="26805057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p>
        </p:txBody>
      </p:sp>
      <p:sp>
        <p:nvSpPr>
          <p:cNvPr id="20" name="Title 1"/>
          <p:cNvSpPr>
            <a:spLocks noGrp="1"/>
          </p:cNvSpPr>
          <p:nvPr>
            <p:ph type="title"/>
          </p:nvPr>
        </p:nvSpPr>
        <p:spPr>
          <a:xfrm>
            <a:off x="714240" y="364798"/>
            <a:ext cx="10531033" cy="512064"/>
          </a:xfrm>
        </p:spPr>
        <p:txBody>
          <a:bodyPr/>
          <a:lstStyle/>
          <a:p>
            <a:r>
              <a:rPr lang="en-US"/>
              <a:t>Click to edit Master title style</a:t>
            </a:r>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baseline="0">
                <a:latin typeface="Arial" charset="0"/>
              </a:defRPr>
            </a:lvl1pPr>
            <a:lvl2pPr>
              <a:buClr>
                <a:schemeClr val="accent3"/>
              </a:buClr>
              <a:defRPr baseline="0">
                <a:latin typeface="Arial" charset="0"/>
              </a:defRPr>
            </a:lvl2pPr>
            <a:lvl3pPr>
              <a:buClr>
                <a:schemeClr val="accent3"/>
              </a:buClr>
              <a:defRPr baseline="0">
                <a:latin typeface="Arial" charset="0"/>
              </a:defRPr>
            </a:lvl3pPr>
            <a:lvl4pPr marL="1600200" indent="-228600">
              <a:buClr>
                <a:schemeClr val="accent3"/>
              </a:buClr>
              <a:buFont typeface="Arial" panose="020B0604020202020204" pitchFamily="34" charset="0"/>
              <a:buChar char="-"/>
              <a:defRPr sz="1400" baseline="0">
                <a:latin typeface="Arial" charset="0"/>
                <a:cs typeface="Arial" panose="020B0604020202020204" pitchFamily="34" charset="0"/>
              </a:defRPr>
            </a:lvl4pPr>
            <a:lvl5pPr>
              <a:buClr>
                <a:schemeClr val="accent3"/>
              </a:buClr>
              <a:defRPr sz="1400" baseline="0">
                <a:latin typeface="Arial"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p:cNvSpPr>
            <a:spLocks noGrp="1"/>
          </p:cNvSpPr>
          <p:nvPr>
            <p:ph type="sldNum" sz="quarter" idx="24"/>
          </p:nvPr>
        </p:nvSpPr>
        <p:spPr>
          <a:xfrm>
            <a:off x="11645900" y="0"/>
            <a:ext cx="674688" cy="504825"/>
          </a:xfrm>
          <a:prstGeom prst="rect">
            <a:avLst/>
          </a:prstGeom>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pPr>
                <a:defRPr/>
              </a:pPr>
              <a:t>‹#›</a:t>
            </a:fld>
            <a:endParaRPr lang="en-US"/>
          </a:p>
        </p:txBody>
      </p:sp>
      <p:sp>
        <p:nvSpPr>
          <p:cNvPr id="2" name="Footer Placeholder 1"/>
          <p:cNvSpPr>
            <a:spLocks noGrp="1"/>
          </p:cNvSpPr>
          <p:nvPr>
            <p:ph type="ftr" sz="quarter" idx="25"/>
          </p:nvPr>
        </p:nvSpPr>
        <p:spPr>
          <a:xfrm>
            <a:off x="712788" y="6656832"/>
            <a:ext cx="1248739" cy="276999"/>
          </a:xfrm>
          <a:prstGeom prst="rect">
            <a:avLst/>
          </a:prstGeom>
        </p:spPr>
        <p:txBody>
          <a:bodyPr/>
          <a:lstStyle/>
          <a:p>
            <a:endParaRPr lang="en-US"/>
          </a:p>
        </p:txBody>
      </p:sp>
    </p:spTree>
    <p:extLst>
      <p:ext uri="{BB962C8B-B14F-4D97-AF65-F5344CB8AC3E}">
        <p14:creationId xmlns:p14="http://schemas.microsoft.com/office/powerpoint/2010/main" val="4122030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p>
        </p:txBody>
      </p:sp>
      <p:sp>
        <p:nvSpPr>
          <p:cNvPr id="3" name="Slide Number Placeholder 5"/>
          <p:cNvSpPr>
            <a:spLocks noGrp="1"/>
          </p:cNvSpPr>
          <p:nvPr>
            <p:ph type="sldNum" sz="quarter" idx="10"/>
          </p:nvPr>
        </p:nvSpPr>
        <p:spPr>
          <a:xfrm>
            <a:off x="11645900" y="0"/>
            <a:ext cx="674688" cy="504825"/>
          </a:xfrm>
          <a:prstGeom prst="rect">
            <a:avLst/>
          </a:prstGeom>
        </p:spPr>
        <p:txBody>
          <a:bodyPr/>
          <a:lstStyle>
            <a:lvl1pPr>
              <a:defRPr/>
            </a:lvl1pPr>
          </a:lstStyle>
          <a:p>
            <a:pPr>
              <a:defRPr/>
            </a:pPr>
            <a:fld id="{521D1E3F-96BE-4EC6-B772-60D92C1E53EA}" type="slidenum">
              <a:rPr lang="en-US"/>
              <a:pPr>
                <a:defRPr/>
              </a:pPr>
              <a:t>‹#›</a:t>
            </a:fld>
            <a:endParaRPr lang="en-US"/>
          </a:p>
        </p:txBody>
      </p:sp>
      <p:sp>
        <p:nvSpPr>
          <p:cNvPr id="4" name="Footer Placeholder 3"/>
          <p:cNvSpPr>
            <a:spLocks noGrp="1"/>
          </p:cNvSpPr>
          <p:nvPr>
            <p:ph type="ftr" sz="quarter" idx="11"/>
          </p:nvPr>
        </p:nvSpPr>
        <p:spPr>
          <a:xfrm>
            <a:off x="712788" y="6656832"/>
            <a:ext cx="1248739" cy="276999"/>
          </a:xfrm>
          <a:prstGeom prst="rect">
            <a:avLst/>
          </a:prstGeom>
        </p:spPr>
        <p:txBody>
          <a:bodyPr/>
          <a:lstStyle/>
          <a:p>
            <a:endParaRPr lang="en-US"/>
          </a:p>
        </p:txBody>
      </p:sp>
    </p:spTree>
    <p:extLst>
      <p:ext uri="{BB962C8B-B14F-4D97-AF65-F5344CB8AC3E}">
        <p14:creationId xmlns:p14="http://schemas.microsoft.com/office/powerpoint/2010/main" val="9204412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a:xfrm>
            <a:off x="11645900" y="0"/>
            <a:ext cx="674688" cy="504825"/>
          </a:xfrm>
          <a:prstGeom prst="rect">
            <a:avLst/>
          </a:prstGeom>
        </p:spPr>
        <p:txBody>
          <a:bodyPr/>
          <a:lstStyle>
            <a:lvl1pPr>
              <a:defRPr/>
            </a:lvl1pPr>
          </a:lstStyle>
          <a:p>
            <a:pPr>
              <a:defRPr/>
            </a:pPr>
            <a:fld id="{E7709538-BB9A-4E8C-A50F-1F4EB6EDDBD2}" type="slidenum">
              <a:rPr lang="en-US"/>
              <a:pPr>
                <a:defRPr/>
              </a:pPr>
              <a:t>‹#›</a:t>
            </a:fld>
            <a:endParaRPr lang="en-US"/>
          </a:p>
        </p:txBody>
      </p:sp>
      <p:sp>
        <p:nvSpPr>
          <p:cNvPr id="4" name="Footer Placeholder 3"/>
          <p:cNvSpPr>
            <a:spLocks noGrp="1"/>
          </p:cNvSpPr>
          <p:nvPr>
            <p:ph type="ftr" sz="quarter" idx="11"/>
          </p:nvPr>
        </p:nvSpPr>
        <p:spPr>
          <a:xfrm>
            <a:off x="712788" y="6656832"/>
            <a:ext cx="1248739" cy="276999"/>
          </a:xfrm>
          <a:prstGeom prst="rect">
            <a:avLst/>
          </a:prstGeom>
        </p:spPr>
        <p:txBody>
          <a:bodyPr/>
          <a:lstStyle/>
          <a:p>
            <a:endParaRPr lang="en-US"/>
          </a:p>
        </p:txBody>
      </p:sp>
    </p:spTree>
    <p:extLst>
      <p:ext uri="{BB962C8B-B14F-4D97-AF65-F5344CB8AC3E}">
        <p14:creationId xmlns:p14="http://schemas.microsoft.com/office/powerpoint/2010/main" val="2006679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10"/>
            <a:ext cx="10669812" cy="498610"/>
          </a:xfrm>
        </p:spPr>
        <p:txBody>
          <a:bodyPr/>
          <a:lstStyle>
            <a:lvl1pPr>
              <a:defRPr baseline="0">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1pPr>
              <a:buClr>
                <a:schemeClr val="tx2"/>
              </a:buClr>
              <a:defRPr>
                <a:solidFill>
                  <a:schemeClr val="tx1"/>
                </a:solidFill>
              </a:defRPr>
            </a:lvl1pPr>
            <a:lvl2pPr marL="342900" indent="-127397">
              <a:buClr>
                <a:schemeClr val="accent2"/>
              </a:buClr>
              <a:defRPr>
                <a:solidFill>
                  <a:schemeClr val="tx1"/>
                </a:solidFill>
              </a:defRPr>
            </a:lvl2pPr>
            <a:lvl3pPr marL="603647" indent="-133350">
              <a:buClr>
                <a:schemeClr val="accent2"/>
              </a:buClr>
              <a:defRPr>
                <a:solidFill>
                  <a:schemeClr val="tx1"/>
                </a:solidFill>
              </a:defRPr>
            </a:lvl3pPr>
            <a:lvl4pPr marL="901304" indent="-126206">
              <a:buClr>
                <a:schemeClr val="accent2"/>
              </a:buClr>
              <a:buFontTx/>
              <a:buChar char="-"/>
              <a:defRPr sz="1050">
                <a:solidFill>
                  <a:schemeClr val="tx1"/>
                </a:solidFill>
              </a:defRPr>
            </a:lvl4pPr>
            <a:lvl5pPr marL="1289447" indent="-133350">
              <a:buClr>
                <a:schemeClr val="accent2"/>
              </a:buCl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1"/>
          </p:nvPr>
        </p:nvSpPr>
        <p:spPr/>
        <p:txBody>
          <a:bodyPr/>
          <a:lstStyle>
            <a:lvl1pPr>
              <a:defRPr/>
            </a:lvl1pPr>
          </a:lstStyle>
          <a:p>
            <a:pPr>
              <a:defRPr/>
            </a:pPr>
            <a:fld id="{263C4AFA-4101-4F83-A676-A88CC1F150D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800585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6" name="Round Single Corner Rectangle 5"/>
          <p:cNvSpPr/>
          <p:nvPr userDrawn="1"/>
        </p:nvSpPr>
        <p:spPr>
          <a:xfrm>
            <a:off x="0" y="6364291"/>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7" name="Rectangle 6"/>
          <p:cNvSpPr>
            <a:spLocks noChangeArrowheads="1"/>
          </p:cNvSpPr>
          <p:nvPr userDrawn="1"/>
        </p:nvSpPr>
        <p:spPr bwMode="auto">
          <a:xfrm>
            <a:off x="207436" y="6149976"/>
            <a:ext cx="1923925"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42900" eaLnBrk="1" hangingPunct="1">
              <a:defRPr/>
            </a:pPr>
            <a:r>
              <a:rPr lang="en-US" altLang="en-US" sz="525">
                <a:solidFill>
                  <a:srgbClr val="707070"/>
                </a:solidFill>
                <a:cs typeface="Arial" panose="020B0604020202020204" pitchFamily="34" charset="0"/>
              </a:rPr>
              <a:t>© 2015 by Honeywell International Inc. All rights reserved. </a:t>
            </a:r>
          </a:p>
        </p:txBody>
      </p:sp>
      <p:sp>
        <p:nvSpPr>
          <p:cNvPr id="16" name="Title 1"/>
          <p:cNvSpPr>
            <a:spLocks noGrp="1"/>
          </p:cNvSpPr>
          <p:nvPr>
            <p:ph type="title"/>
          </p:nvPr>
        </p:nvSpPr>
        <p:spPr>
          <a:xfrm>
            <a:off x="686104" y="344558"/>
            <a:ext cx="10830680" cy="511862"/>
          </a:xfrm>
        </p:spPr>
        <p:txBody>
          <a:bodyPr/>
          <a:lstStyle/>
          <a:p>
            <a:r>
              <a:rPr lang="en-US"/>
              <a:t>Click to edit Master title style</a:t>
            </a:r>
          </a:p>
        </p:txBody>
      </p:sp>
      <p:sp>
        <p:nvSpPr>
          <p:cNvPr id="22" name="Text Placeholder 2"/>
          <p:cNvSpPr>
            <a:spLocks noGrp="1"/>
          </p:cNvSpPr>
          <p:nvPr>
            <p:ph type="body" sz="quarter" idx="16"/>
          </p:nvPr>
        </p:nvSpPr>
        <p:spPr>
          <a:xfrm>
            <a:off x="685800" y="1074739"/>
            <a:ext cx="10670117" cy="5059047"/>
          </a:xfrm>
          <a:prstGeom prst="rect">
            <a:avLst/>
          </a:prstGeom>
        </p:spPr>
        <p:txBody>
          <a:bodyPr>
            <a:normAutofit/>
          </a:bodyPr>
          <a:lstStyle>
            <a:lvl2pPr marL="342900" indent="-127397">
              <a:defRPr/>
            </a:lvl2pPr>
            <a:lvl3pPr marL="603647" indent="-133350">
              <a:defRPr/>
            </a:lvl3pPr>
            <a:lvl4pPr marL="901304" indent="-126206">
              <a:buClr>
                <a:schemeClr val="tx1">
                  <a:lumMod val="50000"/>
                  <a:lumOff val="50000"/>
                </a:schemeClr>
              </a:buClr>
              <a:buFontTx/>
              <a:buChar char="-"/>
              <a:defRPr sz="1050"/>
            </a:lvl4pPr>
            <a:lvl5pPr marL="1289447" indent="-133350">
              <a:buClr>
                <a:schemeClr val="tx1">
                  <a:lumMod val="50000"/>
                  <a:lumOff val="50000"/>
                </a:schemeClr>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1800" b="1">
                <a:solidFill>
                  <a:schemeClr val="bg1"/>
                </a:solidFill>
              </a:defRPr>
            </a:lvl1pPr>
          </a:lstStyle>
          <a:p>
            <a:pPr lvl="0"/>
            <a:r>
              <a:rPr lang="en-US"/>
              <a:t>Click to edit Master text styles</a:t>
            </a:r>
          </a:p>
        </p:txBody>
      </p:sp>
      <p:sp>
        <p:nvSpPr>
          <p:cNvPr id="8" name="Slide Number Placeholder 5"/>
          <p:cNvSpPr>
            <a:spLocks noGrp="1"/>
          </p:cNvSpPr>
          <p:nvPr>
            <p:ph type="sldNum" sz="quarter" idx="17"/>
          </p:nvPr>
        </p:nvSpPr>
        <p:spPr/>
        <p:txBody>
          <a:bodyPr/>
          <a:lstStyle>
            <a:lvl1pPr algn="l">
              <a:defRPr sz="750" b="1" i="0">
                <a:solidFill>
                  <a:schemeClr val="bg1"/>
                </a:solidFill>
                <a:latin typeface="HelveticaNeue MediumCond"/>
                <a:cs typeface="HelveticaNeue MediumCond"/>
              </a:defRPr>
            </a:lvl1pPr>
          </a:lstStyle>
          <a:p>
            <a:pPr>
              <a:defRPr/>
            </a:pPr>
            <a:fld id="{A057CD49-B1A2-459F-B21E-1DC6A400CF5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580784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o pubs affecte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5" y="1200151"/>
            <a:ext cx="8000999" cy="5102678"/>
          </a:xfrm>
          <a:prstGeom prst="rect">
            <a:avLst/>
          </a:prstGeo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p:nvPr userDrawn="1"/>
        </p:nvSpPr>
        <p:spPr>
          <a:xfrm>
            <a:off x="0" y="428629"/>
            <a:ext cx="12192000" cy="399499"/>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5" name="Rectangle 2"/>
          <p:cNvSpPr txBox="1">
            <a:spLocks noChangeArrowheads="1"/>
          </p:cNvSpPr>
          <p:nvPr userDrawn="1"/>
        </p:nvSpPr>
        <p:spPr>
          <a:xfrm>
            <a:off x="0" y="781053"/>
            <a:ext cx="12192000" cy="252103"/>
          </a:xfrm>
          <a:prstGeom prst="rect">
            <a:avLst/>
          </a:prstGeom>
          <a:noFill/>
          <a:ln w="9525">
            <a:noFill/>
            <a:miter lim="800000"/>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
        <p:nvSpPr>
          <p:cNvPr id="22" name="TextBox 21"/>
          <p:cNvSpPr txBox="1"/>
          <p:nvPr userDrawn="1"/>
        </p:nvSpPr>
        <p:spPr>
          <a:xfrm>
            <a:off x="8449735" y="1266830"/>
            <a:ext cx="1545167" cy="246221"/>
          </a:xfrm>
          <a:prstGeom prst="rect">
            <a:avLst/>
          </a:prstGeom>
          <a:noFill/>
        </p:spPr>
        <p:txBody>
          <a:bodyPr wrap="square" rtlCol="0">
            <a:spAutoFit/>
          </a:bodyPr>
          <a:lstStyle/>
          <a:p>
            <a:r>
              <a:rPr lang="en-US" sz="1000" b="1" kern="0">
                <a:solidFill>
                  <a:srgbClr val="000000"/>
                </a:solidFill>
                <a:latin typeface="Arial"/>
              </a:rPr>
              <a:t>% Completed: </a:t>
            </a:r>
          </a:p>
        </p:txBody>
      </p:sp>
      <p:sp>
        <p:nvSpPr>
          <p:cNvPr id="24" name="Rectangle 23"/>
          <p:cNvSpPr/>
          <p:nvPr userDrawn="1"/>
        </p:nvSpPr>
        <p:spPr>
          <a:xfrm>
            <a:off x="8619122" y="1016948"/>
            <a:ext cx="3572881" cy="246221"/>
          </a:xfrm>
          <a:prstGeom prst="rect">
            <a:avLst/>
          </a:prstGeom>
        </p:spPr>
        <p:txBody>
          <a:bodyPr wrap="square">
            <a:spAutoFit/>
          </a:bodyPr>
          <a:lstStyle/>
          <a:p>
            <a:pPr eaLnBrk="1" hangingPunct="1">
              <a:defRPr/>
            </a:pPr>
            <a:r>
              <a:rPr lang="en-US" sz="1000" b="1" kern="0">
                <a:solidFill>
                  <a:srgbClr val="000000"/>
                </a:solidFill>
                <a:latin typeface="Arial"/>
              </a:rPr>
              <a:t>Estimated  Completion Date:   </a:t>
            </a:r>
          </a:p>
        </p:txBody>
      </p:sp>
      <p:cxnSp>
        <p:nvCxnSpPr>
          <p:cNvPr id="29" name="Straight Connector 28"/>
          <p:cNvCxnSpPr/>
          <p:nvPr userDrawn="1"/>
        </p:nvCxnSpPr>
        <p:spPr>
          <a:xfrm>
            <a:off x="8415868" y="1003300"/>
            <a:ext cx="16933" cy="5435600"/>
          </a:xfrm>
          <a:prstGeom prst="line">
            <a:avLst/>
          </a:prstGeom>
          <a:ln>
            <a:solidFill>
              <a:schemeClr val="bg1">
                <a:lumMod val="85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7" name="Rectangle 26"/>
          <p:cNvSpPr/>
          <p:nvPr userDrawn="1"/>
        </p:nvSpPr>
        <p:spPr>
          <a:xfrm>
            <a:off x="10194638" y="2510136"/>
            <a:ext cx="184730" cy="923330"/>
          </a:xfrm>
          <a:prstGeom prst="rect">
            <a:avLst/>
          </a:prstGeom>
          <a:noFill/>
          <a:ln>
            <a:solidFill>
              <a:schemeClr val="bg1">
                <a:lumMod val="75000"/>
              </a:schemeClr>
            </a:solidFill>
          </a:ln>
        </p:spPr>
        <p:txBody>
          <a:bodyPr wrap="none" lIns="91440" tIns="45720" rIns="91440" bIns="45720" rtlCol="0" anchor="ctr">
            <a:spAutoFit/>
          </a:bodyPr>
          <a:lstStyle/>
          <a:p>
            <a:pPr algn="ctr"/>
            <a:endParaRPr lang="en-US" sz="540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317625349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a:xfrm>
            <a:off x="6089651" y="1000125"/>
            <a:ext cx="0" cy="547687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686105" y="357810"/>
            <a:ext cx="10839859" cy="498610"/>
          </a:xfrm>
        </p:spPr>
        <p:txBody>
          <a:bodyPr/>
          <a:lstStyle/>
          <a:p>
            <a:r>
              <a:rPr lang="en-US"/>
              <a:t>Click to edit Master title style</a:t>
            </a:r>
          </a:p>
        </p:txBody>
      </p:sp>
      <p:sp>
        <p:nvSpPr>
          <p:cNvPr id="17" name="Text Placeholder 2"/>
          <p:cNvSpPr>
            <a:spLocks noGrp="1"/>
          </p:cNvSpPr>
          <p:nvPr>
            <p:ph type="body" sz="quarter" idx="12"/>
          </p:nvPr>
        </p:nvSpPr>
        <p:spPr>
          <a:xfrm>
            <a:off x="685801" y="1074738"/>
            <a:ext cx="5308547" cy="5308600"/>
          </a:xfrm>
          <a:prstGeom prst="rect">
            <a:avLst/>
          </a:prstGeom>
        </p:spPr>
        <p:txBody>
          <a:bodyPr>
            <a:normAutofit/>
          </a:bodyPr>
          <a:lstStyle>
            <a:lvl1pPr>
              <a:buClr>
                <a:schemeClr val="tx2"/>
              </a:buClr>
              <a:defRPr/>
            </a:lvl1pPr>
            <a:lvl2pPr marL="342900" indent="-127397">
              <a:buClr>
                <a:schemeClr val="accent2"/>
              </a:buClr>
              <a:defRPr/>
            </a:lvl2pPr>
            <a:lvl3pPr marL="603647" indent="-133350">
              <a:buClr>
                <a:schemeClr val="accent2"/>
              </a:buClr>
              <a:defRPr/>
            </a:lvl3pPr>
            <a:lvl4pPr marL="901304" indent="-126206">
              <a:buClr>
                <a:schemeClr val="accent2"/>
              </a:buClr>
              <a:buFontTx/>
              <a:buChar char="-"/>
              <a:defRPr sz="1050"/>
            </a:lvl4pPr>
            <a:lvl5pPr marL="1289447" indent="-133350">
              <a:buClr>
                <a:schemeClr val="accent2"/>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p:cNvSpPr>
            <a:spLocks noGrp="1"/>
          </p:cNvSpPr>
          <p:nvPr>
            <p:ph type="body" sz="quarter" idx="13"/>
          </p:nvPr>
        </p:nvSpPr>
        <p:spPr>
          <a:xfrm>
            <a:off x="6217721" y="1074738"/>
            <a:ext cx="5308547" cy="5308600"/>
          </a:xfrm>
          <a:prstGeom prst="rect">
            <a:avLst/>
          </a:prstGeom>
        </p:spPr>
        <p:txBody>
          <a:bodyPr>
            <a:normAutofit/>
          </a:bodyPr>
          <a:lstStyle>
            <a:lvl1pPr>
              <a:buClr>
                <a:schemeClr val="tx2"/>
              </a:buClr>
              <a:defRPr/>
            </a:lvl1pPr>
            <a:lvl2pPr marL="342900" indent="-127397">
              <a:buClr>
                <a:schemeClr val="accent2"/>
              </a:buClr>
              <a:defRPr/>
            </a:lvl2pPr>
            <a:lvl3pPr marL="603647" indent="-133350">
              <a:buClr>
                <a:schemeClr val="accent2"/>
              </a:buClr>
              <a:defRPr/>
            </a:lvl3pPr>
            <a:lvl4pPr marL="901304" indent="-126206">
              <a:buClr>
                <a:schemeClr val="accent2"/>
              </a:buClr>
              <a:buFontTx/>
              <a:buChar char="-"/>
              <a:defRPr sz="1050"/>
            </a:lvl4pPr>
            <a:lvl5pPr marL="1289447" indent="-133350">
              <a:buClr>
                <a:schemeClr val="accent2"/>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4"/>
          </p:nvPr>
        </p:nvSpPr>
        <p:spPr/>
        <p:txBody>
          <a:bodyPr/>
          <a:lstStyle>
            <a:lvl1pPr>
              <a:defRPr/>
            </a:lvl1pPr>
          </a:lstStyle>
          <a:p>
            <a:pPr>
              <a:defRPr/>
            </a:pPr>
            <a:fld id="{605B3BCB-7F3B-4C52-B528-FFFEB5B41B4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806548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6" name="Rectangle 5"/>
          <p:cNvSpPr/>
          <p:nvPr userDrawn="1"/>
        </p:nvSpPr>
        <p:spPr>
          <a:xfrm>
            <a:off x="10972800" y="6350003"/>
            <a:ext cx="914400" cy="492125"/>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a:solidFill>
                <a:srgbClr val="FFFFFF"/>
              </a:solidFill>
            </a:endParaRPr>
          </a:p>
        </p:txBody>
      </p:sp>
      <p:cxnSp>
        <p:nvCxnSpPr>
          <p:cNvPr id="7" name="Straight Connector 6"/>
          <p:cNvCxnSpPr/>
          <p:nvPr userDrawn="1"/>
        </p:nvCxnSpPr>
        <p:spPr>
          <a:xfrm>
            <a:off x="6089651" y="1000128"/>
            <a:ext cx="0" cy="524827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Round Single Corner Rectangle 7"/>
          <p:cNvSpPr/>
          <p:nvPr userDrawn="1"/>
        </p:nvSpPr>
        <p:spPr>
          <a:xfrm>
            <a:off x="0" y="6364291"/>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10" name="Rectangle 9"/>
          <p:cNvSpPr>
            <a:spLocks noChangeArrowheads="1"/>
          </p:cNvSpPr>
          <p:nvPr userDrawn="1"/>
        </p:nvSpPr>
        <p:spPr bwMode="auto">
          <a:xfrm>
            <a:off x="207436" y="6149976"/>
            <a:ext cx="1923925"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42900" eaLnBrk="1" hangingPunct="1">
              <a:defRPr/>
            </a:pPr>
            <a:r>
              <a:rPr lang="en-US" altLang="en-US" sz="525">
                <a:solidFill>
                  <a:srgbClr val="707070"/>
                </a:solidFill>
                <a:cs typeface="Arial" panose="020B0604020202020204" pitchFamily="34" charset="0"/>
              </a:rPr>
              <a:t>© 2015 by Honeywell International Inc. All rights reserved. </a:t>
            </a:r>
          </a:p>
        </p:txBody>
      </p:sp>
      <p:sp>
        <p:nvSpPr>
          <p:cNvPr id="2" name="Title 1"/>
          <p:cNvSpPr>
            <a:spLocks noGrp="1"/>
          </p:cNvSpPr>
          <p:nvPr>
            <p:ph type="title"/>
          </p:nvPr>
        </p:nvSpPr>
        <p:spPr/>
        <p:txBody>
          <a:bodyPr/>
          <a:lstStyle/>
          <a:p>
            <a:r>
              <a:rPr lang="en-US"/>
              <a:t>Click to edit Master title style</a:t>
            </a:r>
          </a:p>
        </p:txBody>
      </p:sp>
      <p:sp>
        <p:nvSpPr>
          <p:cNvPr id="4" name="Text Placeholder 2"/>
          <p:cNvSpPr>
            <a:spLocks noGrp="1"/>
          </p:cNvSpPr>
          <p:nvPr>
            <p:ph type="body" sz="quarter" idx="12"/>
          </p:nvPr>
        </p:nvSpPr>
        <p:spPr>
          <a:xfrm>
            <a:off x="685801" y="1074738"/>
            <a:ext cx="5308547" cy="5047934"/>
          </a:xfrm>
          <a:prstGeom prst="rect">
            <a:avLst/>
          </a:prstGeom>
        </p:spPr>
        <p:txBody>
          <a:bodyPr>
            <a:normAutofit/>
          </a:bodyPr>
          <a:lstStyle>
            <a:lvl1pPr>
              <a:buClr>
                <a:schemeClr val="tx2"/>
              </a:buClr>
              <a:defRPr/>
            </a:lvl1pPr>
            <a:lvl2pPr marL="342900" indent="-127397">
              <a:buClr>
                <a:schemeClr val="accent2"/>
              </a:buClr>
              <a:defRPr/>
            </a:lvl2pPr>
            <a:lvl3pPr marL="603647" indent="-133350">
              <a:buClr>
                <a:schemeClr val="accent2"/>
              </a:buClr>
              <a:defRPr/>
            </a:lvl3pPr>
            <a:lvl4pPr marL="901304" indent="-126206">
              <a:buClr>
                <a:schemeClr val="accent2"/>
              </a:buClr>
              <a:buFontTx/>
              <a:buChar char="-"/>
              <a:defRPr sz="1050"/>
            </a:lvl4pPr>
            <a:lvl5pPr marL="1289447" indent="-133350">
              <a:buClr>
                <a:schemeClr val="accent2"/>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p:cNvSpPr>
            <a:spLocks noGrp="1"/>
          </p:cNvSpPr>
          <p:nvPr>
            <p:ph type="body" sz="quarter" idx="13"/>
          </p:nvPr>
        </p:nvSpPr>
        <p:spPr>
          <a:xfrm>
            <a:off x="6217721" y="1074738"/>
            <a:ext cx="5308547" cy="5047934"/>
          </a:xfrm>
          <a:prstGeom prst="rect">
            <a:avLst/>
          </a:prstGeom>
        </p:spPr>
        <p:txBody>
          <a:bodyPr>
            <a:normAutofit/>
          </a:bodyPr>
          <a:lstStyle>
            <a:lvl1pPr>
              <a:buClr>
                <a:schemeClr val="tx2"/>
              </a:buClr>
              <a:defRPr/>
            </a:lvl1pPr>
            <a:lvl2pPr marL="342900" indent="-127397">
              <a:buClr>
                <a:schemeClr val="accent2"/>
              </a:buClr>
              <a:defRPr/>
            </a:lvl2pPr>
            <a:lvl3pPr marL="603647" indent="-133350">
              <a:buClr>
                <a:schemeClr val="accent2"/>
              </a:buClr>
              <a:defRPr/>
            </a:lvl3pPr>
            <a:lvl4pPr marL="901304" indent="-126206">
              <a:buClr>
                <a:schemeClr val="accent2"/>
              </a:buClr>
              <a:buFontTx/>
              <a:buChar char="-"/>
              <a:defRPr sz="1050"/>
            </a:lvl4pPr>
            <a:lvl5pPr marL="1289447" indent="-133350">
              <a:buClr>
                <a:schemeClr val="accent2"/>
              </a:buCl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1800" b="1">
                <a:solidFill>
                  <a:schemeClr val="bg1"/>
                </a:solidFill>
              </a:defRPr>
            </a:lvl1pPr>
          </a:lstStyle>
          <a:p>
            <a:pPr lvl="0"/>
            <a:r>
              <a:rPr lang="en-US"/>
              <a:t>Click to edit Master text styles</a:t>
            </a:r>
          </a:p>
        </p:txBody>
      </p:sp>
      <p:sp>
        <p:nvSpPr>
          <p:cNvPr id="11" name="Slide Number Placeholder 2"/>
          <p:cNvSpPr>
            <a:spLocks noGrp="1"/>
          </p:cNvSpPr>
          <p:nvPr>
            <p:ph type="sldNum" sz="quarter" idx="16"/>
          </p:nvPr>
        </p:nvSpPr>
        <p:spPr/>
        <p:txBody>
          <a:bodyPr/>
          <a:lstStyle>
            <a:lvl1pPr>
              <a:defRPr/>
            </a:lvl1pPr>
          </a:lstStyle>
          <a:p>
            <a:pPr>
              <a:defRPr/>
            </a:pPr>
            <a:fld id="{956544CA-15D9-4FAC-AB07-F8562A9D242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161997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592669" y="3698875"/>
            <a:ext cx="10953751"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8" name="Straight Connector 7"/>
          <p:cNvCxnSpPr/>
          <p:nvPr userDrawn="1"/>
        </p:nvCxnSpPr>
        <p:spPr bwMode="auto">
          <a:xfrm>
            <a:off x="6140451" y="962028"/>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22" name="Text Placeholder 2"/>
          <p:cNvSpPr>
            <a:spLocks noGrp="1"/>
          </p:cNvSpPr>
          <p:nvPr>
            <p:ph type="body" sz="quarter" idx="18"/>
          </p:nvPr>
        </p:nvSpPr>
        <p:spPr>
          <a:xfrm>
            <a:off x="6259493" y="962652"/>
            <a:ext cx="5429251" cy="262946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12"/>
          </p:nvPr>
        </p:nvSpPr>
        <p:spPr>
          <a:xfrm>
            <a:off x="592666" y="962652"/>
            <a:ext cx="5429251" cy="262946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p:cNvSpPr>
            <a:spLocks noGrp="1"/>
          </p:cNvSpPr>
          <p:nvPr>
            <p:ph type="title"/>
          </p:nvPr>
        </p:nvSpPr>
        <p:spPr>
          <a:xfrm>
            <a:off x="576000" y="331307"/>
            <a:ext cx="11128904" cy="525115"/>
          </a:xfrm>
        </p:spPr>
        <p:txBody>
          <a:bodyPr/>
          <a:lstStyle/>
          <a:p>
            <a:r>
              <a:rPr lang="en-US"/>
              <a:t>Click to edit Master title style</a:t>
            </a:r>
          </a:p>
        </p:txBody>
      </p:sp>
      <p:sp>
        <p:nvSpPr>
          <p:cNvPr id="23" name="Text Placeholder 2"/>
          <p:cNvSpPr>
            <a:spLocks noGrp="1"/>
          </p:cNvSpPr>
          <p:nvPr>
            <p:ph type="body" sz="quarter" idx="19"/>
          </p:nvPr>
        </p:nvSpPr>
        <p:spPr>
          <a:xfrm>
            <a:off x="6275653" y="3804586"/>
            <a:ext cx="5429251" cy="262946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p:cNvSpPr>
            <a:spLocks noGrp="1"/>
          </p:cNvSpPr>
          <p:nvPr>
            <p:ph type="body" sz="quarter" idx="20"/>
          </p:nvPr>
        </p:nvSpPr>
        <p:spPr>
          <a:xfrm>
            <a:off x="608828" y="3804586"/>
            <a:ext cx="5429251" cy="262946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21"/>
          </p:nvPr>
        </p:nvSpPr>
        <p:spPr/>
        <p:txBody>
          <a:bodyPr/>
          <a:lstStyle>
            <a:lvl1pPr algn="l">
              <a:defRPr sz="750" b="1" i="0">
                <a:solidFill>
                  <a:schemeClr val="bg1"/>
                </a:solidFill>
                <a:latin typeface="HelveticaNeue MediumCond"/>
                <a:cs typeface="HelveticaNeue MediumCond"/>
              </a:defRPr>
            </a:lvl1pPr>
          </a:lstStyle>
          <a:p>
            <a:pPr>
              <a:defRPr/>
            </a:pPr>
            <a:fld id="{F3DB7F31-86AF-4927-9966-18DF57F49AB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815946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ectangle 7"/>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9" name="Round Single Corner Rectangle 8"/>
          <p:cNvSpPr/>
          <p:nvPr userDrawn="1"/>
        </p:nvSpPr>
        <p:spPr>
          <a:xfrm>
            <a:off x="0" y="6364291"/>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10" name="Rectangle 9"/>
          <p:cNvSpPr>
            <a:spLocks noChangeArrowheads="1"/>
          </p:cNvSpPr>
          <p:nvPr userDrawn="1"/>
        </p:nvSpPr>
        <p:spPr bwMode="auto">
          <a:xfrm>
            <a:off x="237069" y="6181726"/>
            <a:ext cx="1923925"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42900" eaLnBrk="1" hangingPunct="1">
              <a:defRPr/>
            </a:pPr>
            <a:r>
              <a:rPr lang="en-US" altLang="en-US" sz="525">
                <a:solidFill>
                  <a:srgbClr val="707070"/>
                </a:solidFill>
                <a:cs typeface="Arial" panose="020B0604020202020204" pitchFamily="34" charset="0"/>
              </a:rPr>
              <a:t>© 2015 by Honeywell International Inc. All rights reserved. </a:t>
            </a:r>
          </a:p>
        </p:txBody>
      </p:sp>
      <p:cxnSp>
        <p:nvCxnSpPr>
          <p:cNvPr id="11" name="Straight Connector 10"/>
          <p:cNvCxnSpPr/>
          <p:nvPr userDrawn="1"/>
        </p:nvCxnSpPr>
        <p:spPr bwMode="auto">
          <a:xfrm>
            <a:off x="6140451" y="962028"/>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cxnSp>
        <p:nvCxnSpPr>
          <p:cNvPr id="12" name="Straight Connector 11"/>
          <p:cNvCxnSpPr/>
          <p:nvPr userDrawn="1"/>
        </p:nvCxnSpPr>
        <p:spPr bwMode="auto">
          <a:xfrm flipH="1">
            <a:off x="592667" y="3579813"/>
            <a:ext cx="11112500"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p:spPr>
      </p:cxnSp>
      <p:sp>
        <p:nvSpPr>
          <p:cNvPr id="18" name="Text Placeholder 2"/>
          <p:cNvSpPr>
            <a:spLocks noGrp="1"/>
          </p:cNvSpPr>
          <p:nvPr>
            <p:ph type="body" sz="quarter" idx="12"/>
          </p:nvPr>
        </p:nvSpPr>
        <p:spPr>
          <a:xfrm>
            <a:off x="592666" y="962652"/>
            <a:ext cx="5429251" cy="2544798"/>
          </a:xfrm>
          <a:prstGeom prst="rect">
            <a:avLst/>
          </a:prstGeom>
        </p:spPr>
        <p:txBody>
          <a:bodyPr>
            <a:normAutofit/>
          </a:bodyPr>
          <a:lstStyle>
            <a:lvl1pPr>
              <a:buClr>
                <a:schemeClr val="tx2"/>
              </a:buClr>
              <a:defRPr sz="1350">
                <a:solidFill>
                  <a:schemeClr val="tx1"/>
                </a:solidFill>
              </a:defRPr>
            </a:lvl1pPr>
            <a:lvl2pPr marL="342900" indent="-127397">
              <a:buClr>
                <a:schemeClr val="accent2"/>
              </a:buClr>
              <a:defRPr sz="1200">
                <a:solidFill>
                  <a:schemeClr val="tx1"/>
                </a:solidFill>
              </a:defRPr>
            </a:lvl2pPr>
            <a:lvl3pPr marL="603647" indent="-133350">
              <a:buClr>
                <a:schemeClr val="accent2"/>
              </a:buClr>
              <a:defRPr sz="1050">
                <a:solidFill>
                  <a:schemeClr val="tx1"/>
                </a:solidFill>
              </a:defRPr>
            </a:lvl3pPr>
            <a:lvl4pPr marL="901304" indent="-126206">
              <a:buClr>
                <a:schemeClr val="accent2"/>
              </a:buClr>
              <a:buFontTx/>
              <a:buChar char="-"/>
              <a:defRPr sz="900">
                <a:solidFill>
                  <a:schemeClr val="tx1"/>
                </a:solidFill>
              </a:defRPr>
            </a:lvl4pPr>
            <a:lvl5pPr marL="1289447" indent="-133350">
              <a:buClr>
                <a:schemeClr val="accent2"/>
              </a:buCl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1800" b="1">
                <a:solidFill>
                  <a:schemeClr val="bg1"/>
                </a:solidFill>
              </a:defRPr>
            </a:lvl1pPr>
          </a:lstStyle>
          <a:p>
            <a:pPr lvl="0"/>
            <a:r>
              <a:rPr lang="en-US"/>
              <a:t>Click to edit Master text styles</a:t>
            </a:r>
          </a:p>
        </p:txBody>
      </p:sp>
      <p:sp>
        <p:nvSpPr>
          <p:cNvPr id="16" name="Title 1"/>
          <p:cNvSpPr>
            <a:spLocks noGrp="1"/>
          </p:cNvSpPr>
          <p:nvPr>
            <p:ph type="title"/>
          </p:nvPr>
        </p:nvSpPr>
        <p:spPr>
          <a:xfrm>
            <a:off x="592161" y="371062"/>
            <a:ext cx="11053655" cy="485358"/>
          </a:xfrm>
        </p:spPr>
        <p:txBody>
          <a:bodyPr/>
          <a:lstStyle/>
          <a:p>
            <a:r>
              <a:rPr lang="en-US"/>
              <a:t>Click to edit Master title style</a:t>
            </a:r>
          </a:p>
        </p:txBody>
      </p:sp>
      <p:sp>
        <p:nvSpPr>
          <p:cNvPr id="19" name="Text Placeholder 2"/>
          <p:cNvSpPr>
            <a:spLocks noGrp="1"/>
          </p:cNvSpPr>
          <p:nvPr>
            <p:ph type="body" sz="quarter" idx="19"/>
          </p:nvPr>
        </p:nvSpPr>
        <p:spPr>
          <a:xfrm>
            <a:off x="6275653" y="962652"/>
            <a:ext cx="5429251" cy="2544798"/>
          </a:xfrm>
          <a:prstGeom prst="rect">
            <a:avLst/>
          </a:prstGeom>
        </p:spPr>
        <p:txBody>
          <a:bodyPr>
            <a:normAutofit/>
          </a:bodyPr>
          <a:lstStyle>
            <a:lvl1pPr>
              <a:buClr>
                <a:schemeClr val="tx2"/>
              </a:buClr>
              <a:defRPr sz="1350"/>
            </a:lvl1pPr>
            <a:lvl2pPr marL="342900" indent="-127397">
              <a:buClr>
                <a:schemeClr val="accent2"/>
              </a:buClr>
              <a:buFont typeface="Arial" panose="020B0604020202020204" pitchFamily="34" charset="0"/>
              <a:buChar cha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p:cNvSpPr>
            <a:spLocks noGrp="1"/>
          </p:cNvSpPr>
          <p:nvPr>
            <p:ph type="body" sz="quarter" idx="20"/>
          </p:nvPr>
        </p:nvSpPr>
        <p:spPr>
          <a:xfrm>
            <a:off x="592160" y="3654408"/>
            <a:ext cx="5429251" cy="254479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p:cNvSpPr>
            <a:spLocks noGrp="1"/>
          </p:cNvSpPr>
          <p:nvPr>
            <p:ph type="body" sz="quarter" idx="21"/>
          </p:nvPr>
        </p:nvSpPr>
        <p:spPr>
          <a:xfrm>
            <a:off x="6270368" y="3654408"/>
            <a:ext cx="5429251" cy="2544798"/>
          </a:xfrm>
          <a:prstGeom prst="rect">
            <a:avLst/>
          </a:prstGeom>
        </p:spPr>
        <p:txBody>
          <a:bodyPr>
            <a:normAutofit/>
          </a:bodyPr>
          <a:lstStyle>
            <a:lvl1pPr>
              <a:buClr>
                <a:schemeClr val="tx2"/>
              </a:buClr>
              <a:defRPr sz="1350"/>
            </a:lvl1pPr>
            <a:lvl2pPr marL="342900" indent="-127397">
              <a:buClr>
                <a:schemeClr val="accent2"/>
              </a:buClr>
              <a:defRPr sz="1200"/>
            </a:lvl2pPr>
            <a:lvl3pPr marL="603647" indent="-133350">
              <a:buClr>
                <a:schemeClr val="accent2"/>
              </a:buClr>
              <a:defRPr sz="1050"/>
            </a:lvl3pPr>
            <a:lvl4pPr marL="901304" indent="-126206">
              <a:buClr>
                <a:schemeClr val="accent2"/>
              </a:buClr>
              <a:buFontTx/>
              <a:buChar char="-"/>
              <a:defRPr sz="900"/>
            </a:lvl4pPr>
            <a:lvl5pPr marL="1289447" indent="-133350">
              <a:buClr>
                <a:schemeClr val="accent2"/>
              </a:buCl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22"/>
          </p:nvPr>
        </p:nvSpPr>
        <p:spPr/>
        <p:txBody>
          <a:bodyPr/>
          <a:lstStyle>
            <a:lvl1pPr algn="l">
              <a:defRPr sz="750" b="1" i="0">
                <a:solidFill>
                  <a:schemeClr val="bg1"/>
                </a:solidFill>
                <a:latin typeface="HelveticaNeue MediumCond"/>
                <a:cs typeface="HelveticaNeue MediumCond"/>
              </a:defRPr>
            </a:lvl1pPr>
          </a:lstStyle>
          <a:p>
            <a:pPr>
              <a:defRPr/>
            </a:pPr>
            <a:fld id="{216BC12D-E7E3-42E5-8284-4E51B650D45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570384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C04FC819-8E3A-4A97-A9BF-A66A4271C5C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594141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207436" y="6149976"/>
            <a:ext cx="1923925"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42900" eaLnBrk="1" hangingPunct="1">
              <a:defRPr/>
            </a:pPr>
            <a:r>
              <a:rPr lang="en-US" altLang="en-US" sz="525">
                <a:solidFill>
                  <a:srgbClr val="707070"/>
                </a:solidFill>
                <a:cs typeface="Arial" panose="020B0604020202020204" pitchFamily="34" charset="0"/>
              </a:rPr>
              <a:t>© 2015 by Honeywell International Inc. All rights reserved. </a:t>
            </a:r>
          </a:p>
        </p:txBody>
      </p:sp>
      <p:sp>
        <p:nvSpPr>
          <p:cNvPr id="5" name="Rectangle 4"/>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6" name="Round Single Corner Rectangle 5"/>
          <p:cNvSpPr/>
          <p:nvPr userDrawn="1"/>
        </p:nvSpPr>
        <p:spPr>
          <a:xfrm>
            <a:off x="0" y="6364291"/>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US" sz="1350">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1800" b="1">
                <a:solidFill>
                  <a:schemeClr val="bg1"/>
                </a:solidFill>
              </a:defRPr>
            </a:lvl1pPr>
          </a:lstStyle>
          <a:p>
            <a:pPr lvl="0"/>
            <a:r>
              <a:rPr lang="en-US"/>
              <a:t>Click to edit Master text styles</a:t>
            </a:r>
          </a:p>
        </p:txBody>
      </p:sp>
      <p:sp>
        <p:nvSpPr>
          <p:cNvPr id="8" name="Slide Number Placeholder 2"/>
          <p:cNvSpPr>
            <a:spLocks noGrp="1"/>
          </p:cNvSpPr>
          <p:nvPr>
            <p:ph type="sldNum" sz="quarter" idx="16"/>
          </p:nvPr>
        </p:nvSpPr>
        <p:spPr/>
        <p:txBody>
          <a:bodyPr/>
          <a:lstStyle>
            <a:lvl1pPr>
              <a:defRPr/>
            </a:lvl1pPr>
          </a:lstStyle>
          <a:p>
            <a:pPr>
              <a:defRPr/>
            </a:pPr>
            <a:fld id="{830A8119-104B-4EC7-9F7A-6CD12C199508}"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4376805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1800"/>
            </a:lvl1pPr>
          </a:lstStyle>
          <a:p>
            <a:r>
              <a:rPr lang="en-US"/>
              <a:t>Click to edit Master title style</a:t>
            </a:r>
          </a:p>
        </p:txBody>
      </p:sp>
      <p:sp>
        <p:nvSpPr>
          <p:cNvPr id="3" name="Content Placeholder 2"/>
          <p:cNvSpPr>
            <a:spLocks noGrp="1"/>
          </p:cNvSpPr>
          <p:nvPr>
            <p:ph idx="1"/>
          </p:nvPr>
        </p:nvSpPr>
        <p:spPr>
          <a:xfrm>
            <a:off x="5183188" y="987429"/>
            <a:ext cx="6172200" cy="4873625"/>
          </a:xfrm>
          <a:prstGeom prst="rect">
            <a:avLst/>
          </a:prstGeo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a:xfrm>
            <a:off x="838200" y="6356354"/>
            <a:ext cx="2743200" cy="365125"/>
          </a:xfrm>
          <a:prstGeom prst="rect">
            <a:avLst/>
          </a:prstGeom>
        </p:spPr>
        <p:txBody>
          <a:bodyPr/>
          <a:lstStyle>
            <a:lvl1pPr eaLnBrk="1" fontAlgn="auto" hangingPunct="1">
              <a:spcBef>
                <a:spcPts val="0"/>
              </a:spcBef>
              <a:spcAft>
                <a:spcPts val="0"/>
              </a:spcAft>
              <a:defRPr>
                <a:latin typeface="+mn-lt"/>
              </a:defRPr>
            </a:lvl1pPr>
          </a:lstStyle>
          <a:p>
            <a:pPr defTabSz="342900">
              <a:defRPr/>
            </a:pPr>
            <a:fld id="{3A61649B-473A-42BF-9858-D70D7798AC9E}" type="datetimeFigureOut">
              <a:rPr lang="en-US" sz="1350" smtClean="0">
                <a:solidFill>
                  <a:srgbClr val="000000"/>
                </a:solidFill>
                <a:cs typeface="Arial" panose="020B0604020202020204" pitchFamily="34" charset="0"/>
              </a:rPr>
              <a:pPr defTabSz="342900">
                <a:defRPr/>
              </a:pPr>
              <a:t>11/12/2024</a:t>
            </a:fld>
            <a:endParaRPr lang="en-US" sz="1350">
              <a:solidFill>
                <a:srgbClr val="000000"/>
              </a:solidFill>
              <a:cs typeface="Arial" panose="020B0604020202020204" pitchFamily="34" charset="0"/>
            </a:endParaRPr>
          </a:p>
        </p:txBody>
      </p:sp>
      <p:sp>
        <p:nvSpPr>
          <p:cNvPr id="6" name="Footer Placeholder 5"/>
          <p:cNvSpPr>
            <a:spLocks noGrp="1"/>
          </p:cNvSpPr>
          <p:nvPr>
            <p:ph type="ftr" sz="quarter" idx="11"/>
            <p:custDataLst>
              <p:tags r:id="rId1"/>
            </p:custDataLst>
          </p:nvPr>
        </p:nvSpPr>
        <p:spPr>
          <a:xfrm>
            <a:off x="0" y="6356354"/>
            <a:ext cx="12192000" cy="200025"/>
          </a:xfrm>
          <a:prstGeom prst="rect">
            <a:avLst/>
          </a:prstGeom>
        </p:spPr>
        <p:txBody>
          <a:bodyPr/>
          <a:lstStyle>
            <a:lvl1pPr algn="l">
              <a:defRPr lang="en-US" sz="394" b="0" i="0" u="none">
                <a:solidFill>
                  <a:srgbClr val="7F7F7F"/>
                </a:solidFill>
                <a:latin typeface="Arial" panose="020B0604020202020204" pitchFamily="34" charset="0"/>
              </a:defRPr>
            </a:lvl1pPr>
          </a:lstStyle>
          <a:p>
            <a:pPr defTabSz="342900" eaLnBrk="1" hangingPunct="1">
              <a:defRPr/>
            </a:pPr>
            <a:r>
              <a:rPr lang="en-US">
                <a:cs typeface="Arial" panose="020B0604020202020204" pitchFamily="34" charset="0"/>
              </a:rPr>
              <a:t>Honeywell Internal</a:t>
            </a:r>
          </a:p>
        </p:txBody>
      </p:sp>
      <p:sp>
        <p:nvSpPr>
          <p:cNvPr id="7" name="Slide Number Placeholder 6"/>
          <p:cNvSpPr>
            <a:spLocks noGrp="1"/>
          </p:cNvSpPr>
          <p:nvPr>
            <p:ph type="sldNum" sz="quarter" idx="12"/>
          </p:nvPr>
        </p:nvSpPr>
        <p:spPr/>
        <p:txBody>
          <a:bodyPr/>
          <a:lstStyle>
            <a:lvl1pPr>
              <a:defRPr/>
            </a:lvl1pPr>
          </a:lstStyle>
          <a:p>
            <a:pPr>
              <a:defRPr/>
            </a:pPr>
            <a:fld id="{7FFF93E5-F4EC-4C22-9D44-3DA21348CD93}"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409433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ulti-Image Cover">
    <p:spTree>
      <p:nvGrpSpPr>
        <p:cNvPr id="1" name=""/>
        <p:cNvGrpSpPr/>
        <p:nvPr/>
      </p:nvGrpSpPr>
      <p:grpSpPr>
        <a:xfrm>
          <a:off x="0" y="0"/>
          <a:ext cx="0" cy="0"/>
          <a:chOff x="0" y="0"/>
          <a:chExt cx="0" cy="0"/>
        </a:xfrm>
      </p:grpSpPr>
      <p:sp>
        <p:nvSpPr>
          <p:cNvPr id="8" name="Text Placeholder 19"/>
          <p:cNvSpPr>
            <a:spLocks noGrp="1"/>
          </p:cNvSpPr>
          <p:nvPr>
            <p:ph type="body" sz="quarter" idx="13"/>
          </p:nvPr>
        </p:nvSpPr>
        <p:spPr>
          <a:xfrm>
            <a:off x="446702" y="6230048"/>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a:t>Click to edit Master text styles</a:t>
            </a:r>
          </a:p>
        </p:txBody>
      </p:sp>
      <p:sp>
        <p:nvSpPr>
          <p:cNvPr id="9" name="Text Placeholder 17"/>
          <p:cNvSpPr>
            <a:spLocks noGrp="1"/>
          </p:cNvSpPr>
          <p:nvPr>
            <p:ph type="body" sz="quarter" idx="12"/>
          </p:nvPr>
        </p:nvSpPr>
        <p:spPr>
          <a:xfrm>
            <a:off x="446700" y="5932580"/>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6299585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B8402602-5779-4F5E-8EA6-1DD6CFA32963}" type="datetime4">
              <a:rPr lang="en-US" smtClean="0"/>
              <a:t>November 12, 2024</a:t>
            </a:fld>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7" name="Graphic 6">
            <a:extLst>
              <a:ext uri="{FF2B5EF4-FFF2-40B4-BE49-F238E27FC236}">
                <a16:creationId xmlns:a16="http://schemas.microsoft.com/office/drawing/2014/main" id="{C1282C00-7ED9-4141-8769-C6C45F4C30D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80462815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17ADFA0-0F71-4971-A8E4-F5B8AFCEAEF0}"/>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002D32-82E1-4A26-B21B-211E36D8536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B8402602-5779-4F5E-8EA6-1DD6CFA32963}" type="datetime4">
              <a:rPr lang="en-US" smtClean="0"/>
              <a:t>November 12, 2024</a:t>
            </a:fld>
            <a:endParaRPr lang="en-US"/>
          </a:p>
        </p:txBody>
      </p:sp>
      <p:sp>
        <p:nvSpPr>
          <p:cNvPr id="12" name="Title 1">
            <a:extLst>
              <a:ext uri="{FF2B5EF4-FFF2-40B4-BE49-F238E27FC236}">
                <a16:creationId xmlns:a16="http://schemas.microsoft.com/office/drawing/2014/main" id="{ACDFF16B-FE21-41D3-AC2E-390ECA51B5CA}"/>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pic>
        <p:nvPicPr>
          <p:cNvPr id="6" name="Graphic 5">
            <a:extLst>
              <a:ext uri="{FF2B5EF4-FFF2-40B4-BE49-F238E27FC236}">
                <a16:creationId xmlns:a16="http://schemas.microsoft.com/office/drawing/2014/main" id="{1BF3A480-33FE-4DED-A76C-244D5E28DF1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63974861"/>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op 25 Full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9403" y="1200151"/>
            <a:ext cx="11624732" cy="4514850"/>
          </a:xfrm>
        </p:spPr>
        <p:txBody>
          <a:bodyPr/>
          <a:lstStyle>
            <a:lvl1pPr>
              <a:defRPr sz="18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0" y="428629"/>
            <a:ext cx="12192000" cy="3994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sz="1800" b="1" kern="0">
                <a:solidFill>
                  <a:srgbClr val="0080C7"/>
                </a:solidFill>
                <a:latin typeface="Arial"/>
              </a:rPr>
              <a:t>RAIL             </a:t>
            </a:r>
            <a:r>
              <a:rPr lang="en-US" sz="1800" b="1" kern="0">
                <a:solidFill>
                  <a:srgbClr val="000000"/>
                </a:solidFill>
                <a:latin typeface="Arial"/>
              </a:rPr>
              <a:t>- </a:t>
            </a:r>
            <a:endParaRPr lang="en-US" sz="1800" kern="0">
              <a:solidFill>
                <a:srgbClr val="000000"/>
              </a:solidFill>
              <a:latin typeface="Arial"/>
            </a:endParaRPr>
          </a:p>
        </p:txBody>
      </p:sp>
      <p:sp>
        <p:nvSpPr>
          <p:cNvPr id="6" name="Rectangle 2"/>
          <p:cNvSpPr txBox="1">
            <a:spLocks noChangeArrowheads="1"/>
          </p:cNvSpPr>
          <p:nvPr userDrawn="1"/>
        </p:nvSpPr>
        <p:spPr bwMode="auto">
          <a:xfrm>
            <a:off x="0" y="781053"/>
            <a:ext cx="12192000" cy="252103"/>
          </a:xfrm>
          <a:prstGeom prst="rect">
            <a:avLst/>
          </a:prstGeom>
          <a:noFill/>
          <a:ln w="9525">
            <a:noFill/>
            <a:miter lim="800000"/>
            <a:headEnd/>
            <a:tailEnd/>
          </a:ln>
        </p:spPr>
        <p:txBody>
          <a:bodyPr vert="horz" wrap="square" lIns="101875" tIns="50939" rIns="101875" bIns="50939" numCol="1" anchor="ctr" anchorCtr="0" compatLnSpc="1">
            <a:prstTxWarp prst="textNoShape">
              <a:avLst/>
            </a:prstTxWarp>
            <a:noAutofit/>
          </a:bodyPr>
          <a:lstStyle/>
          <a:p>
            <a:pPr eaLnBrk="1" hangingPunct="1">
              <a:defRPr/>
            </a:pPr>
            <a:r>
              <a:rPr lang="en-US" sz="1000" b="1" kern="0">
                <a:solidFill>
                  <a:srgbClr val="000000"/>
                </a:solidFill>
                <a:latin typeface="Arial"/>
              </a:rPr>
              <a:t>Initiator: 	                    Owner:   	                Initiation Date:        	              Moved to Top 25:                        Original Commit Date:</a:t>
            </a:r>
          </a:p>
        </p:txBody>
      </p:sp>
    </p:spTree>
    <p:extLst>
      <p:ext uri="{BB962C8B-B14F-4D97-AF65-F5344CB8AC3E}">
        <p14:creationId xmlns:p14="http://schemas.microsoft.com/office/powerpoint/2010/main" val="67732873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BE5B79E-6E09-4AE0-B068-70661783035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58821" y="6207119"/>
            <a:ext cx="2134171" cy="299357"/>
          </a:xfrm>
          <a:prstGeom prst="rect">
            <a:avLst/>
          </a:prstGeom>
        </p:spPr>
      </p:pic>
      <p:sp>
        <p:nvSpPr>
          <p:cNvPr id="7" name="Subtitle 2">
            <a:extLst>
              <a:ext uri="{FF2B5EF4-FFF2-40B4-BE49-F238E27FC236}">
                <a16:creationId xmlns:a16="http://schemas.microsoft.com/office/drawing/2014/main" id="{ABF8822E-0C02-4814-A6E7-56C0B7B0D69B}"/>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93D0887F-F992-4ED3-9419-002B82CE70FF}"/>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F33CB4-36A4-4A83-B2A1-155A520B62A4}" type="datetime4">
              <a:rPr lang="en-US" smtClean="0"/>
              <a:t>November 12, 2024</a:t>
            </a:fld>
            <a:endParaRPr lang="en-US"/>
          </a:p>
        </p:txBody>
      </p:sp>
      <p:sp>
        <p:nvSpPr>
          <p:cNvPr id="11" name="Title 1">
            <a:extLst>
              <a:ext uri="{FF2B5EF4-FFF2-40B4-BE49-F238E27FC236}">
                <a16:creationId xmlns:a16="http://schemas.microsoft.com/office/drawing/2014/main" id="{17BD0CEE-D14F-4358-BCC8-8251FBDD43BE}"/>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509030172"/>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1"/>
            </p:custDataLst>
            <p:extLst>
              <p:ext uri="{D42A27DB-BD31-4B8C-83A1-F6EECF244321}">
                <p14:modId xmlns:p14="http://schemas.microsoft.com/office/powerpoint/2010/main" val="40751251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20294" y="1136740"/>
            <a:ext cx="9140021" cy="978088"/>
          </a:xfrm>
          <a:prstGeom prst="rect">
            <a:avLst/>
          </a:prstGeom>
        </p:spPr>
        <p:txBody>
          <a:bodyPr wrap="square" tIns="0" anchor="t">
            <a:spAutoFit/>
          </a:bodyPr>
          <a:lstStyle>
            <a:lvl1pPr algn="l">
              <a:lnSpc>
                <a:spcPct val="70000"/>
              </a:lnSpc>
              <a:defRPr sz="4400" b="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6B30DC4-0D9C-4E5D-ACEA-49FE637AB09B}"/>
              </a:ext>
            </a:extLst>
          </p:cNvPr>
          <p:cNvSpPr>
            <a:spLocks noGrp="1"/>
          </p:cNvSpPr>
          <p:nvPr>
            <p:ph type="subTitle" idx="1" hasCustomPrompt="1"/>
          </p:nvPr>
        </p:nvSpPr>
        <p:spPr>
          <a:xfrm>
            <a:off x="338330" y="3588789"/>
            <a:ext cx="5600700" cy="892017"/>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10" name="Date Placeholder 3">
            <a:extLst>
              <a:ext uri="{FF2B5EF4-FFF2-40B4-BE49-F238E27FC236}">
                <a16:creationId xmlns:a16="http://schemas.microsoft.com/office/drawing/2014/main" id="{2A162CD9-C74B-42A2-AF31-1FC2342BB386}"/>
              </a:ext>
            </a:extLst>
          </p:cNvPr>
          <p:cNvSpPr>
            <a:spLocks noGrp="1"/>
          </p:cNvSpPr>
          <p:nvPr>
            <p:ph type="dt" sz="half" idx="10"/>
          </p:nvPr>
        </p:nvSpPr>
        <p:spPr>
          <a:xfrm>
            <a:off x="338329" y="4610475"/>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6CA57CA-5A10-4A0F-BB01-2FAE20F831C9}" type="datetime4">
              <a:rPr lang="en-US" smtClean="0"/>
              <a:t>November 12, 2024</a:t>
            </a:fld>
            <a:endParaRPr lang="en-US"/>
          </a:p>
        </p:txBody>
      </p:sp>
      <p:pic>
        <p:nvPicPr>
          <p:cNvPr id="11" name="Graphic 10">
            <a:extLst>
              <a:ext uri="{FF2B5EF4-FFF2-40B4-BE49-F238E27FC236}">
                <a16:creationId xmlns:a16="http://schemas.microsoft.com/office/drawing/2014/main" id="{04006F25-D41A-40AB-B4AF-9F8E2AE1AA7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8821" y="6207119"/>
            <a:ext cx="2134171" cy="299357"/>
          </a:xfrm>
          <a:prstGeom prst="rect">
            <a:avLst/>
          </a:prstGeom>
        </p:spPr>
      </p:pic>
    </p:spTree>
    <p:extLst>
      <p:ext uri="{BB962C8B-B14F-4D97-AF65-F5344CB8AC3E}">
        <p14:creationId xmlns:p14="http://schemas.microsoft.com/office/powerpoint/2010/main" val="132572995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1"/>
            </p:custDataLst>
            <p:extLst>
              <p:ext uri="{D42A27DB-BD31-4B8C-83A1-F6EECF244321}">
                <p14:modId xmlns:p14="http://schemas.microsoft.com/office/powerpoint/2010/main" val="35764574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43536" y="3429001"/>
            <a:ext cx="11337880" cy="504112"/>
          </a:xfrm>
          <a:prstGeom prst="rect">
            <a:avLst/>
          </a:prstGeom>
        </p:spPr>
        <p:txBody>
          <a:bodyPr wrap="square" tIns="0" anchor="t">
            <a:spAutoFit/>
          </a:bodyPr>
          <a:lstStyle>
            <a:lvl1pPr algn="l">
              <a:lnSpc>
                <a:spcPct val="7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61733" y="4681904"/>
            <a:ext cx="4681753"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4645" y="5450755"/>
            <a:ext cx="4678840"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613564CA-6AB8-4E79-8144-97FF6C7CC1CA}" type="datetime4">
              <a:rPr lang="en-US" smtClean="0"/>
              <a:t>November 12, 2024</a:t>
            </a:fld>
            <a:endParaRPr lang="en-US"/>
          </a:p>
        </p:txBody>
      </p:sp>
      <p:pic>
        <p:nvPicPr>
          <p:cNvPr id="14" name="Graphic 13">
            <a:extLst>
              <a:ext uri="{FF2B5EF4-FFF2-40B4-BE49-F238E27FC236}">
                <a16:creationId xmlns:a16="http://schemas.microsoft.com/office/drawing/2014/main" id="{0750C988-DD0C-40C4-8297-659218FB1AB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1882652705"/>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388690" y="3848101"/>
            <a:ext cx="5600700" cy="2019300"/>
          </a:xfrm>
        </p:spPr>
        <p:txBody>
          <a:bodyPr/>
          <a:lstStyle>
            <a:lvl1pPr marL="0" indent="0">
              <a:lnSpc>
                <a:spcPct val="90000"/>
              </a:lnSpc>
              <a:buNone/>
              <a:defRPr lang="en-US" sz="2000" kern="1200" dirty="0">
                <a:solidFill>
                  <a:schemeClr val="bg1"/>
                </a:solidFill>
                <a:latin typeface="+mn-lt"/>
                <a:ea typeface="+mn-ea"/>
                <a:cs typeface="+mn-cs"/>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6A06642E-2F61-4998-B937-96BE41E564C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8689" y="6369209"/>
            <a:ext cx="1524000" cy="213769"/>
          </a:xfrm>
          <a:prstGeom prst="rect">
            <a:avLst/>
          </a:prstGeom>
        </p:spPr>
      </p:pic>
      <p:sp>
        <p:nvSpPr>
          <p:cNvPr id="13" name="Title 1">
            <a:extLst>
              <a:ext uri="{FF2B5EF4-FFF2-40B4-BE49-F238E27FC236}">
                <a16:creationId xmlns:a16="http://schemas.microsoft.com/office/drawing/2014/main" id="{1C224819-8C0C-431D-80CA-610F414A6769}"/>
              </a:ext>
            </a:extLst>
          </p:cNvPr>
          <p:cNvSpPr>
            <a:spLocks noGrp="1"/>
          </p:cNvSpPr>
          <p:nvPr>
            <p:ph type="title"/>
          </p:nvPr>
        </p:nvSpPr>
        <p:spPr>
          <a:xfrm>
            <a:off x="388690" y="1409699"/>
            <a:ext cx="8348452" cy="978088"/>
          </a:xfrm>
          <a:prstGeom prst="rect">
            <a:avLst/>
          </a:prstGeom>
        </p:spPr>
        <p:txBody>
          <a:bodyPr wrap="square" tIns="0" anchor="t">
            <a:spAutoFit/>
          </a:bodyPr>
          <a:lstStyle>
            <a:lvl1pPr>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219010848"/>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1"/>
            </p:custDataLst>
            <p:extLst>
              <p:ext uri="{D42A27DB-BD31-4B8C-83A1-F6EECF244321}">
                <p14:modId xmlns:p14="http://schemas.microsoft.com/office/powerpoint/2010/main" val="37421040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2297"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43095" y="5105402"/>
            <a:ext cx="5523367" cy="461665"/>
          </a:xfrm>
        </p:spPr>
        <p:txBody>
          <a:bodyPr wrap="square" tIns="18288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pic>
        <p:nvPicPr>
          <p:cNvPr id="10" name="Graphic 9">
            <a:extLst>
              <a:ext uri="{FF2B5EF4-FFF2-40B4-BE49-F238E27FC236}">
                <a16:creationId xmlns:a16="http://schemas.microsoft.com/office/drawing/2014/main" id="{872EB30C-2B5C-4099-9A24-D0B58457183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368932038"/>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9"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
        <p:nvSpPr>
          <p:cNvPr id="14" name="Title 1">
            <a:extLst>
              <a:ext uri="{FF2B5EF4-FFF2-40B4-BE49-F238E27FC236}">
                <a16:creationId xmlns:a16="http://schemas.microsoft.com/office/drawing/2014/main" id="{2F184294-67A6-421E-A141-2D63D93A12CC}"/>
              </a:ext>
            </a:extLst>
          </p:cNvPr>
          <p:cNvSpPr>
            <a:spLocks noGrp="1"/>
          </p:cNvSpPr>
          <p:nvPr>
            <p:ph type="title"/>
          </p:nvPr>
        </p:nvSpPr>
        <p:spPr>
          <a:xfrm>
            <a:off x="352297" y="3848099"/>
            <a:ext cx="11453017" cy="504112"/>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16" name="Text Placeholder 2">
            <a:extLst>
              <a:ext uri="{FF2B5EF4-FFF2-40B4-BE49-F238E27FC236}">
                <a16:creationId xmlns:a16="http://schemas.microsoft.com/office/drawing/2014/main" id="{D377FF56-AE8D-4398-9FA0-481030C59241}"/>
              </a:ext>
            </a:extLst>
          </p:cNvPr>
          <p:cNvSpPr>
            <a:spLocks noGrp="1"/>
          </p:cNvSpPr>
          <p:nvPr>
            <p:ph type="body" idx="1" hasCustomPrompt="1"/>
          </p:nvPr>
        </p:nvSpPr>
        <p:spPr>
          <a:xfrm>
            <a:off x="343095" y="5105402"/>
            <a:ext cx="5523367" cy="461665"/>
          </a:xfrm>
        </p:spPr>
        <p:txBody>
          <a:bodyPr wrap="square" tIns="18288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pic>
        <p:nvPicPr>
          <p:cNvPr id="13" name="Graphic 12">
            <a:extLst>
              <a:ext uri="{FF2B5EF4-FFF2-40B4-BE49-F238E27FC236}">
                <a16:creationId xmlns:a16="http://schemas.microsoft.com/office/drawing/2014/main" id="{22D48FBB-817B-4978-A633-C8051CA9325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2074364605"/>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0" y="3429001"/>
            <a:ext cx="8921657" cy="1447799"/>
          </a:xfrm>
          <a:prstGeom prst="rect">
            <a:avLst/>
          </a:prstGeo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89" y="4876802"/>
            <a:ext cx="8921656" cy="461665"/>
          </a:xfrm>
        </p:spPr>
        <p:txBody>
          <a:bodyPr wrap="square" tIns="182880" anchor="t">
            <a:spAutoFit/>
          </a:bodyPr>
          <a:lstStyle>
            <a:lvl1pPr marL="0" indent="0">
              <a:lnSpc>
                <a:spcPct val="90000"/>
              </a:lnSpc>
              <a:buNone/>
              <a:defRPr sz="20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2FEDD368-A3BB-4F75-99C5-2A663358971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8689" y="6369209"/>
            <a:ext cx="1524000" cy="213769"/>
          </a:xfrm>
          <a:prstGeom prst="rect">
            <a:avLst/>
          </a:prstGeom>
        </p:spPr>
      </p:pic>
    </p:spTree>
    <p:extLst>
      <p:ext uri="{BB962C8B-B14F-4D97-AF65-F5344CB8AC3E}">
        <p14:creationId xmlns:p14="http://schemas.microsoft.com/office/powerpoint/2010/main" val="3800653502"/>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1"/>
            </p:custDataLst>
            <p:extLst>
              <p:ext uri="{D42A27DB-BD31-4B8C-83A1-F6EECF244321}">
                <p14:modId xmlns:p14="http://schemas.microsoft.com/office/powerpoint/2010/main" val="14660442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88690" y="1409699"/>
            <a:ext cx="8348452" cy="978088"/>
          </a:xfrm>
          <a:prstGeom prst="rect">
            <a:avLst/>
          </a:prstGeo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88690" y="3848102"/>
            <a:ext cx="5600700" cy="276999"/>
          </a:xfrm>
        </p:spPr>
        <p:txBody>
          <a:bodyPr tIns="0" anchor="t">
            <a:spAutoFit/>
          </a:bodyPr>
          <a:lstStyle>
            <a:lvl1pPr marL="0" indent="0">
              <a:lnSpc>
                <a:spcPct val="90000"/>
              </a:lnSpc>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a:extLst>
              <a:ext uri="{FF2B5EF4-FFF2-40B4-BE49-F238E27FC236}">
                <a16:creationId xmlns:a16="http://schemas.microsoft.com/office/drawing/2014/main" id="{EAD9E843-EB5E-46D9-8DA4-825F2307EDC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45009901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409807119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0"/>
            <a:ext cx="5489645" cy="4800035"/>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E0EC2BDF-6703-43C8-A8D3-D7076C7DA2FF}"/>
              </a:ext>
            </a:extLst>
          </p:cNvPr>
          <p:cNvSpPr>
            <a:spLocks noGrp="1"/>
          </p:cNvSpPr>
          <p:nvPr>
            <p:ph idx="18" hasCustomPrompt="1"/>
          </p:nvPr>
        </p:nvSpPr>
        <p:spPr>
          <a:xfrm>
            <a:off x="6315668" y="1273220"/>
            <a:ext cx="5489645" cy="4800035"/>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595156213"/>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1"/>
            </p:custDataLst>
            <p:extLst>
              <p:ext uri="{D42A27DB-BD31-4B8C-83A1-F6EECF244321}">
                <p14:modId xmlns:p14="http://schemas.microsoft.com/office/powerpoint/2010/main" val="26696586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2"/>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accent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20" y="1273220"/>
            <a:ext cx="5489645" cy="4800035"/>
          </a:xfrm>
        </p:spPr>
        <p:txBody>
          <a:bodyPr wrap="square"/>
          <a:lstStyle>
            <a:lvl1pPr marL="457200" indent="-457200">
              <a:lnSpc>
                <a:spcPct val="90000"/>
              </a:lnSpc>
              <a:spcBef>
                <a:spcPts val="0"/>
              </a:spcBef>
              <a:buClr>
                <a:schemeClr val="accent1"/>
              </a:buClr>
              <a:buFont typeface="+mj-lt"/>
              <a:buAutoNum type="arabicPeriod"/>
              <a:defRPr sz="2400"/>
            </a:lvl1pPr>
            <a:lvl2pPr marL="468000" indent="0">
              <a:lnSpc>
                <a:spcPct val="90000"/>
              </a:lnSpc>
              <a:spcAft>
                <a:spcPts val="0"/>
              </a:spcAft>
              <a:buClr>
                <a:schemeClr val="tx1"/>
              </a:buClr>
              <a:buFont typeface="Arial" panose="020B0604020202020204" pitchFamily="34" charset="0"/>
              <a:buNone/>
              <a:defRPr sz="2200"/>
            </a:lvl2pPr>
            <a:lvl3pPr marL="378000" indent="0">
              <a:lnSpc>
                <a:spcPct val="80000"/>
              </a:lnSpc>
              <a:buFont typeface="Arial" panose="020B0604020202020204" pitchFamily="34" charset="0"/>
              <a:buNone/>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
        <p:nvSpPr>
          <p:cNvPr id="14" name="Content Placeholder 2">
            <a:extLst>
              <a:ext uri="{FF2B5EF4-FFF2-40B4-BE49-F238E27FC236}">
                <a16:creationId xmlns:a16="http://schemas.microsoft.com/office/drawing/2014/main" id="{4B001BFE-4586-4123-8A39-A8763BE551B5}"/>
              </a:ext>
            </a:extLst>
          </p:cNvPr>
          <p:cNvSpPr>
            <a:spLocks noGrp="1"/>
          </p:cNvSpPr>
          <p:nvPr>
            <p:ph idx="18" hasCustomPrompt="1"/>
          </p:nvPr>
        </p:nvSpPr>
        <p:spPr>
          <a:xfrm>
            <a:off x="6315668" y="1273220"/>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468000" indent="0">
              <a:lnSpc>
                <a:spcPct val="90000"/>
              </a:lnSpc>
              <a:spcAft>
                <a:spcPts val="0"/>
              </a:spcAft>
              <a:buClr>
                <a:schemeClr val="tx1"/>
              </a:buClr>
              <a:buFont typeface="Arial" panose="020B0604020202020204" pitchFamily="34" charset="0"/>
              <a:buNone/>
              <a:defRPr sz="2200"/>
            </a:lvl2pPr>
            <a:lvl3pPr marL="378000" indent="0">
              <a:lnSpc>
                <a:spcPct val="80000"/>
              </a:lnSpc>
              <a:buFont typeface="Arial" panose="020B0604020202020204" pitchFamily="34" charset="0"/>
              <a:buNone/>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a:p>
            <a:pPr lvl="0"/>
            <a:r>
              <a:rPr lang="en-US"/>
              <a:t>Edit Master text styles, 24pt</a:t>
            </a:r>
          </a:p>
          <a:p>
            <a:pPr lvl="1"/>
            <a:r>
              <a:rPr lang="en-US"/>
              <a:t>Second level, 22pt</a:t>
            </a:r>
          </a:p>
          <a:p>
            <a:pPr lvl="1"/>
            <a:endParaRPr lang="en-US"/>
          </a:p>
        </p:txBody>
      </p:sp>
    </p:spTree>
    <p:extLst>
      <p:ext uri="{BB962C8B-B14F-4D97-AF65-F5344CB8AC3E}">
        <p14:creationId xmlns:p14="http://schemas.microsoft.com/office/powerpoint/2010/main" val="417898906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TS_Title_Slide">
    <p:spTree>
      <p:nvGrpSpPr>
        <p:cNvPr id="1" name=""/>
        <p:cNvGrpSpPr/>
        <p:nvPr/>
      </p:nvGrpSpPr>
      <p:grpSpPr>
        <a:xfrm>
          <a:off x="0" y="0"/>
          <a:ext cx="0" cy="0"/>
          <a:chOff x="0" y="0"/>
          <a:chExt cx="0" cy="0"/>
        </a:xfrm>
      </p:grpSpPr>
      <p:pic>
        <p:nvPicPr>
          <p:cNvPr id="13" name="Picture 21"/>
          <p:cNvPicPr>
            <a:picLocks noChangeArrowheads="1"/>
          </p:cNvPicPr>
          <p:nvPr/>
        </p:nvPicPr>
        <p:blipFill>
          <a:blip r:embed="rId2" cstate="email"/>
          <a:srcRect/>
          <a:stretch>
            <a:fillRect/>
          </a:stretch>
        </p:blipFill>
        <p:spPr bwMode="auto">
          <a:xfrm>
            <a:off x="9082620" y="5970588"/>
            <a:ext cx="2063749" cy="292100"/>
          </a:xfrm>
          <a:prstGeom prst="rect">
            <a:avLst/>
          </a:prstGeom>
          <a:noFill/>
          <a:ln w="9525">
            <a:noFill/>
            <a:miter lim="800000"/>
            <a:headEnd/>
            <a:tailEnd/>
          </a:ln>
        </p:spPr>
      </p:pic>
      <p:pic>
        <p:nvPicPr>
          <p:cNvPr id="3" name="Picture 2" descr="C:\Users\e346811\AppData\Local\Microsoft\Windows\Temporary Internet Files\Content.Outlook\0RDM6YJG\GCC PP Cover v2 (2).jpg"/>
          <p:cNvPicPr>
            <a:picLocks noChangeAspect="1" noChangeArrowheads="1"/>
          </p:cNvPicPr>
          <p:nvPr userDrawn="1"/>
        </p:nvPicPr>
        <p:blipFill>
          <a:blip r:embed="rId3" cstate="email"/>
          <a:srcRect/>
          <a:stretch>
            <a:fillRect/>
          </a:stretch>
        </p:blipFill>
        <p:spPr bwMode="auto">
          <a:xfrm>
            <a:off x="-25400" y="0"/>
            <a:ext cx="12313920" cy="6926580"/>
          </a:xfrm>
          <a:prstGeom prst="rect">
            <a:avLst/>
          </a:prstGeom>
          <a:noFill/>
        </p:spPr>
      </p:pic>
      <p:pic>
        <p:nvPicPr>
          <p:cNvPr id="4" name="Picture 3" descr="https://brand.honeywell.com/wp-content/uploads/2012/02/Honeywell-Bar-Logo-Black.jpg"/>
          <p:cNvPicPr>
            <a:picLocks noChangeAspect="1" noChangeArrowheads="1"/>
          </p:cNvPicPr>
          <p:nvPr userDrawn="1"/>
        </p:nvPicPr>
        <p:blipFill>
          <a:blip r:embed="rId4" cstate="print">
            <a:lum contrast="-10000"/>
          </a:blip>
          <a:srcRect l="70824" t="-3404" r="3388" b="1276"/>
          <a:stretch>
            <a:fillRect/>
          </a:stretch>
        </p:blipFill>
        <p:spPr bwMode="auto">
          <a:xfrm>
            <a:off x="9042400" y="6004560"/>
            <a:ext cx="2783840" cy="457200"/>
          </a:xfrm>
          <a:prstGeom prst="rect">
            <a:avLst/>
          </a:prstGeom>
          <a:noFill/>
        </p:spPr>
      </p:pic>
      <p:pic>
        <p:nvPicPr>
          <p:cNvPr id="5" name="Picture 3" descr="slides GCC 7.jpg"/>
          <p:cNvPicPr>
            <a:picLocks noChangeAspect="1"/>
          </p:cNvPicPr>
          <p:nvPr userDrawn="1"/>
        </p:nvPicPr>
        <p:blipFill>
          <a:blip r:embed="rId5" cstate="print"/>
          <a:srcRect l="8448" r="52586" b="75402"/>
          <a:stretch>
            <a:fillRect/>
          </a:stretch>
        </p:blipFill>
        <p:spPr bwMode="auto">
          <a:xfrm>
            <a:off x="420415" y="5369278"/>
            <a:ext cx="4014952" cy="1425663"/>
          </a:xfrm>
          <a:prstGeom prst="rect">
            <a:avLst/>
          </a:prstGeom>
          <a:noFill/>
          <a:ln w="9525">
            <a:noFill/>
            <a:miter lim="800000"/>
            <a:headEnd/>
            <a:tailEnd/>
          </a:ln>
        </p:spPr>
      </p:pic>
    </p:spTree>
    <p:extLst>
      <p:ext uri="{BB962C8B-B14F-4D97-AF65-F5344CB8AC3E}">
        <p14:creationId xmlns:p14="http://schemas.microsoft.com/office/powerpoint/2010/main" val="54582432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1" y="491319"/>
            <a:ext cx="11159889" cy="5581935"/>
          </a:xfrm>
          <a:prstGeom prst="rect">
            <a:avLst/>
          </a:prstGeom>
        </p:spPr>
        <p:txBody>
          <a:bodyPr tIns="0" anchor="ctr"/>
          <a:lstStyle>
            <a:lvl1pPr>
              <a:lnSpc>
                <a:spcPct val="70000"/>
              </a:lnSpc>
              <a:defRPr sz="8800" b="0" spc="-225">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bg1"/>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1675216487"/>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1"/>
            <a:ext cx="5372101" cy="5850909"/>
          </a:xfrm>
          <a:prstGeom prst="rect">
            <a:avLst/>
          </a:prstGeom>
        </p:spPr>
        <p:txBody>
          <a:bodyPr anchor="ctr"/>
          <a:lstStyle>
            <a:lvl1pPr>
              <a:lnSpc>
                <a:spcPct val="8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83730867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300" y="495300"/>
            <a:ext cx="5372101" cy="5878204"/>
          </a:xfrm>
          <a:prstGeom prst="rect">
            <a:avLst/>
          </a:prstGeom>
        </p:spPr>
        <p:txBody>
          <a:bodyPr anchor="ctr"/>
          <a:lstStyle>
            <a:lvl1pPr>
              <a:lnSpc>
                <a:spcPct val="80000"/>
              </a:lnSpc>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47060803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2"/>
            <a:ext cx="12192000" cy="495299"/>
          </a:xfrm>
          <a:solidFill>
            <a:srgbClr val="DC202E"/>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C6CCC7F8-42A2-41CE-A454-D4B73C6EFD34}"/>
              </a:ext>
            </a:extLst>
          </p:cNvPr>
          <p:cNvSpPr>
            <a:spLocks noGrp="1"/>
          </p:cNvSpPr>
          <p:nvPr>
            <p:ph idx="17" hasCustomPrompt="1"/>
          </p:nvPr>
        </p:nvSpPr>
        <p:spPr>
          <a:xfrm>
            <a:off x="358820" y="1273221"/>
            <a:ext cx="11446493" cy="4049406"/>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11443163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2DA497B2-243B-4FD4-8B4C-1E09B70CB43A}"/>
              </a:ext>
            </a:extLst>
          </p:cNvPr>
          <p:cNvSpPr>
            <a:spLocks noGrp="1"/>
          </p:cNvSpPr>
          <p:nvPr>
            <p:ph idx="18" hasCustomPrompt="1"/>
          </p:nvPr>
        </p:nvSpPr>
        <p:spPr>
          <a:xfrm>
            <a:off x="6315668" y="1273221"/>
            <a:ext cx="5489645" cy="4215793"/>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0" name="Content Placeholder 2">
            <a:extLst>
              <a:ext uri="{FF2B5EF4-FFF2-40B4-BE49-F238E27FC236}">
                <a16:creationId xmlns:a16="http://schemas.microsoft.com/office/drawing/2014/main" id="{9ED23A41-0D60-48EB-986C-21EDF999D9F9}"/>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894110216"/>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1" y="1273220"/>
            <a:ext cx="5372100" cy="4215793"/>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F14CFAE6-238D-483D-9D10-B7E2788A9693}"/>
              </a:ext>
            </a:extLst>
          </p:cNvPr>
          <p:cNvSpPr>
            <a:spLocks noGrp="1"/>
          </p:cNvSpPr>
          <p:nvPr>
            <p:ph idx="17" hasCustomPrompt="1"/>
          </p:nvPr>
        </p:nvSpPr>
        <p:spPr>
          <a:xfrm>
            <a:off x="358820" y="1273221"/>
            <a:ext cx="5489645" cy="4215792"/>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1010806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9"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8" y="1300516"/>
            <a:ext cx="5489645" cy="2247900"/>
          </a:xfrm>
          <a:pattFill prst="wdUpDiag">
            <a:fgClr>
              <a:schemeClr val="bg2"/>
            </a:fgClr>
            <a:bgClr>
              <a:schemeClr val="bg1"/>
            </a:bgClr>
          </a:pattFill>
        </p:spPr>
        <p:txBody>
          <a:bodyPr/>
          <a:lstStyle/>
          <a:p>
            <a:r>
              <a:rPr lang="en-US"/>
              <a:t>Click icon to add picture</a:t>
            </a:r>
          </a:p>
        </p:txBody>
      </p:sp>
      <p:sp>
        <p:nvSpPr>
          <p:cNvPr id="10" name="Content Placeholder 2">
            <a:extLst>
              <a:ext uri="{FF2B5EF4-FFF2-40B4-BE49-F238E27FC236}">
                <a16:creationId xmlns:a16="http://schemas.microsoft.com/office/drawing/2014/main" id="{E0B31B94-96D6-4DA4-B75E-A3F4B4277A12}"/>
              </a:ext>
            </a:extLst>
          </p:cNvPr>
          <p:cNvSpPr>
            <a:spLocks noGrp="1"/>
          </p:cNvSpPr>
          <p:nvPr>
            <p:ph idx="21" hasCustomPrompt="1"/>
          </p:nvPr>
        </p:nvSpPr>
        <p:spPr>
          <a:xfrm>
            <a:off x="6315668"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1" name="Content Placeholder 2">
            <a:extLst>
              <a:ext uri="{FF2B5EF4-FFF2-40B4-BE49-F238E27FC236}">
                <a16:creationId xmlns:a16="http://schemas.microsoft.com/office/drawing/2014/main" id="{2C867E58-EBA3-47C2-9664-5F51BA26D21F}"/>
              </a:ext>
            </a:extLst>
          </p:cNvPr>
          <p:cNvSpPr>
            <a:spLocks noGrp="1"/>
          </p:cNvSpPr>
          <p:nvPr>
            <p:ph idx="17" hasCustomPrompt="1"/>
          </p:nvPr>
        </p:nvSpPr>
        <p:spPr>
          <a:xfrm>
            <a:off x="358820" y="3807725"/>
            <a:ext cx="5489645" cy="168128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76250347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04515" cy="4344840"/>
            <a:chOff x="4125621" y="1410880"/>
            <a:chExt cx="4004515"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30136"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8" name="Content Placeholder 2">
            <a:extLst>
              <a:ext uri="{FF2B5EF4-FFF2-40B4-BE49-F238E27FC236}">
                <a16:creationId xmlns:a16="http://schemas.microsoft.com/office/drawing/2014/main" id="{E1699BCB-4D50-4239-8EF2-4567C2AB09B1}"/>
              </a:ext>
            </a:extLst>
          </p:cNvPr>
          <p:cNvSpPr>
            <a:spLocks noGrp="1"/>
          </p:cNvSpPr>
          <p:nvPr>
            <p:ph idx="19" hasCustomPrompt="1"/>
          </p:nvPr>
        </p:nvSpPr>
        <p:spPr>
          <a:xfrm>
            <a:off x="358822" y="1300519"/>
            <a:ext cx="3450037"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9" name="Content Placeholder 2">
            <a:extLst>
              <a:ext uri="{FF2B5EF4-FFF2-40B4-BE49-F238E27FC236}">
                <a16:creationId xmlns:a16="http://schemas.microsoft.com/office/drawing/2014/main" id="{4AEDC548-7522-4A33-A494-B49BEF3A7DAC}"/>
              </a:ext>
            </a:extLst>
          </p:cNvPr>
          <p:cNvSpPr>
            <a:spLocks noGrp="1"/>
          </p:cNvSpPr>
          <p:nvPr>
            <p:ph idx="20" hasCustomPrompt="1"/>
          </p:nvPr>
        </p:nvSpPr>
        <p:spPr>
          <a:xfrm>
            <a:off x="4402539"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3AB7F2DA-ADAD-4DB5-98A5-0ADA52EECDD9}"/>
              </a:ext>
            </a:extLst>
          </p:cNvPr>
          <p:cNvSpPr>
            <a:spLocks noGrp="1"/>
          </p:cNvSpPr>
          <p:nvPr>
            <p:ph idx="21" hasCustomPrompt="1"/>
          </p:nvPr>
        </p:nvSpPr>
        <p:spPr>
          <a:xfrm>
            <a:off x="8374143" y="1300519"/>
            <a:ext cx="3429000" cy="4344838"/>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2" name="Text Placeholder 6">
            <a:extLst>
              <a:ext uri="{FF2B5EF4-FFF2-40B4-BE49-F238E27FC236}">
                <a16:creationId xmlns:a16="http://schemas.microsoft.com/office/drawing/2014/main" id="{3D6A0D0A-FBD1-466C-93D5-2E6AEB2D7B32}"/>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Tree>
    <p:extLst>
      <p:ext uri="{BB962C8B-B14F-4D97-AF65-F5344CB8AC3E}">
        <p14:creationId xmlns:p14="http://schemas.microsoft.com/office/powerpoint/2010/main" val="1336065823"/>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B470099D-726F-45AA-A0CB-63D587066D33}"/>
              </a:ext>
            </a:extLst>
          </p:cNvPr>
          <p:cNvSpPr>
            <a:spLocks noGrp="1"/>
          </p:cNvSpPr>
          <p:nvPr>
            <p:ph idx="19" hasCustomPrompt="1"/>
          </p:nvPr>
        </p:nvSpPr>
        <p:spPr>
          <a:xfrm>
            <a:off x="358822" y="3766782"/>
            <a:ext cx="3450037"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4" name="Content Placeholder 2">
            <a:extLst>
              <a:ext uri="{FF2B5EF4-FFF2-40B4-BE49-F238E27FC236}">
                <a16:creationId xmlns:a16="http://schemas.microsoft.com/office/drawing/2014/main" id="{FD17594F-6185-43EC-8E1C-026096C075CE}"/>
              </a:ext>
            </a:extLst>
          </p:cNvPr>
          <p:cNvSpPr>
            <a:spLocks noGrp="1"/>
          </p:cNvSpPr>
          <p:nvPr>
            <p:ph idx="20" hasCustomPrompt="1"/>
          </p:nvPr>
        </p:nvSpPr>
        <p:spPr>
          <a:xfrm>
            <a:off x="4402539" y="3766782"/>
            <a:ext cx="3429000"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16" name="Content Placeholder 2">
            <a:extLst>
              <a:ext uri="{FF2B5EF4-FFF2-40B4-BE49-F238E27FC236}">
                <a16:creationId xmlns:a16="http://schemas.microsoft.com/office/drawing/2014/main" id="{388436B3-D3A2-4095-B8EF-02B228BB9837}"/>
              </a:ext>
            </a:extLst>
          </p:cNvPr>
          <p:cNvSpPr>
            <a:spLocks noGrp="1"/>
          </p:cNvSpPr>
          <p:nvPr>
            <p:ph idx="21" hasCustomPrompt="1"/>
          </p:nvPr>
        </p:nvSpPr>
        <p:spPr>
          <a:xfrm>
            <a:off x="8355274" y="3766782"/>
            <a:ext cx="3450039" cy="1722231"/>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280874098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1"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2"/>
            <a:ext cx="12192000" cy="495299"/>
          </a:xfrm>
          <a:solidFill>
            <a:schemeClr val="accent1"/>
          </a:solidFill>
        </p:spPr>
        <p:txBody>
          <a:bodyPr lIns="493776" tIns="45720" rIns="493776" bIns="45720" anchor="ctr" anchorCtr="0">
            <a:noAutofit/>
          </a:bodyPr>
          <a:lstStyle>
            <a:lvl1pPr algn="ctr">
              <a:lnSpc>
                <a:spcPct val="90000"/>
              </a:lnSpc>
              <a:spcAft>
                <a:spcPts val="0"/>
              </a:spcAft>
              <a:defRPr sz="1800">
                <a:solidFill>
                  <a:schemeClr val="bg1"/>
                </a:solidFill>
              </a:defRPr>
            </a:lvl1pPr>
            <a:lvl2pPr>
              <a:defRPr sz="1050"/>
            </a:lvl2pPr>
            <a:lvl3pPr>
              <a:defRPr sz="900"/>
            </a:lvl3pPr>
            <a:lvl4pPr>
              <a:defRPr sz="825"/>
            </a:lvl4pPr>
            <a:lvl5pPr>
              <a:defRPr sz="1200"/>
            </a:lvl5pPr>
          </a:lstStyle>
          <a:p>
            <a:pPr lvl="0"/>
            <a:r>
              <a:rPr lang="en-US"/>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5" cy="403572"/>
          </a:xfrm>
          <a:prstGeom prst="rect">
            <a:avLst/>
          </a:prstGeom>
        </p:spPr>
        <p:txBody>
          <a:bodyPr wrap="square" anchor="t">
            <a:spAutoFit/>
          </a:bodyPr>
          <a:lstStyle>
            <a:lvl1pPr>
              <a:lnSpc>
                <a:spcPct val="80000"/>
              </a:lnSpc>
              <a:defRPr sz="3200">
                <a:solidFill>
                  <a:schemeClr val="tx1"/>
                </a:solidFill>
              </a:defRPr>
            </a:lvl1pPr>
          </a:lstStyle>
          <a:p>
            <a:r>
              <a:rPr lang="en-US"/>
              <a:t>Click to edit Master title style</a:t>
            </a:r>
          </a:p>
        </p:txBody>
      </p:sp>
      <p:sp>
        <p:nvSpPr>
          <p:cNvPr id="20" name="Content Placeholder 2">
            <a:extLst>
              <a:ext uri="{FF2B5EF4-FFF2-40B4-BE49-F238E27FC236}">
                <a16:creationId xmlns:a16="http://schemas.microsoft.com/office/drawing/2014/main" id="{04FE9CFD-5CE9-48E8-AB71-368FD15C350F}"/>
              </a:ext>
            </a:extLst>
          </p:cNvPr>
          <p:cNvSpPr>
            <a:spLocks noGrp="1"/>
          </p:cNvSpPr>
          <p:nvPr>
            <p:ph idx="19" hasCustomPrompt="1"/>
          </p:nvPr>
        </p:nvSpPr>
        <p:spPr>
          <a:xfrm>
            <a:off x="358822"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1" name="Content Placeholder 2">
            <a:extLst>
              <a:ext uri="{FF2B5EF4-FFF2-40B4-BE49-F238E27FC236}">
                <a16:creationId xmlns:a16="http://schemas.microsoft.com/office/drawing/2014/main" id="{05B0DA22-EAA1-41AD-8FCF-1363955117BF}"/>
              </a:ext>
            </a:extLst>
          </p:cNvPr>
          <p:cNvSpPr>
            <a:spLocks noGrp="1"/>
          </p:cNvSpPr>
          <p:nvPr>
            <p:ph idx="20" hasCustomPrompt="1"/>
          </p:nvPr>
        </p:nvSpPr>
        <p:spPr>
          <a:xfrm>
            <a:off x="9338705"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2" name="Content Placeholder 2">
            <a:extLst>
              <a:ext uri="{FF2B5EF4-FFF2-40B4-BE49-F238E27FC236}">
                <a16:creationId xmlns:a16="http://schemas.microsoft.com/office/drawing/2014/main" id="{F377809B-E952-4F88-9208-5076781CD619}"/>
              </a:ext>
            </a:extLst>
          </p:cNvPr>
          <p:cNvSpPr>
            <a:spLocks noGrp="1"/>
          </p:cNvSpPr>
          <p:nvPr>
            <p:ph idx="21" hasCustomPrompt="1"/>
          </p:nvPr>
        </p:nvSpPr>
        <p:spPr>
          <a:xfrm>
            <a:off x="3352117"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23" name="Content Placeholder 2">
            <a:extLst>
              <a:ext uri="{FF2B5EF4-FFF2-40B4-BE49-F238E27FC236}">
                <a16:creationId xmlns:a16="http://schemas.microsoft.com/office/drawing/2014/main" id="{CE175A5D-1DCB-4963-9098-2D78C7D64CD3}"/>
              </a:ext>
            </a:extLst>
          </p:cNvPr>
          <p:cNvSpPr>
            <a:spLocks noGrp="1"/>
          </p:cNvSpPr>
          <p:nvPr>
            <p:ph idx="22" hasCustomPrompt="1"/>
          </p:nvPr>
        </p:nvSpPr>
        <p:spPr>
          <a:xfrm>
            <a:off x="6345411" y="1300518"/>
            <a:ext cx="2466609" cy="4344837"/>
          </a:xfrm>
        </p:spPr>
        <p:txBody>
          <a:bodyPr wrap="square"/>
          <a:lstStyle>
            <a:lvl1pPr marL="0" indent="0">
              <a:lnSpc>
                <a:spcPct val="90000"/>
              </a:lnSpc>
              <a:spcBef>
                <a:spcPts val="0"/>
              </a:spcBef>
              <a:buClr>
                <a:schemeClr val="accent1"/>
              </a:buClr>
              <a:buFont typeface="+mj-lt"/>
              <a:buNone/>
              <a:defRPr sz="2400"/>
            </a:lvl1pPr>
            <a:lvl2pPr marL="0" indent="-342000">
              <a:lnSpc>
                <a:spcPct val="90000"/>
              </a:lnSpc>
              <a:buClr>
                <a:schemeClr val="tx1"/>
              </a:buClr>
              <a:buFont typeface="Arial" panose="020B0604020202020204" pitchFamily="34" charset="0"/>
              <a:buChar char="•"/>
              <a:defRPr sz="2200"/>
            </a:lvl2pPr>
            <a:lvl3pPr marL="720000" indent="-3420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Tree>
    <p:extLst>
      <p:ext uri="{BB962C8B-B14F-4D97-AF65-F5344CB8AC3E}">
        <p14:creationId xmlns:p14="http://schemas.microsoft.com/office/powerpoint/2010/main" val="303481049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theme" Target="../theme/theme10.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slideLayout" Target="../slideLayouts/slideLayout290.xml"/><Relationship Id="rId39" Type="http://schemas.openxmlformats.org/officeDocument/2006/relationships/slideLayout" Target="../slideLayouts/slideLayout303.xml"/><Relationship Id="rId21" Type="http://schemas.openxmlformats.org/officeDocument/2006/relationships/slideLayout" Target="../slideLayouts/slideLayout285.xml"/><Relationship Id="rId34" Type="http://schemas.openxmlformats.org/officeDocument/2006/relationships/slideLayout" Target="../slideLayouts/slideLayout298.xml"/><Relationship Id="rId42" Type="http://schemas.openxmlformats.org/officeDocument/2006/relationships/slideLayout" Target="../slideLayouts/slideLayout306.xml"/><Relationship Id="rId47" Type="http://schemas.openxmlformats.org/officeDocument/2006/relationships/slideLayout" Target="../slideLayouts/slideLayout311.xml"/><Relationship Id="rId50" Type="http://schemas.openxmlformats.org/officeDocument/2006/relationships/theme" Target="../theme/theme11.xml"/><Relationship Id="rId7" Type="http://schemas.openxmlformats.org/officeDocument/2006/relationships/slideLayout" Target="../slideLayouts/slideLayout271.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9" Type="http://schemas.openxmlformats.org/officeDocument/2006/relationships/slideLayout" Target="../slideLayouts/slideLayout293.xml"/><Relationship Id="rId11" Type="http://schemas.openxmlformats.org/officeDocument/2006/relationships/slideLayout" Target="../slideLayouts/slideLayout275.xml"/><Relationship Id="rId24" Type="http://schemas.openxmlformats.org/officeDocument/2006/relationships/slideLayout" Target="../slideLayouts/slideLayout288.xml"/><Relationship Id="rId32" Type="http://schemas.openxmlformats.org/officeDocument/2006/relationships/slideLayout" Target="../slideLayouts/slideLayout296.xml"/><Relationship Id="rId37" Type="http://schemas.openxmlformats.org/officeDocument/2006/relationships/slideLayout" Target="../slideLayouts/slideLayout301.xml"/><Relationship Id="rId40" Type="http://schemas.openxmlformats.org/officeDocument/2006/relationships/slideLayout" Target="../slideLayouts/slideLayout304.xml"/><Relationship Id="rId45" Type="http://schemas.openxmlformats.org/officeDocument/2006/relationships/slideLayout" Target="../slideLayouts/slideLayout309.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28" Type="http://schemas.openxmlformats.org/officeDocument/2006/relationships/slideLayout" Target="../slideLayouts/slideLayout292.xml"/><Relationship Id="rId36" Type="http://schemas.openxmlformats.org/officeDocument/2006/relationships/slideLayout" Target="../slideLayouts/slideLayout300.xml"/><Relationship Id="rId49" Type="http://schemas.openxmlformats.org/officeDocument/2006/relationships/slideLayout" Target="../slideLayouts/slideLayout313.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31" Type="http://schemas.openxmlformats.org/officeDocument/2006/relationships/slideLayout" Target="../slideLayouts/slideLayout295.xml"/><Relationship Id="rId44" Type="http://schemas.openxmlformats.org/officeDocument/2006/relationships/slideLayout" Target="../slideLayouts/slideLayout308.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 Id="rId27" Type="http://schemas.openxmlformats.org/officeDocument/2006/relationships/slideLayout" Target="../slideLayouts/slideLayout291.xml"/><Relationship Id="rId30" Type="http://schemas.openxmlformats.org/officeDocument/2006/relationships/slideLayout" Target="../slideLayouts/slideLayout294.xml"/><Relationship Id="rId35" Type="http://schemas.openxmlformats.org/officeDocument/2006/relationships/slideLayout" Target="../slideLayouts/slideLayout299.xml"/><Relationship Id="rId43" Type="http://schemas.openxmlformats.org/officeDocument/2006/relationships/slideLayout" Target="../slideLayouts/slideLayout307.xml"/><Relationship Id="rId48" Type="http://schemas.openxmlformats.org/officeDocument/2006/relationships/slideLayout" Target="../slideLayouts/slideLayout312.xml"/><Relationship Id="rId8" Type="http://schemas.openxmlformats.org/officeDocument/2006/relationships/slideLayout" Target="../slideLayouts/slideLayout272.xml"/><Relationship Id="rId3" Type="http://schemas.openxmlformats.org/officeDocument/2006/relationships/slideLayout" Target="../slideLayouts/slideLayout267.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slideLayout" Target="../slideLayouts/slideLayout289.xml"/><Relationship Id="rId33" Type="http://schemas.openxmlformats.org/officeDocument/2006/relationships/slideLayout" Target="../slideLayouts/slideLayout297.xml"/><Relationship Id="rId38" Type="http://schemas.openxmlformats.org/officeDocument/2006/relationships/slideLayout" Target="../slideLayouts/slideLayout302.xml"/><Relationship Id="rId46" Type="http://schemas.openxmlformats.org/officeDocument/2006/relationships/slideLayout" Target="../slideLayouts/slideLayout310.xml"/><Relationship Id="rId20" Type="http://schemas.openxmlformats.org/officeDocument/2006/relationships/slideLayout" Target="../slideLayouts/slideLayout284.xml"/><Relationship Id="rId41" Type="http://schemas.openxmlformats.org/officeDocument/2006/relationships/slideLayout" Target="../slideLayouts/slideLayout305.xml"/><Relationship Id="rId1" Type="http://schemas.openxmlformats.org/officeDocument/2006/relationships/slideLayout" Target="../slideLayouts/slideLayout265.xml"/><Relationship Id="rId6"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slideLayout" Target="../slideLayouts/slideLayout339.xml"/><Relationship Id="rId39" Type="http://schemas.openxmlformats.org/officeDocument/2006/relationships/tags" Target="../tags/tag54.xml"/><Relationship Id="rId21" Type="http://schemas.openxmlformats.org/officeDocument/2006/relationships/slideLayout" Target="../slideLayouts/slideLayout334.xml"/><Relationship Id="rId34" Type="http://schemas.openxmlformats.org/officeDocument/2006/relationships/slideLayout" Target="../slideLayouts/slideLayout347.xml"/><Relationship Id="rId42" Type="http://schemas.openxmlformats.org/officeDocument/2006/relationships/image" Target="../media/image7.emf"/><Relationship Id="rId7" Type="http://schemas.openxmlformats.org/officeDocument/2006/relationships/slideLayout" Target="../slideLayouts/slideLayout32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slideLayout" Target="../slideLayouts/slideLayout342.xml"/><Relationship Id="rId41" Type="http://schemas.openxmlformats.org/officeDocument/2006/relationships/oleObject" Target="../embeddings/oleObject26.bin"/><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slideLayout" Target="../slideLayouts/slideLayout345.xml"/><Relationship Id="rId37" Type="http://schemas.openxmlformats.org/officeDocument/2006/relationships/slideLayout" Target="../slideLayouts/slideLayout350.xml"/><Relationship Id="rId40" Type="http://schemas.openxmlformats.org/officeDocument/2006/relationships/tags" Target="../tags/tag55.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slideLayout" Target="../slideLayouts/slideLayout341.xml"/><Relationship Id="rId36" Type="http://schemas.openxmlformats.org/officeDocument/2006/relationships/slideLayout" Target="../slideLayouts/slideLayout349.xml"/><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slideLayout" Target="../slideLayouts/slideLayout344.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slideLayout" Target="../slideLayouts/slideLayout340.xml"/><Relationship Id="rId30" Type="http://schemas.openxmlformats.org/officeDocument/2006/relationships/slideLayout" Target="../slideLayouts/slideLayout343.xml"/><Relationship Id="rId35" Type="http://schemas.openxmlformats.org/officeDocument/2006/relationships/slideLayout" Target="../slideLayouts/slideLayout348.xml"/><Relationship Id="rId8" Type="http://schemas.openxmlformats.org/officeDocument/2006/relationships/slideLayout" Target="../slideLayouts/slideLayout321.xml"/><Relationship Id="rId3" Type="http://schemas.openxmlformats.org/officeDocument/2006/relationships/slideLayout" Target="../slideLayouts/slideLayout316.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slideLayout" Target="../slideLayouts/slideLayout338.xml"/><Relationship Id="rId33" Type="http://schemas.openxmlformats.org/officeDocument/2006/relationships/slideLayout" Target="../slideLayouts/slideLayout346.xml"/><Relationship Id="rId38"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theme" Target="../theme/theme2.xml"/><Relationship Id="rId50" Type="http://schemas.openxmlformats.org/officeDocument/2006/relationships/oleObject" Target="../embeddings/oleObject1.bin"/><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tags" Target="../tags/tag3.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tags" Target="../tags/tag2.xml"/><Relationship Id="rId8" Type="http://schemas.openxmlformats.org/officeDocument/2006/relationships/slideLayout" Target="../slideLayouts/slideLayout24.xml"/><Relationship Id="rId51" Type="http://schemas.openxmlformats.org/officeDocument/2006/relationships/image" Target="../media/image7.emf"/><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1" Type="http://schemas.openxmlformats.org/officeDocument/2006/relationships/slideLayout" Target="../slideLayouts/slideLayout17.xml"/><Relationship Id="rId6"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5.xml"/><Relationship Id="rId7" Type="http://schemas.openxmlformats.org/officeDocument/2006/relationships/image" Target="../media/image11.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3.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12.png"/><Relationship Id="rId5" Type="http://schemas.openxmlformats.org/officeDocument/2006/relationships/slideLayout" Target="../slideLayouts/slideLayout72.xml"/><Relationship Id="rId10"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theme" Target="../theme/theme5.xml"/><Relationship Id="rId1" Type="http://schemas.openxmlformats.org/officeDocument/2006/relationships/slideLayout" Target="../slideLayouts/slideLayout77.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4.jpeg"/><Relationship Id="rId9" Type="http://schemas.openxmlformats.org/officeDocument/2006/relationships/image" Target="../media/image19.jpe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theme" Target="../theme/theme6.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oleObject" Target="../embeddings/oleObject3.bin"/><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tags" Target="../tags/tag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tags" Target="../tags/tag7.xml"/><Relationship Id="rId8" Type="http://schemas.openxmlformats.org/officeDocument/2006/relationships/slideLayout" Target="../slideLayouts/slideLayout85.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image" Target="../media/image7.emf"/><Relationship Id="rId20" Type="http://schemas.openxmlformats.org/officeDocument/2006/relationships/slideLayout" Target="../slideLayouts/slideLayout97.xml"/><Relationship Id="rId41"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theme" Target="../theme/theme7.xml"/><Relationship Id="rId50" Type="http://schemas.openxmlformats.org/officeDocument/2006/relationships/oleObject" Target="../embeddings/oleObject10.bin"/><Relationship Id="rId7" Type="http://schemas.openxmlformats.org/officeDocument/2006/relationships/slideLayout" Target="../slideLayouts/slideLayout12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tags" Target="../tags/tag22.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tags" Target="../tags/tag21.xml"/><Relationship Id="rId8" Type="http://schemas.openxmlformats.org/officeDocument/2006/relationships/slideLayout" Target="../slideLayouts/slideLayout126.xml"/><Relationship Id="rId51" Type="http://schemas.openxmlformats.org/officeDocument/2006/relationships/image" Target="../media/image7.emf"/><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1" Type="http://schemas.openxmlformats.org/officeDocument/2006/relationships/slideLayout" Target="../slideLayouts/slideLayout119.xml"/><Relationship Id="rId6"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oleObject" Target="../embeddings/oleObject17.bin"/><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tags" Target="../tags/tag3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slideLayout" Target="../slideLayouts/slideLayout195.xml"/><Relationship Id="rId44" Type="http://schemas.openxmlformats.org/officeDocument/2006/relationships/theme" Target="../theme/theme8.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image" Target="../media/image7.emf"/><Relationship Id="rId8" Type="http://schemas.openxmlformats.org/officeDocument/2006/relationships/slideLayout" Target="../slideLayouts/slideLayout172.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tags" Target="../tags/tag36.xml"/><Relationship Id="rId20" Type="http://schemas.openxmlformats.org/officeDocument/2006/relationships/slideLayout" Target="../slideLayouts/slideLayout184.xml"/><Relationship Id="rId41" Type="http://schemas.openxmlformats.org/officeDocument/2006/relationships/slideLayout" Target="../slideLayouts/slideLayout20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9" Type="http://schemas.openxmlformats.org/officeDocument/2006/relationships/slideLayout" Target="../slideLayouts/slideLayout246.xml"/><Relationship Id="rId21" Type="http://schemas.openxmlformats.org/officeDocument/2006/relationships/slideLayout" Target="../slideLayouts/slideLayout228.xml"/><Relationship Id="rId34" Type="http://schemas.openxmlformats.org/officeDocument/2006/relationships/slideLayout" Target="../slideLayouts/slideLayout241.xml"/><Relationship Id="rId42" Type="http://schemas.openxmlformats.org/officeDocument/2006/relationships/tags" Target="../tags/tag40.xml"/><Relationship Id="rId7" Type="http://schemas.openxmlformats.org/officeDocument/2006/relationships/slideLayout" Target="../slideLayouts/slideLayout214.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32" Type="http://schemas.openxmlformats.org/officeDocument/2006/relationships/slideLayout" Target="../slideLayouts/slideLayout239.xml"/><Relationship Id="rId37" Type="http://schemas.openxmlformats.org/officeDocument/2006/relationships/slideLayout" Target="../slideLayouts/slideLayout244.xml"/><Relationship Id="rId40" Type="http://schemas.openxmlformats.org/officeDocument/2006/relationships/slideLayout" Target="../slideLayouts/slideLayout247.xml"/><Relationship Id="rId45" Type="http://schemas.openxmlformats.org/officeDocument/2006/relationships/image" Target="../media/image7.emf"/><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36" Type="http://schemas.openxmlformats.org/officeDocument/2006/relationships/slideLayout" Target="../slideLayouts/slideLayout243.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31" Type="http://schemas.openxmlformats.org/officeDocument/2006/relationships/slideLayout" Target="../slideLayouts/slideLayout238.xml"/><Relationship Id="rId44" Type="http://schemas.openxmlformats.org/officeDocument/2006/relationships/oleObject" Target="../embeddings/oleObject19.bin"/><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slideLayout" Target="../slideLayouts/slideLayout237.xml"/><Relationship Id="rId35" Type="http://schemas.openxmlformats.org/officeDocument/2006/relationships/slideLayout" Target="../slideLayouts/slideLayout242.xml"/><Relationship Id="rId43" Type="http://schemas.openxmlformats.org/officeDocument/2006/relationships/tags" Target="../tags/tag41.xml"/><Relationship Id="rId8" Type="http://schemas.openxmlformats.org/officeDocument/2006/relationships/slideLayout" Target="../slideLayouts/slideLayout215.xml"/><Relationship Id="rId3" Type="http://schemas.openxmlformats.org/officeDocument/2006/relationships/slideLayout" Target="../slideLayouts/slideLayout210.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33" Type="http://schemas.openxmlformats.org/officeDocument/2006/relationships/slideLayout" Target="../slideLayouts/slideLayout240.xml"/><Relationship Id="rId38" Type="http://schemas.openxmlformats.org/officeDocument/2006/relationships/slideLayout" Target="../slideLayouts/slideLayout245.xml"/><Relationship Id="rId20" Type="http://schemas.openxmlformats.org/officeDocument/2006/relationships/slideLayout" Target="../slideLayouts/slideLayout227.xml"/><Relationship Id="rId4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9" name="Rectangle 2"/>
          <p:cNvSpPr>
            <a:spLocks noGrp="1" noChangeArrowheads="1"/>
          </p:cNvSpPr>
          <p:nvPr>
            <p:ph type="title"/>
          </p:nvPr>
        </p:nvSpPr>
        <p:spPr>
          <a:xfrm>
            <a:off x="927099" y="502692"/>
            <a:ext cx="10350500" cy="500613"/>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30" name="Rectangle 3"/>
          <p:cNvSpPr>
            <a:spLocks noGrp="1" noChangeArrowheads="1"/>
          </p:cNvSpPr>
          <p:nvPr>
            <p:ph type="body" idx="1"/>
          </p:nvPr>
        </p:nvSpPr>
        <p:spPr>
          <a:xfrm>
            <a:off x="914400" y="1533525"/>
            <a:ext cx="10363200" cy="3657600"/>
          </a:xfrm>
          <a:prstGeom prst="rect">
            <a:avLst/>
          </a:prstGeom>
          <a:noFill/>
          <a:ln w="9525">
            <a:noFill/>
            <a:miter lim="800000"/>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3" name="Text Box 19"/>
          <p:cNvSpPr txBox="1">
            <a:spLocks noChangeArrowheads="1"/>
          </p:cNvSpPr>
          <p:nvPr userDrawn="1"/>
        </p:nvSpPr>
        <p:spPr>
          <a:xfrm>
            <a:off x="34748" y="6566553"/>
            <a:ext cx="386644" cy="280718"/>
          </a:xfrm>
          <a:prstGeom prst="rect">
            <a:avLst/>
          </a:prstGeom>
          <a:noFill/>
          <a:ln w="9525">
            <a:noFill/>
            <a:miter lim="800000"/>
          </a:ln>
          <a:effectLst/>
        </p:spPr>
        <p:txBody>
          <a:bodyPr wrap="none">
            <a:spAutoFit/>
          </a:bodyPr>
          <a:lstStyle/>
          <a:p>
            <a:pPr>
              <a:lnSpc>
                <a:spcPct val="130000"/>
              </a:lnSpc>
              <a:defRPr/>
            </a:pPr>
            <a:fld id="{54EAD230-0436-485D-8CEA-E95BCA6ED464}" type="slidenum">
              <a:rPr lang="en-US" sz="1051" b="1" smtClean="0">
                <a:solidFill>
                  <a:srgbClr val="000000"/>
                </a:solidFill>
                <a:latin typeface="Arial" charset="0"/>
              </a:rPr>
              <a:pPr>
                <a:lnSpc>
                  <a:spcPct val="130000"/>
                </a:lnSpc>
                <a:defRPr/>
              </a:pPr>
              <a:t>‹#›</a:t>
            </a:fld>
            <a:r>
              <a:rPr lang="en-US" sz="1051" b="1">
                <a:solidFill>
                  <a:srgbClr val="FFFFFF"/>
                </a:solidFill>
                <a:latin typeface="Arial" charset="0"/>
              </a:rPr>
              <a:t> </a:t>
            </a:r>
          </a:p>
        </p:txBody>
      </p:sp>
      <p:sp>
        <p:nvSpPr>
          <p:cNvPr id="11" name="Rectangle 23">
            <a:extLst>
              <a:ext uri="{FF2B5EF4-FFF2-40B4-BE49-F238E27FC236}">
                <a16:creationId xmlns:a16="http://schemas.microsoft.com/office/drawing/2014/main" id="{8EA1CF72-0CC5-41F9-A4C8-20372C701B02}"/>
              </a:ext>
            </a:extLst>
          </p:cNvPr>
          <p:cNvSpPr>
            <a:spLocks noChangeArrowheads="1"/>
          </p:cNvSpPr>
          <p:nvPr userDrawn="1"/>
        </p:nvSpPr>
        <p:spPr bwMode="auto">
          <a:xfrm>
            <a:off x="6761873" y="6543608"/>
            <a:ext cx="5491247"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tx1"/>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3622160700"/>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10" r:id="rId10"/>
    <p:sldLayoutId id="2147483866" r:id="rId11"/>
    <p:sldLayoutId id="2147483867" r:id="rId12"/>
    <p:sldLayoutId id="2147483868" r:id="rId13"/>
    <p:sldLayoutId id="2147483869" r:id="rId14"/>
    <p:sldLayoutId id="2147483872" r:id="rId15"/>
    <p:sldLayoutId id="2147483873" r:id="rId16"/>
  </p:sldLayoutIdLst>
  <p:transition>
    <p:fade/>
  </p:transition>
  <p:hf sldNum="0" hdr="0" dt="0"/>
  <p:txStyles>
    <p:title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charset="0"/>
        </a:defRPr>
      </a:lvl2pPr>
      <a:lvl3pPr algn="ctr" rtl="0" eaLnBrk="0" fontAlgn="base" hangingPunct="0">
        <a:spcBef>
          <a:spcPct val="0"/>
        </a:spcBef>
        <a:spcAft>
          <a:spcPct val="0"/>
        </a:spcAft>
        <a:defRPr sz="3200">
          <a:solidFill>
            <a:schemeClr val="tx2"/>
          </a:solidFill>
          <a:latin typeface="Arial" charset="0"/>
        </a:defRPr>
      </a:lvl3pPr>
      <a:lvl4pPr algn="ctr" rtl="0" eaLnBrk="0" fontAlgn="base" hangingPunct="0">
        <a:spcBef>
          <a:spcPct val="0"/>
        </a:spcBef>
        <a:spcAft>
          <a:spcPct val="0"/>
        </a:spcAft>
        <a:defRPr sz="3200">
          <a:solidFill>
            <a:schemeClr val="tx2"/>
          </a:solidFill>
          <a:latin typeface="Arial" charset="0"/>
        </a:defRPr>
      </a:lvl4pPr>
      <a:lvl5pPr algn="ctr" rtl="0" eaLnBrk="0" fontAlgn="base" hangingPunct="0">
        <a:spcBef>
          <a:spcPct val="0"/>
        </a:spcBef>
        <a:spcAft>
          <a:spcPct val="0"/>
        </a:spcAft>
        <a:defRPr sz="3200">
          <a:solidFill>
            <a:schemeClr val="tx2"/>
          </a:solidFill>
          <a:latin typeface="Arial" charset="0"/>
        </a:defRPr>
      </a:lvl5pPr>
      <a:lvl6pPr marL="457189" algn="ctr" rtl="0" eaLnBrk="0" fontAlgn="base" hangingPunct="0">
        <a:spcBef>
          <a:spcPct val="0"/>
        </a:spcBef>
        <a:spcAft>
          <a:spcPct val="0"/>
        </a:spcAft>
        <a:defRPr sz="3200">
          <a:solidFill>
            <a:schemeClr val="tx2"/>
          </a:solidFill>
          <a:latin typeface="Arial" charset="0"/>
        </a:defRPr>
      </a:lvl6pPr>
      <a:lvl7pPr marL="914377" algn="ctr" rtl="0" eaLnBrk="0" fontAlgn="base" hangingPunct="0">
        <a:spcBef>
          <a:spcPct val="0"/>
        </a:spcBef>
        <a:spcAft>
          <a:spcPct val="0"/>
        </a:spcAft>
        <a:defRPr sz="3200">
          <a:solidFill>
            <a:schemeClr val="tx2"/>
          </a:solidFill>
          <a:latin typeface="Arial" charset="0"/>
        </a:defRPr>
      </a:lvl7pPr>
      <a:lvl8pPr marL="1371566" algn="ctr" rtl="0" eaLnBrk="0" fontAlgn="base" hangingPunct="0">
        <a:spcBef>
          <a:spcPct val="0"/>
        </a:spcBef>
        <a:spcAft>
          <a:spcPct val="0"/>
        </a:spcAft>
        <a:defRPr sz="3200">
          <a:solidFill>
            <a:schemeClr val="tx2"/>
          </a:solidFill>
          <a:latin typeface="Arial" charset="0"/>
        </a:defRPr>
      </a:lvl8pPr>
      <a:lvl9pPr marL="1828754" algn="ctr" rtl="0" eaLnBrk="0" fontAlgn="base" hangingPunct="0">
        <a:spcBef>
          <a:spcPct val="0"/>
        </a:spcBef>
        <a:spcAft>
          <a:spcPct val="0"/>
        </a:spcAft>
        <a:defRPr sz="3200">
          <a:solidFill>
            <a:schemeClr val="tx2"/>
          </a:solidFill>
          <a:latin typeface="Arial" charset="0"/>
        </a:defRPr>
      </a:lvl9pPr>
    </p:titleStyle>
    <p:bodyStyle>
      <a:lvl1pPr marL="227008" indent="-227008" algn="l" rtl="0" eaLnBrk="0" fontAlgn="base" hangingPunct="0">
        <a:spcBef>
          <a:spcPct val="20000"/>
        </a:spcBef>
        <a:spcAft>
          <a:spcPct val="0"/>
        </a:spcAft>
        <a:buClr>
          <a:srgbClr val="0053A1"/>
        </a:buClr>
        <a:buChar char="•"/>
        <a:defRPr sz="2000">
          <a:solidFill>
            <a:schemeClr val="tx1"/>
          </a:solidFill>
          <a:latin typeface="+mn-lt"/>
          <a:ea typeface="+mn-ea"/>
          <a:cs typeface="+mn-cs"/>
        </a:defRPr>
      </a:lvl1pPr>
      <a:lvl2pPr marL="568311" indent="-227008" algn="l" rtl="0" eaLnBrk="0" fontAlgn="base" hangingPunct="0">
        <a:spcBef>
          <a:spcPct val="20000"/>
        </a:spcBef>
        <a:spcAft>
          <a:spcPct val="0"/>
        </a:spcAft>
        <a:buClr>
          <a:srgbClr val="4D4D4D"/>
        </a:buClr>
        <a:buChar char="–"/>
        <a:defRPr>
          <a:solidFill>
            <a:schemeClr val="tx1"/>
          </a:solidFill>
          <a:latin typeface="+mn-lt"/>
        </a:defRPr>
      </a:lvl2pPr>
      <a:lvl3pPr marL="857229" indent="-174621" algn="l" rtl="0" eaLnBrk="0" fontAlgn="base" hangingPunct="0">
        <a:spcBef>
          <a:spcPct val="20000"/>
        </a:spcBef>
        <a:spcAft>
          <a:spcPct val="0"/>
        </a:spcAft>
        <a:buClr>
          <a:srgbClr val="568733"/>
        </a:buClr>
        <a:buChar char="•"/>
        <a:defRPr sz="1600">
          <a:solidFill>
            <a:schemeClr val="tx1"/>
          </a:solidFill>
          <a:latin typeface="+mn-lt"/>
        </a:defRPr>
      </a:lvl3pPr>
      <a:lvl4pPr marL="1201709" indent="-227008" algn="l" rtl="0" eaLnBrk="0" fontAlgn="base" hangingPunct="0">
        <a:spcBef>
          <a:spcPct val="20000"/>
        </a:spcBef>
        <a:spcAft>
          <a:spcPct val="0"/>
        </a:spcAft>
        <a:buChar char="–"/>
        <a:defRPr sz="1400">
          <a:solidFill>
            <a:schemeClr val="tx1"/>
          </a:solidFill>
          <a:latin typeface="+mn-lt"/>
        </a:defRPr>
      </a:lvl4pPr>
      <a:lvl5pPr marL="1596985" indent="-168270" algn="l" rtl="0" eaLnBrk="0" fontAlgn="base" hangingPunct="0">
        <a:spcBef>
          <a:spcPct val="20000"/>
        </a:spcBef>
        <a:spcAft>
          <a:spcPct val="0"/>
        </a:spcAft>
        <a:buChar char="»"/>
        <a:defRPr sz="1400">
          <a:solidFill>
            <a:schemeClr val="tx1"/>
          </a:solidFill>
          <a:latin typeface="+mn-lt"/>
        </a:defRPr>
      </a:lvl5pPr>
      <a:lvl6pPr marL="2054174" indent="-168270" algn="l" rtl="0" eaLnBrk="0" fontAlgn="base" hangingPunct="0">
        <a:spcBef>
          <a:spcPct val="20000"/>
        </a:spcBef>
        <a:spcAft>
          <a:spcPct val="0"/>
        </a:spcAft>
        <a:buChar char="»"/>
        <a:defRPr sz="1400">
          <a:solidFill>
            <a:schemeClr val="tx1"/>
          </a:solidFill>
          <a:latin typeface="+mn-lt"/>
        </a:defRPr>
      </a:lvl6pPr>
      <a:lvl7pPr marL="2511363" indent="-168270" algn="l" rtl="0" eaLnBrk="0" fontAlgn="base" hangingPunct="0">
        <a:spcBef>
          <a:spcPct val="20000"/>
        </a:spcBef>
        <a:spcAft>
          <a:spcPct val="0"/>
        </a:spcAft>
        <a:buChar char="»"/>
        <a:defRPr sz="1400">
          <a:solidFill>
            <a:schemeClr val="tx1"/>
          </a:solidFill>
          <a:latin typeface="+mn-lt"/>
        </a:defRPr>
      </a:lvl7pPr>
      <a:lvl8pPr marL="2968551" indent="-168270" algn="l" rtl="0" eaLnBrk="0" fontAlgn="base" hangingPunct="0">
        <a:spcBef>
          <a:spcPct val="20000"/>
        </a:spcBef>
        <a:spcAft>
          <a:spcPct val="0"/>
        </a:spcAft>
        <a:buChar char="»"/>
        <a:defRPr sz="1400">
          <a:solidFill>
            <a:schemeClr val="tx1"/>
          </a:solidFill>
          <a:latin typeface="+mn-lt"/>
        </a:defRPr>
      </a:lvl8pPr>
      <a:lvl9pPr marL="3425740" indent="-168270" algn="l" rtl="0" eaLnBrk="0" fontAlgn="base" hangingPunct="0">
        <a:spcBef>
          <a:spcPct val="20000"/>
        </a:spcBef>
        <a:spcAft>
          <a:spcPct val="0"/>
        </a:spcAft>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9" name="Rectangle 2"/>
          <p:cNvSpPr>
            <a:spLocks noGrp="1" noChangeArrowheads="1"/>
          </p:cNvSpPr>
          <p:nvPr>
            <p:ph type="title"/>
          </p:nvPr>
        </p:nvSpPr>
        <p:spPr>
          <a:xfrm>
            <a:off x="927099" y="502692"/>
            <a:ext cx="10350500" cy="500613"/>
          </a:xfrm>
          <a:prstGeom prst="rect">
            <a:avLst/>
          </a:prstGeom>
          <a:noFill/>
          <a:ln w="9525">
            <a:noFill/>
            <a:miter lim="800000"/>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30" name="Rectangle 3"/>
          <p:cNvSpPr>
            <a:spLocks noGrp="1" noChangeArrowheads="1"/>
          </p:cNvSpPr>
          <p:nvPr>
            <p:ph type="body" idx="1"/>
          </p:nvPr>
        </p:nvSpPr>
        <p:spPr>
          <a:xfrm>
            <a:off x="914400" y="1533525"/>
            <a:ext cx="10363200" cy="3657600"/>
          </a:xfrm>
          <a:prstGeom prst="rect">
            <a:avLst/>
          </a:prstGeom>
          <a:noFill/>
          <a:ln w="9525">
            <a:noFill/>
            <a:miter lim="800000"/>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3" name="Text Box 19"/>
          <p:cNvSpPr txBox="1">
            <a:spLocks noChangeArrowheads="1"/>
          </p:cNvSpPr>
          <p:nvPr userDrawn="1"/>
        </p:nvSpPr>
        <p:spPr>
          <a:xfrm>
            <a:off x="34748" y="6566553"/>
            <a:ext cx="386644" cy="280718"/>
          </a:xfrm>
          <a:prstGeom prst="rect">
            <a:avLst/>
          </a:prstGeom>
          <a:noFill/>
          <a:ln w="9525">
            <a:noFill/>
            <a:miter lim="800000"/>
          </a:ln>
          <a:effectLst/>
        </p:spPr>
        <p:txBody>
          <a:bodyPr wrap="none">
            <a:spAutoFit/>
          </a:bodyPr>
          <a:lstStyle/>
          <a:p>
            <a:pPr>
              <a:lnSpc>
                <a:spcPct val="130000"/>
              </a:lnSpc>
              <a:defRPr/>
            </a:pPr>
            <a:fld id="{54EAD230-0436-485D-8CEA-E95BCA6ED464}" type="slidenum">
              <a:rPr lang="en-US" sz="1051" b="1" smtClean="0">
                <a:solidFill>
                  <a:srgbClr val="000000"/>
                </a:solidFill>
                <a:latin typeface="Arial" charset="0"/>
              </a:rPr>
              <a:pPr>
                <a:lnSpc>
                  <a:spcPct val="130000"/>
                </a:lnSpc>
                <a:defRPr/>
              </a:pPr>
              <a:t>‹#›</a:t>
            </a:fld>
            <a:r>
              <a:rPr lang="en-US" sz="1051" b="1">
                <a:solidFill>
                  <a:srgbClr val="FFFFFF"/>
                </a:solidFill>
                <a:latin typeface="Arial" charset="0"/>
              </a:rPr>
              <a:t> </a:t>
            </a:r>
          </a:p>
        </p:txBody>
      </p:sp>
      <p:sp>
        <p:nvSpPr>
          <p:cNvPr id="11" name="Rectangle 23">
            <a:extLst>
              <a:ext uri="{FF2B5EF4-FFF2-40B4-BE49-F238E27FC236}">
                <a16:creationId xmlns:a16="http://schemas.microsoft.com/office/drawing/2014/main" id="{8EA1CF72-0CC5-41F9-A4C8-20372C701B02}"/>
              </a:ext>
            </a:extLst>
          </p:cNvPr>
          <p:cNvSpPr>
            <a:spLocks noChangeArrowheads="1"/>
          </p:cNvSpPr>
          <p:nvPr userDrawn="1"/>
        </p:nvSpPr>
        <p:spPr bwMode="auto">
          <a:xfrm>
            <a:off x="6761873" y="6543608"/>
            <a:ext cx="5491247"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tx1"/>
                </a:solidFill>
                <a:latin typeface="+mn-lt"/>
                <a:cs typeface="Arial" panose="020B0604020202020204" pitchFamily="34" charset="0"/>
              </a:rPr>
              <a:t>Honeywell Confidential - ©2024 by Honeywell International Inc. All rights reserved.</a:t>
            </a:r>
          </a:p>
        </p:txBody>
      </p:sp>
    </p:spTree>
    <p:extLst>
      <p:ext uri="{BB962C8B-B14F-4D97-AF65-F5344CB8AC3E}">
        <p14:creationId xmlns:p14="http://schemas.microsoft.com/office/powerpoint/2010/main" val="1611750804"/>
      </p:ext>
    </p:extLst>
  </p:cSld>
  <p:clrMap bg1="lt1" tx1="dk1" bg2="lt2" tx2="dk2" accent1="accent1" accent2="accent2" accent3="accent3" accent4="accent4" accent5="accent5" accent6="accent6" hlink="hlink" folHlink="folHlink"/>
  <p:sldLayoutIdLst>
    <p:sldLayoutId id="2147488786" r:id="rId1"/>
    <p:sldLayoutId id="2147488787" r:id="rId2"/>
    <p:sldLayoutId id="2147488788" r:id="rId3"/>
    <p:sldLayoutId id="2147488789" r:id="rId4"/>
    <p:sldLayoutId id="2147488790" r:id="rId5"/>
    <p:sldLayoutId id="2147488791" r:id="rId6"/>
    <p:sldLayoutId id="2147488792" r:id="rId7"/>
    <p:sldLayoutId id="2147488793" r:id="rId8"/>
    <p:sldLayoutId id="2147488794" r:id="rId9"/>
    <p:sldLayoutId id="2147488795" r:id="rId10"/>
    <p:sldLayoutId id="2147488796" r:id="rId11"/>
    <p:sldLayoutId id="2147488797" r:id="rId12"/>
    <p:sldLayoutId id="2147488798" r:id="rId13"/>
    <p:sldLayoutId id="2147488799" r:id="rId14"/>
    <p:sldLayoutId id="2147488800" r:id="rId15"/>
    <p:sldLayoutId id="2147488801" r:id="rId16"/>
    <p:sldLayoutId id="2147488802" r:id="rId17"/>
  </p:sldLayoutIdLst>
  <p:transition>
    <p:fade/>
  </p:transition>
  <p:hf sldNum="0" hdr="0" dt="0"/>
  <p:txStyles>
    <p:title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charset="0"/>
        </a:defRPr>
      </a:lvl2pPr>
      <a:lvl3pPr algn="ctr" rtl="0" eaLnBrk="0" fontAlgn="base" hangingPunct="0">
        <a:spcBef>
          <a:spcPct val="0"/>
        </a:spcBef>
        <a:spcAft>
          <a:spcPct val="0"/>
        </a:spcAft>
        <a:defRPr sz="3200">
          <a:solidFill>
            <a:schemeClr val="tx2"/>
          </a:solidFill>
          <a:latin typeface="Arial" charset="0"/>
        </a:defRPr>
      </a:lvl3pPr>
      <a:lvl4pPr algn="ctr" rtl="0" eaLnBrk="0" fontAlgn="base" hangingPunct="0">
        <a:spcBef>
          <a:spcPct val="0"/>
        </a:spcBef>
        <a:spcAft>
          <a:spcPct val="0"/>
        </a:spcAft>
        <a:defRPr sz="3200">
          <a:solidFill>
            <a:schemeClr val="tx2"/>
          </a:solidFill>
          <a:latin typeface="Arial" charset="0"/>
        </a:defRPr>
      </a:lvl4pPr>
      <a:lvl5pPr algn="ctr" rtl="0" eaLnBrk="0" fontAlgn="base" hangingPunct="0">
        <a:spcBef>
          <a:spcPct val="0"/>
        </a:spcBef>
        <a:spcAft>
          <a:spcPct val="0"/>
        </a:spcAft>
        <a:defRPr sz="3200">
          <a:solidFill>
            <a:schemeClr val="tx2"/>
          </a:solidFill>
          <a:latin typeface="Arial" charset="0"/>
        </a:defRPr>
      </a:lvl5pPr>
      <a:lvl6pPr marL="457189" algn="ctr" rtl="0" eaLnBrk="0" fontAlgn="base" hangingPunct="0">
        <a:spcBef>
          <a:spcPct val="0"/>
        </a:spcBef>
        <a:spcAft>
          <a:spcPct val="0"/>
        </a:spcAft>
        <a:defRPr sz="3200">
          <a:solidFill>
            <a:schemeClr val="tx2"/>
          </a:solidFill>
          <a:latin typeface="Arial" charset="0"/>
        </a:defRPr>
      </a:lvl6pPr>
      <a:lvl7pPr marL="914377" algn="ctr" rtl="0" eaLnBrk="0" fontAlgn="base" hangingPunct="0">
        <a:spcBef>
          <a:spcPct val="0"/>
        </a:spcBef>
        <a:spcAft>
          <a:spcPct val="0"/>
        </a:spcAft>
        <a:defRPr sz="3200">
          <a:solidFill>
            <a:schemeClr val="tx2"/>
          </a:solidFill>
          <a:latin typeface="Arial" charset="0"/>
        </a:defRPr>
      </a:lvl7pPr>
      <a:lvl8pPr marL="1371566" algn="ctr" rtl="0" eaLnBrk="0" fontAlgn="base" hangingPunct="0">
        <a:spcBef>
          <a:spcPct val="0"/>
        </a:spcBef>
        <a:spcAft>
          <a:spcPct val="0"/>
        </a:spcAft>
        <a:defRPr sz="3200">
          <a:solidFill>
            <a:schemeClr val="tx2"/>
          </a:solidFill>
          <a:latin typeface="Arial" charset="0"/>
        </a:defRPr>
      </a:lvl8pPr>
      <a:lvl9pPr marL="1828754" algn="ctr" rtl="0" eaLnBrk="0" fontAlgn="base" hangingPunct="0">
        <a:spcBef>
          <a:spcPct val="0"/>
        </a:spcBef>
        <a:spcAft>
          <a:spcPct val="0"/>
        </a:spcAft>
        <a:defRPr sz="3200">
          <a:solidFill>
            <a:schemeClr val="tx2"/>
          </a:solidFill>
          <a:latin typeface="Arial" charset="0"/>
        </a:defRPr>
      </a:lvl9pPr>
    </p:titleStyle>
    <p:bodyStyle>
      <a:lvl1pPr marL="227008" indent="-227008" algn="l" rtl="0" eaLnBrk="0" fontAlgn="base" hangingPunct="0">
        <a:spcBef>
          <a:spcPct val="20000"/>
        </a:spcBef>
        <a:spcAft>
          <a:spcPct val="0"/>
        </a:spcAft>
        <a:buClr>
          <a:srgbClr val="0053A1"/>
        </a:buClr>
        <a:buChar char="•"/>
        <a:defRPr sz="2000">
          <a:solidFill>
            <a:schemeClr val="tx1"/>
          </a:solidFill>
          <a:latin typeface="+mn-lt"/>
          <a:ea typeface="+mn-ea"/>
          <a:cs typeface="+mn-cs"/>
        </a:defRPr>
      </a:lvl1pPr>
      <a:lvl2pPr marL="568311" indent="-227008" algn="l" rtl="0" eaLnBrk="0" fontAlgn="base" hangingPunct="0">
        <a:spcBef>
          <a:spcPct val="20000"/>
        </a:spcBef>
        <a:spcAft>
          <a:spcPct val="0"/>
        </a:spcAft>
        <a:buClr>
          <a:srgbClr val="4D4D4D"/>
        </a:buClr>
        <a:buChar char="–"/>
        <a:defRPr>
          <a:solidFill>
            <a:schemeClr val="tx1"/>
          </a:solidFill>
          <a:latin typeface="+mn-lt"/>
        </a:defRPr>
      </a:lvl2pPr>
      <a:lvl3pPr marL="857229" indent="-174621" algn="l" rtl="0" eaLnBrk="0" fontAlgn="base" hangingPunct="0">
        <a:spcBef>
          <a:spcPct val="20000"/>
        </a:spcBef>
        <a:spcAft>
          <a:spcPct val="0"/>
        </a:spcAft>
        <a:buClr>
          <a:srgbClr val="568733"/>
        </a:buClr>
        <a:buChar char="•"/>
        <a:defRPr sz="1600">
          <a:solidFill>
            <a:schemeClr val="tx1"/>
          </a:solidFill>
          <a:latin typeface="+mn-lt"/>
        </a:defRPr>
      </a:lvl3pPr>
      <a:lvl4pPr marL="1201709" indent="-227008" algn="l" rtl="0" eaLnBrk="0" fontAlgn="base" hangingPunct="0">
        <a:spcBef>
          <a:spcPct val="20000"/>
        </a:spcBef>
        <a:spcAft>
          <a:spcPct val="0"/>
        </a:spcAft>
        <a:buChar char="–"/>
        <a:defRPr sz="1400">
          <a:solidFill>
            <a:schemeClr val="tx1"/>
          </a:solidFill>
          <a:latin typeface="+mn-lt"/>
        </a:defRPr>
      </a:lvl4pPr>
      <a:lvl5pPr marL="1596985" indent="-168270" algn="l" rtl="0" eaLnBrk="0" fontAlgn="base" hangingPunct="0">
        <a:spcBef>
          <a:spcPct val="20000"/>
        </a:spcBef>
        <a:spcAft>
          <a:spcPct val="0"/>
        </a:spcAft>
        <a:buChar char="»"/>
        <a:defRPr sz="1400">
          <a:solidFill>
            <a:schemeClr val="tx1"/>
          </a:solidFill>
          <a:latin typeface="+mn-lt"/>
        </a:defRPr>
      </a:lvl5pPr>
      <a:lvl6pPr marL="2054174" indent="-168270" algn="l" rtl="0" eaLnBrk="0" fontAlgn="base" hangingPunct="0">
        <a:spcBef>
          <a:spcPct val="20000"/>
        </a:spcBef>
        <a:spcAft>
          <a:spcPct val="0"/>
        </a:spcAft>
        <a:buChar char="»"/>
        <a:defRPr sz="1400">
          <a:solidFill>
            <a:schemeClr val="tx1"/>
          </a:solidFill>
          <a:latin typeface="+mn-lt"/>
        </a:defRPr>
      </a:lvl6pPr>
      <a:lvl7pPr marL="2511363" indent="-168270" algn="l" rtl="0" eaLnBrk="0" fontAlgn="base" hangingPunct="0">
        <a:spcBef>
          <a:spcPct val="20000"/>
        </a:spcBef>
        <a:spcAft>
          <a:spcPct val="0"/>
        </a:spcAft>
        <a:buChar char="»"/>
        <a:defRPr sz="1400">
          <a:solidFill>
            <a:schemeClr val="tx1"/>
          </a:solidFill>
          <a:latin typeface="+mn-lt"/>
        </a:defRPr>
      </a:lvl7pPr>
      <a:lvl8pPr marL="2968551" indent="-168270" algn="l" rtl="0" eaLnBrk="0" fontAlgn="base" hangingPunct="0">
        <a:spcBef>
          <a:spcPct val="20000"/>
        </a:spcBef>
        <a:spcAft>
          <a:spcPct val="0"/>
        </a:spcAft>
        <a:buChar char="»"/>
        <a:defRPr sz="1400">
          <a:solidFill>
            <a:schemeClr val="tx1"/>
          </a:solidFill>
          <a:latin typeface="+mn-lt"/>
        </a:defRPr>
      </a:lvl8pPr>
      <a:lvl9pPr marL="3425740" indent="-168270" algn="l" rtl="0" eaLnBrk="0" fontAlgn="base" hangingPunct="0">
        <a:spcBef>
          <a:spcPct val="20000"/>
        </a:spcBef>
        <a:spcAft>
          <a:spcPct val="0"/>
        </a:spcAft>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accent3"/>
                </a:solidFill>
                <a:latin typeface="+mn-lt"/>
                <a:cs typeface="Arial" panose="020B0604020202020204" pitchFamily="34" charset="0"/>
              </a:rPr>
              <a:t>Honeywell Confidential - ©2023 by Honeywell International Inc. All rights reserved.</a:t>
            </a:r>
          </a:p>
        </p:txBody>
      </p:sp>
    </p:spTree>
    <p:extLst>
      <p:ext uri="{BB962C8B-B14F-4D97-AF65-F5344CB8AC3E}">
        <p14:creationId xmlns:p14="http://schemas.microsoft.com/office/powerpoint/2010/main" val="2350367428"/>
      </p:ext>
    </p:extLst>
  </p:cSld>
  <p:clrMap bg1="lt1" tx1="dk1" bg2="lt2" tx2="dk2" accent1="accent1" accent2="accent2" accent3="accent3" accent4="accent4" accent5="accent5" accent6="accent6" hlink="hlink" folHlink="folHlink"/>
  <p:sldLayoutIdLst>
    <p:sldLayoutId id="2147488804" r:id="rId1"/>
    <p:sldLayoutId id="2147488805" r:id="rId2"/>
    <p:sldLayoutId id="2147488806" r:id="rId3"/>
    <p:sldLayoutId id="2147488807" r:id="rId4"/>
    <p:sldLayoutId id="2147488808" r:id="rId5"/>
    <p:sldLayoutId id="2147488809" r:id="rId6"/>
    <p:sldLayoutId id="2147488810" r:id="rId7"/>
    <p:sldLayoutId id="2147488811" r:id="rId8"/>
    <p:sldLayoutId id="2147488812" r:id="rId9"/>
    <p:sldLayoutId id="2147488813" r:id="rId10"/>
    <p:sldLayoutId id="2147488814" r:id="rId11"/>
    <p:sldLayoutId id="2147488815" r:id="rId12"/>
    <p:sldLayoutId id="2147488816" r:id="rId13"/>
    <p:sldLayoutId id="2147488817" r:id="rId14"/>
    <p:sldLayoutId id="2147488818" r:id="rId15"/>
    <p:sldLayoutId id="2147488819" r:id="rId16"/>
    <p:sldLayoutId id="2147488820" r:id="rId17"/>
    <p:sldLayoutId id="2147488821" r:id="rId18"/>
    <p:sldLayoutId id="2147488822" r:id="rId19"/>
    <p:sldLayoutId id="2147488823" r:id="rId20"/>
    <p:sldLayoutId id="2147488824" r:id="rId21"/>
    <p:sldLayoutId id="2147488825" r:id="rId22"/>
    <p:sldLayoutId id="2147488826" r:id="rId23"/>
    <p:sldLayoutId id="2147488827" r:id="rId24"/>
    <p:sldLayoutId id="2147488828" r:id="rId25"/>
    <p:sldLayoutId id="2147488829" r:id="rId26"/>
    <p:sldLayoutId id="2147488830" r:id="rId27"/>
    <p:sldLayoutId id="2147488831" r:id="rId28"/>
    <p:sldLayoutId id="2147488832" r:id="rId29"/>
    <p:sldLayoutId id="2147488833" r:id="rId30"/>
    <p:sldLayoutId id="2147488834" r:id="rId31"/>
    <p:sldLayoutId id="2147488835" r:id="rId32"/>
    <p:sldLayoutId id="2147488836" r:id="rId33"/>
    <p:sldLayoutId id="2147488837" r:id="rId34"/>
    <p:sldLayoutId id="2147488838" r:id="rId35"/>
    <p:sldLayoutId id="2147488839" r:id="rId36"/>
    <p:sldLayoutId id="2147488840" r:id="rId37"/>
    <p:sldLayoutId id="2147488841" r:id="rId38"/>
    <p:sldLayoutId id="2147488842" r:id="rId39"/>
    <p:sldLayoutId id="2147488843" r:id="rId40"/>
    <p:sldLayoutId id="2147488844" r:id="rId41"/>
    <p:sldLayoutId id="2147488845" r:id="rId42"/>
    <p:sldLayoutId id="2147488846" r:id="rId43"/>
    <p:sldLayoutId id="2147488847" r:id="rId44"/>
    <p:sldLayoutId id="2147488848" r:id="rId45"/>
    <p:sldLayoutId id="2147488849" r:id="rId46"/>
    <p:sldLayoutId id="2147488850" r:id="rId47"/>
    <p:sldLayoutId id="2147488851" r:id="rId48"/>
    <p:sldLayoutId id="2147488852" r:id="rId49"/>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6EFD35-96B0-4B47-9487-5DD96F4897EE}"/>
              </a:ext>
            </a:extLst>
          </p:cNvPr>
          <p:cNvGraphicFramePr>
            <a:graphicFrameLocks noChangeAspect="1"/>
          </p:cNvGraphicFramePr>
          <p:nvPr userDrawn="1">
            <p:custDataLst>
              <p:tags r:id="rId39"/>
            </p:custDataLst>
            <p:extLst>
              <p:ext uri="{D42A27DB-BD31-4B8C-83A1-F6EECF244321}">
                <p14:modId xmlns:p14="http://schemas.microsoft.com/office/powerpoint/2010/main" val="39331455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1" imgW="347" imgH="348" progId="TCLayout.ActiveDocument.1">
                  <p:embed/>
                </p:oleObj>
              </mc:Choice>
              <mc:Fallback>
                <p:oleObj name="think-cell Slide" r:id="rId41" imgW="347" imgH="348" progId="TCLayout.ActiveDocument.1">
                  <p:embed/>
                  <p:pic>
                    <p:nvPicPr>
                      <p:cNvPr id="7" name="Object 6" hidden="1">
                        <a:extLst>
                          <a:ext uri="{FF2B5EF4-FFF2-40B4-BE49-F238E27FC236}">
                            <a16:creationId xmlns:a16="http://schemas.microsoft.com/office/drawing/2014/main" id="{FB6EFD35-96B0-4B47-9487-5DD96F4897EE}"/>
                          </a:ext>
                        </a:extLst>
                      </p:cNvPr>
                      <p:cNvPicPr/>
                      <p:nvPr/>
                    </p:nvPicPr>
                    <p:blipFill>
                      <a:blip r:embed="rId4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64DF94-7244-4BF8-9BB4-3CC3FB89811A}"/>
              </a:ext>
            </a:extLst>
          </p:cNvPr>
          <p:cNvSpPr/>
          <p:nvPr userDrawn="1">
            <p:custDataLst>
              <p:tags r:id="rId40"/>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301" y="385346"/>
            <a:ext cx="11201401" cy="411592"/>
          </a:xfrm>
          <a:prstGeom prst="rect">
            <a:avLst/>
          </a:prstGeom>
        </p:spPr>
        <p:txBody>
          <a:bodyPr vert="horz" lIns="0" tIns="0" rIns="0" bIns="0" rtlCol="0" anchor="t">
            <a:noAutofit/>
          </a:bodyPr>
          <a:lstStyle/>
          <a:p>
            <a:r>
              <a:rPr lang="en-US"/>
              <a:t>Click to edit Master title style</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6"/>
            <a:ext cx="5600703" cy="237617"/>
          </a:xfrm>
          <a:prstGeom prst="rect">
            <a:avLst/>
          </a:prstGeom>
        </p:spPr>
        <p:txBody>
          <a:bodyPr vert="horz" lIns="0" tIns="0" rIns="0" bIns="0" rtlCol="0" anchor="b">
            <a:noAutofit/>
          </a:bodyPr>
          <a:lstStyle>
            <a:lvl1pPr algn="l">
              <a:defRPr sz="800" b="1">
                <a:solidFill>
                  <a:schemeClr val="accent3"/>
                </a:solidFill>
              </a:defRPr>
            </a:lvl1pPr>
          </a:lstStyle>
          <a:p>
            <a:r>
              <a:rPr lang="en-US"/>
              <a:t>Footer, Arial Bold 8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7" y="6480166"/>
            <a:ext cx="496945" cy="237617"/>
          </a:xfrm>
          <a:prstGeom prst="rect">
            <a:avLst/>
          </a:prstGeom>
        </p:spPr>
        <p:txBody>
          <a:bodyPr vert="horz" lIns="0" tIns="0" rIns="0" bIns="0" rtlCol="0" anchor="b">
            <a:noAutofit/>
          </a:bodyPr>
          <a:lstStyle>
            <a:lvl1pPr algn="r">
              <a:defRPr sz="8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
        <p:nvSpPr>
          <p:cNvPr id="9" name="Text Placeholder 8">
            <a:extLst>
              <a:ext uri="{FF2B5EF4-FFF2-40B4-BE49-F238E27FC236}">
                <a16:creationId xmlns:a16="http://schemas.microsoft.com/office/drawing/2014/main" id="{5BBF797E-7EC6-4711-AAB8-6396BD7D8B20}"/>
              </a:ext>
            </a:extLst>
          </p:cNvPr>
          <p:cNvSpPr>
            <a:spLocks noGrp="1"/>
          </p:cNvSpPr>
          <p:nvPr>
            <p:ph type="body" idx="1"/>
          </p:nvPr>
        </p:nvSpPr>
        <p:spPr>
          <a:xfrm>
            <a:off x="495300" y="1089024"/>
            <a:ext cx="11201401" cy="51593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582361"/>
      </p:ext>
    </p:extLst>
  </p:cSld>
  <p:clrMap bg1="lt1" tx1="dk1" bg2="lt2" tx2="dk2" accent1="accent1" accent2="accent2" accent3="accent3" accent4="accent4" accent5="accent5" accent6="accent6" hlink="hlink" folHlink="folHlink"/>
  <p:sldLayoutIdLst>
    <p:sldLayoutId id="2147488864" r:id="rId1"/>
    <p:sldLayoutId id="2147488865" r:id="rId2"/>
    <p:sldLayoutId id="2147488866" r:id="rId3"/>
    <p:sldLayoutId id="2147488867" r:id="rId4"/>
    <p:sldLayoutId id="2147488868" r:id="rId5"/>
    <p:sldLayoutId id="2147488869" r:id="rId6"/>
    <p:sldLayoutId id="2147488870" r:id="rId7"/>
    <p:sldLayoutId id="2147488871" r:id="rId8"/>
    <p:sldLayoutId id="2147488872" r:id="rId9"/>
    <p:sldLayoutId id="2147488873" r:id="rId10"/>
    <p:sldLayoutId id="2147488874" r:id="rId11"/>
    <p:sldLayoutId id="2147488875" r:id="rId12"/>
    <p:sldLayoutId id="2147488876" r:id="rId13"/>
    <p:sldLayoutId id="2147488877" r:id="rId14"/>
    <p:sldLayoutId id="2147488878" r:id="rId15"/>
    <p:sldLayoutId id="2147488879" r:id="rId16"/>
    <p:sldLayoutId id="2147488880" r:id="rId17"/>
    <p:sldLayoutId id="2147488881" r:id="rId18"/>
    <p:sldLayoutId id="2147488882" r:id="rId19"/>
    <p:sldLayoutId id="2147488883" r:id="rId20"/>
    <p:sldLayoutId id="2147488884" r:id="rId21"/>
    <p:sldLayoutId id="2147488885" r:id="rId22"/>
    <p:sldLayoutId id="2147488886" r:id="rId23"/>
    <p:sldLayoutId id="2147488887" r:id="rId24"/>
    <p:sldLayoutId id="2147488888" r:id="rId25"/>
    <p:sldLayoutId id="2147488889" r:id="rId26"/>
    <p:sldLayoutId id="2147488890" r:id="rId27"/>
    <p:sldLayoutId id="2147488891" r:id="rId28"/>
    <p:sldLayoutId id="2147488892" r:id="rId29"/>
    <p:sldLayoutId id="2147488893" r:id="rId30"/>
    <p:sldLayoutId id="2147488894" r:id="rId31"/>
    <p:sldLayoutId id="2147488895" r:id="rId32"/>
    <p:sldLayoutId id="2147488896" r:id="rId33"/>
    <p:sldLayoutId id="2147488897" r:id="rId34"/>
    <p:sldLayoutId id="2147488898" r:id="rId35"/>
    <p:sldLayoutId id="2147488899" r:id="rId36"/>
    <p:sldLayoutId id="2147488900" r:id="rId37"/>
  </p:sldLayoutIdLst>
  <p:hf hdr="0" ftr="0" dt="0"/>
  <p:txStyles>
    <p:title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600" kern="1200" dirty="0" smtClean="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504">
          <p15:clr>
            <a:srgbClr val="9FCC3B"/>
          </p15:clr>
        </p15:guide>
        <p15:guide id="4" orient="horz" pos="4080">
          <p15:clr>
            <a:srgbClr val="FDE53C"/>
          </p15:clr>
        </p15:guide>
        <p15:guide id="6" pos="7368">
          <p15:clr>
            <a:srgbClr val="9FCC3B"/>
          </p15:clr>
        </p15:guide>
        <p15:guide id="7" orient="horz" pos="3840">
          <p15:clr>
            <a:srgbClr val="9FCC3B"/>
          </p15:clr>
        </p15:guide>
        <p15:guide id="10" orient="horz" pos="744">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guide id="17" orient="horz" pos="240">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6EFD35-96B0-4B47-9487-5DD96F4897EE}"/>
              </a:ext>
            </a:extLst>
          </p:cNvPr>
          <p:cNvGraphicFramePr>
            <a:graphicFrameLocks noChangeAspect="1"/>
          </p:cNvGraphicFramePr>
          <p:nvPr userDrawn="1">
            <p:custDataLst>
              <p:tags r:id="rId48"/>
            </p:custDataLst>
            <p:extLst>
              <p:ext uri="{D42A27DB-BD31-4B8C-83A1-F6EECF244321}">
                <p14:modId xmlns:p14="http://schemas.microsoft.com/office/powerpoint/2010/main" val="28638375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0" imgW="0" imgH="0" progId="TCLayout.ActiveDocument.1">
                  <p:embed/>
                </p:oleObj>
              </mc:Choice>
              <mc:Fallback>
                <p:oleObj name="think-cell Slide" r:id="rId50" imgW="0" imgH="0" progId="TCLayout.ActiveDocument.1">
                  <p:embed/>
                  <p:pic>
                    <p:nvPicPr>
                      <p:cNvPr id="7" name="Object 6" hidden="1">
                        <a:extLst>
                          <a:ext uri="{FF2B5EF4-FFF2-40B4-BE49-F238E27FC236}">
                            <a16:creationId xmlns:a16="http://schemas.microsoft.com/office/drawing/2014/main" id="{FB6EFD35-96B0-4B47-9487-5DD96F4897EE}"/>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D064DF94-7244-4BF8-9BB4-3CC3FB89811A}"/>
              </a:ext>
            </a:extLst>
          </p:cNvPr>
          <p:cNvSpPr/>
          <p:nvPr userDrawn="1">
            <p:custDataLst>
              <p:tags r:id="rId49"/>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301" y="385346"/>
            <a:ext cx="11201401" cy="411592"/>
          </a:xfrm>
          <a:prstGeom prst="rect">
            <a:avLst/>
          </a:prstGeom>
        </p:spPr>
        <p:txBody>
          <a:bodyPr vert="horz" lIns="0" tIns="0" rIns="0" bIns="0" rtlCol="0" anchor="t">
            <a:noAutofit/>
          </a:bodyPr>
          <a:lstStyle/>
          <a:p>
            <a:r>
              <a:rPr lang="en-US"/>
              <a:t>Click to edit Master title style</a:t>
            </a:r>
          </a:p>
        </p:txBody>
      </p:sp>
      <p:sp>
        <p:nvSpPr>
          <p:cNvPr id="5" name="Footer Placeholder 4">
            <a:extLst>
              <a:ext uri="{FF2B5EF4-FFF2-40B4-BE49-F238E27FC236}">
                <a16:creationId xmlns:a16="http://schemas.microsoft.com/office/drawing/2014/main" id="{9C9C61BD-1A56-4C96-8300-B2F24AEB8A0E}"/>
              </a:ext>
            </a:extLst>
          </p:cNvPr>
          <p:cNvSpPr>
            <a:spLocks noGrp="1"/>
          </p:cNvSpPr>
          <p:nvPr>
            <p:ph type="ftr" sz="quarter" idx="3"/>
          </p:nvPr>
        </p:nvSpPr>
        <p:spPr>
          <a:xfrm>
            <a:off x="495299" y="6480166"/>
            <a:ext cx="5600703" cy="237617"/>
          </a:xfrm>
          <a:prstGeom prst="rect">
            <a:avLst/>
          </a:prstGeom>
        </p:spPr>
        <p:txBody>
          <a:bodyPr vert="horz" lIns="0" tIns="0" rIns="0" bIns="0" rtlCol="0" anchor="b">
            <a:noAutofit/>
          </a:bodyPr>
          <a:lstStyle>
            <a:lvl1pPr algn="l">
              <a:defRPr sz="800" b="1">
                <a:solidFill>
                  <a:schemeClr val="accent3"/>
                </a:solidFill>
              </a:defRPr>
            </a:lvl1pPr>
          </a:lstStyle>
          <a:p>
            <a:endParaRPr lang="en-US"/>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7" y="6480166"/>
            <a:ext cx="496945" cy="237617"/>
          </a:xfrm>
          <a:prstGeom prst="rect">
            <a:avLst/>
          </a:prstGeom>
        </p:spPr>
        <p:txBody>
          <a:bodyPr vert="horz" lIns="0" tIns="0" rIns="0" bIns="0" rtlCol="0" anchor="b">
            <a:noAutofit/>
          </a:bodyPr>
          <a:lstStyle>
            <a:lvl1pPr algn="r">
              <a:defRPr sz="800" b="1">
                <a:solidFill>
                  <a:schemeClr val="accent3"/>
                </a:solidFill>
              </a:defRPr>
            </a:lvl1pPr>
          </a:lstStyle>
          <a:p>
            <a:fld id="{7B94EC18-1D2B-4535-B738-0E53AFE26620}" type="slidenum">
              <a:rPr lang="en-US" smtClean="0"/>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accent3"/>
                </a:solidFill>
                <a:latin typeface="+mn-lt"/>
                <a:cs typeface="Arial" panose="020B0604020202020204" pitchFamily="34" charset="0"/>
              </a:rPr>
              <a:t>Honeywell Confidential - ©2020 by Honeywell International Inc. All rights reserved.</a:t>
            </a:r>
          </a:p>
        </p:txBody>
      </p:sp>
      <p:sp>
        <p:nvSpPr>
          <p:cNvPr id="9" name="Text Placeholder 8">
            <a:extLst>
              <a:ext uri="{FF2B5EF4-FFF2-40B4-BE49-F238E27FC236}">
                <a16:creationId xmlns:a16="http://schemas.microsoft.com/office/drawing/2014/main" id="{5BBF797E-7EC6-4711-AAB8-6396BD7D8B20}"/>
              </a:ext>
            </a:extLst>
          </p:cNvPr>
          <p:cNvSpPr>
            <a:spLocks noGrp="1"/>
          </p:cNvSpPr>
          <p:nvPr>
            <p:ph type="body" idx="1"/>
          </p:nvPr>
        </p:nvSpPr>
        <p:spPr>
          <a:xfrm>
            <a:off x="495300" y="1089024"/>
            <a:ext cx="11201401" cy="51593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816298"/>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 id="2147484812" r:id="rId9"/>
    <p:sldLayoutId id="2147484813" r:id="rId10"/>
    <p:sldLayoutId id="2147484814" r:id="rId11"/>
    <p:sldLayoutId id="2147484815" r:id="rId12"/>
    <p:sldLayoutId id="2147484816" r:id="rId13"/>
    <p:sldLayoutId id="2147484817" r:id="rId14"/>
    <p:sldLayoutId id="2147484818" r:id="rId15"/>
    <p:sldLayoutId id="2147484819" r:id="rId16"/>
    <p:sldLayoutId id="2147484820" r:id="rId17"/>
    <p:sldLayoutId id="2147484821" r:id="rId18"/>
    <p:sldLayoutId id="2147484822" r:id="rId19"/>
    <p:sldLayoutId id="2147484823" r:id="rId20"/>
    <p:sldLayoutId id="2147484824" r:id="rId21"/>
    <p:sldLayoutId id="2147484825" r:id="rId22"/>
    <p:sldLayoutId id="2147484826" r:id="rId23"/>
    <p:sldLayoutId id="2147484827" r:id="rId24"/>
    <p:sldLayoutId id="2147484828" r:id="rId25"/>
    <p:sldLayoutId id="2147484829" r:id="rId26"/>
    <p:sldLayoutId id="2147484830" r:id="rId27"/>
    <p:sldLayoutId id="2147484831" r:id="rId28"/>
    <p:sldLayoutId id="2147484832" r:id="rId29"/>
    <p:sldLayoutId id="2147484833" r:id="rId30"/>
    <p:sldLayoutId id="2147484834" r:id="rId31"/>
    <p:sldLayoutId id="2147484835" r:id="rId32"/>
    <p:sldLayoutId id="2147484836" r:id="rId33"/>
    <p:sldLayoutId id="2147484837" r:id="rId34"/>
    <p:sldLayoutId id="2147484838" r:id="rId35"/>
    <p:sldLayoutId id="2147484839" r:id="rId36"/>
    <p:sldLayoutId id="2147488853" r:id="rId37"/>
    <p:sldLayoutId id="2147488854" r:id="rId38"/>
    <p:sldLayoutId id="2147488855" r:id="rId39"/>
    <p:sldLayoutId id="2147488856" r:id="rId40"/>
    <p:sldLayoutId id="2147488858" r:id="rId41"/>
    <p:sldLayoutId id="2147488859" r:id="rId42"/>
    <p:sldLayoutId id="2147488860" r:id="rId43"/>
    <p:sldLayoutId id="2147488861" r:id="rId44"/>
    <p:sldLayoutId id="2147488862" r:id="rId45"/>
    <p:sldLayoutId id="2147488901" r:id="rId46"/>
  </p:sldLayoutIdLst>
  <p:hf sldNum="0" hdr="0" ftr="0" dt="0"/>
  <p:txStyles>
    <p:title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2880">
          <p15:clr>
            <a:srgbClr val="9FCC3B"/>
          </p15:clr>
        </p15:guide>
        <p15:guide id="3" orient="horz" pos="504">
          <p15:clr>
            <a:srgbClr val="9FCC3B"/>
          </p15:clr>
        </p15:guide>
        <p15:guide id="4" orient="horz" pos="4080">
          <p15:clr>
            <a:srgbClr val="FDE53C"/>
          </p15:clr>
        </p15:guide>
        <p15:guide id="6" pos="5526">
          <p15:clr>
            <a:srgbClr val="9FCC3B"/>
          </p15:clr>
        </p15:guide>
        <p15:guide id="7" orient="horz" pos="3840">
          <p15:clr>
            <a:srgbClr val="9FCC3B"/>
          </p15:clr>
        </p15:guide>
        <p15:guide id="10" orient="horz" pos="744">
          <p15:clr>
            <a:srgbClr val="9FCC3B"/>
          </p15:clr>
        </p15:guide>
        <p15:guide id="11" orient="horz" pos="2304">
          <p15:clr>
            <a:srgbClr val="9FCC3B"/>
          </p15:clr>
        </p15:guide>
        <p15:guide id="12">
          <p15:clr>
            <a:srgbClr val="000000"/>
          </p15:clr>
        </p15:guide>
        <p15:guide id="13" pos="5760">
          <p15:clr>
            <a:srgbClr val="000000"/>
          </p15:clr>
        </p15:guide>
        <p15:guide id="14" orient="horz">
          <p15:clr>
            <a:srgbClr val="000000"/>
          </p15:clr>
        </p15:guide>
        <p15:guide id="15" orient="horz" pos="4320">
          <p15:clr>
            <a:srgbClr val="000000"/>
          </p15:clr>
        </p15:guide>
        <p15:guide id="16" pos="234">
          <p15:clr>
            <a:srgbClr val="9FCC3B"/>
          </p15:clr>
        </p15:guide>
        <p15:guide id="17" orient="horz" pos="240">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 name="Rectangle 23"/>
          <p:cNvSpPr>
            <a:spLocks noChangeArrowheads="1"/>
          </p:cNvSpPr>
          <p:nvPr/>
        </p:nvSpPr>
        <p:spPr bwMode="auto">
          <a:xfrm>
            <a:off x="4407310" y="6657975"/>
            <a:ext cx="3506788" cy="20002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a:solidFill>
                  <a:schemeClr val="accent3"/>
                </a:solidFill>
                <a:cs typeface="Arial" panose="020B0604020202020204" pitchFamily="34" charset="0"/>
              </a:rPr>
              <a:t>Honeywell Confidential - © 2020 by Honeywell International Inc. All rights reserved. </a:t>
            </a:r>
          </a:p>
        </p:txBody>
      </p:sp>
      <p:pic>
        <p:nvPicPr>
          <p:cNvPr id="4" name="Picture 3">
            <a:extLst>
              <a:ext uri="{FF2B5EF4-FFF2-40B4-BE49-F238E27FC236}">
                <a16:creationId xmlns:a16="http://schemas.microsoft.com/office/drawing/2014/main" id="{9630A274-16FC-442C-9EC7-C4EB4B0DBF4D}"/>
              </a:ext>
            </a:extLst>
          </p:cNvPr>
          <p:cNvPicPr>
            <a:picLocks noChangeAspect="1"/>
          </p:cNvPicPr>
          <p:nvPr/>
        </p:nvPicPr>
        <p:blipFill>
          <a:blip r:embed="rId7"/>
          <a:stretch>
            <a:fillRect/>
          </a:stretch>
        </p:blipFill>
        <p:spPr>
          <a:xfrm>
            <a:off x="10067925" y="6337064"/>
            <a:ext cx="2124075" cy="352425"/>
          </a:xfrm>
          <a:prstGeom prst="rect">
            <a:avLst/>
          </a:prstGeom>
        </p:spPr>
      </p:pic>
    </p:spTree>
    <p:extLst>
      <p:ext uri="{BB962C8B-B14F-4D97-AF65-F5344CB8AC3E}">
        <p14:creationId xmlns:p14="http://schemas.microsoft.com/office/powerpoint/2010/main" val="1780357750"/>
      </p:ext>
    </p:extLst>
  </p:cSld>
  <p:clrMap bg1="lt1" tx1="dk1" bg2="lt2" tx2="dk2" accent1="accent1" accent2="accent2" accent3="accent3" accent4="accent4" accent5="accent5" accent6="accent6" hlink="hlink" folHlink="folHlink"/>
  <p:sldLayoutIdLst>
    <p:sldLayoutId id="2147486618" r:id="rId1"/>
    <p:sldLayoutId id="2147486619" r:id="rId2"/>
    <p:sldLayoutId id="2147486620" r:id="rId3"/>
    <p:sldLayoutId id="2147486621" r:id="rId4"/>
    <p:sldLayoutId id="2147486622" r:id="rId5"/>
  </p:sldLayoutIdLst>
  <p:hf hdr="0" ftr="0" dt="0"/>
  <p:txStyles>
    <p:titleStyle>
      <a:lvl1pPr algn="l" defTabSz="457200" rtl="0" eaLnBrk="1" fontAlgn="base" hangingPunct="1">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1" fontAlgn="base" hangingPunct="1">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1" fontAlgn="base" hangingPunct="1">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1" fontAlgn="base" hangingPunct="1">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ound Single Corner Rectangle 1"/>
          <p:cNvSpPr>
            <a:spLocks noChangeAspect="1"/>
          </p:cNvSpPr>
          <p:nvPr/>
        </p:nvSpPr>
        <p:spPr>
          <a:xfrm rot="5400000">
            <a:off x="10591800" y="-228591"/>
            <a:ext cx="13716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r>
              <a:rPr lang="en-US" sz="1350">
                <a:solidFill>
                  <a:srgbClr val="FFFFFF"/>
                </a:solidFill>
              </a:rPr>
              <a:t> </a:t>
            </a:r>
          </a:p>
        </p:txBody>
      </p:sp>
      <p:sp>
        <p:nvSpPr>
          <p:cNvPr id="2053" name="Title Placeholder 1"/>
          <p:cNvSpPr>
            <a:spLocks noGrp="1"/>
          </p:cNvSpPr>
          <p:nvPr>
            <p:ph type="title"/>
          </p:nvPr>
        </p:nvSpPr>
        <p:spPr bwMode="auto">
          <a:xfrm>
            <a:off x="713317" y="357191"/>
            <a:ext cx="10803467" cy="498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260353" y="6656389"/>
            <a:ext cx="1923925"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42900" eaLnBrk="1" hangingPunct="1">
              <a:defRPr/>
            </a:pPr>
            <a:r>
              <a:rPr lang="en-US" altLang="en-US" sz="525">
                <a:solidFill>
                  <a:srgbClr val="707070"/>
                </a:solidFill>
                <a:cs typeface="Arial" panose="020B0604020202020204" pitchFamily="34" charset="0"/>
              </a:rPr>
              <a:t>© 2015 by Honeywell International Inc. All rights reserved. </a:t>
            </a:r>
          </a:p>
        </p:txBody>
      </p:sp>
      <p:sp>
        <p:nvSpPr>
          <p:cNvPr id="10" name="Slide Number Placeholder 5"/>
          <p:cNvSpPr>
            <a:spLocks noGrp="1"/>
          </p:cNvSpPr>
          <p:nvPr>
            <p:ph type="sldNum" sz="quarter" idx="4"/>
          </p:nvPr>
        </p:nvSpPr>
        <p:spPr>
          <a:xfrm>
            <a:off x="11645902" y="-28574"/>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750" b="1" i="0">
                <a:solidFill>
                  <a:schemeClr val="bg1"/>
                </a:solidFill>
                <a:latin typeface="HelveticaNeue MediumCond"/>
                <a:cs typeface="HelveticaNeue MediumCond"/>
              </a:defRPr>
            </a:lvl1pPr>
          </a:lstStyle>
          <a:p>
            <a:pPr defTabSz="342900">
              <a:defRPr/>
            </a:pPr>
            <a:fld id="{2CBEC69B-6B02-4AED-8DFD-C2579D65AE2F}" type="slidenum">
              <a:rPr lang="en-US" smtClean="0">
                <a:solidFill>
                  <a:srgbClr val="FFFFFF"/>
                </a:solidFill>
              </a:rPr>
              <a:pPr defTabSz="342900">
                <a:defRPr/>
              </a:pPr>
              <a:t>‹#›</a:t>
            </a:fld>
            <a:endParaRPr lang="en-US">
              <a:solidFill>
                <a:srgbClr val="FFFFFF"/>
              </a:solidFill>
            </a:endParaRPr>
          </a:p>
        </p:txBody>
      </p:sp>
      <p:pic>
        <p:nvPicPr>
          <p:cNvPr id="2056" name="Picture 10" descr="\\localhost\Volumes\DMS-Server\Clients\Honeywell PPT \Honeywell - Freestanding Logos\Honeywell - Freestanding Logo RGB.png"/>
          <p:cNvPicPr>
            <a:picLocks noChangeAspect="1"/>
          </p:cNvPicPr>
          <p:nvPr/>
        </p:nvPicPr>
        <p:blipFill>
          <a:blip r:embed="rId11" r:link="rId12"/>
          <a:srcRect/>
          <a:stretch>
            <a:fillRect/>
          </a:stretch>
        </p:blipFill>
        <p:spPr bwMode="auto">
          <a:xfrm>
            <a:off x="10388602" y="6519866"/>
            <a:ext cx="1375833" cy="193675"/>
          </a:xfrm>
          <a:prstGeom prst="rect">
            <a:avLst/>
          </a:prstGeom>
          <a:noFill/>
          <a:ln w="9525">
            <a:noFill/>
            <a:miter lim="800000"/>
            <a:headEnd/>
            <a:tailEnd/>
          </a:ln>
        </p:spPr>
      </p:pic>
    </p:spTree>
    <p:extLst>
      <p:ext uri="{BB962C8B-B14F-4D97-AF65-F5344CB8AC3E}">
        <p14:creationId xmlns:p14="http://schemas.microsoft.com/office/powerpoint/2010/main" val="4143172440"/>
      </p:ext>
    </p:extLst>
  </p:cSld>
  <p:clrMap bg1="lt1" tx1="dk1" bg2="lt2" tx2="dk2" accent1="accent1" accent2="accent2" accent3="accent3" accent4="accent4" accent5="accent5" accent6="accent6" hlink="hlink" folHlink="folHlink"/>
  <p:sldLayoutIdLst>
    <p:sldLayoutId id="2147487450" r:id="rId1"/>
    <p:sldLayoutId id="2147487451" r:id="rId2"/>
    <p:sldLayoutId id="2147487452" r:id="rId3"/>
    <p:sldLayoutId id="2147487453" r:id="rId4"/>
    <p:sldLayoutId id="2147487454" r:id="rId5"/>
    <p:sldLayoutId id="2147487455" r:id="rId6"/>
    <p:sldLayoutId id="2147487456" r:id="rId7"/>
    <p:sldLayoutId id="2147487457" r:id="rId8"/>
    <p:sldLayoutId id="2147487458" r:id="rId9"/>
  </p:sldLayoutIdLst>
  <p:hf hdr="0" ftr="0" dt="0"/>
  <p:txStyles>
    <p:titleStyle>
      <a:lvl1pPr algn="l" defTabSz="342900" rtl="0" eaLnBrk="0" fontAlgn="base" hangingPunct="0">
        <a:spcBef>
          <a:spcPct val="0"/>
        </a:spcBef>
        <a:spcAft>
          <a:spcPct val="0"/>
        </a:spcAft>
        <a:defRPr lang="en-US" sz="2100" b="1" kern="1200" dirty="0">
          <a:solidFill>
            <a:schemeClr val="tx1"/>
          </a:solidFill>
          <a:latin typeface="Arial" pitchFamily="34" charset="0"/>
          <a:ea typeface="Arial" charset="0"/>
          <a:cs typeface="Arial" pitchFamily="34" charset="0"/>
        </a:defRPr>
      </a:lvl1pPr>
      <a:lvl2pPr algn="l" defTabSz="342900"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2pPr>
      <a:lvl3pPr algn="l" defTabSz="342900"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3pPr>
      <a:lvl4pPr algn="l" defTabSz="342900"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4pPr>
      <a:lvl5pPr algn="l" defTabSz="342900"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5pPr>
      <a:lvl6pPr marL="342900" algn="l" defTabSz="342900"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6pPr>
      <a:lvl7pPr marL="685800" algn="l" defTabSz="342900"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7pPr>
      <a:lvl8pPr marL="1028700" algn="l" defTabSz="342900"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8pPr>
      <a:lvl9pPr marL="1371600" algn="l" defTabSz="342900"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9pPr>
    </p:titleStyle>
    <p:bodyStyle>
      <a:lvl1pPr marL="127397" indent="-127397" algn="l" defTabSz="342900" rtl="0" eaLnBrk="0" fontAlgn="base" hangingPunct="0">
        <a:spcBef>
          <a:spcPct val="20000"/>
        </a:spcBef>
        <a:spcAft>
          <a:spcPct val="0"/>
        </a:spcAft>
        <a:buClr>
          <a:srgbClr val="C00000"/>
        </a:buClr>
        <a:buFont typeface="Arial" pitchFamily="34" charset="0"/>
        <a:buChar char="•"/>
        <a:defRPr sz="1500" kern="1200">
          <a:solidFill>
            <a:schemeClr val="tx1"/>
          </a:solidFill>
          <a:latin typeface="Arial" pitchFamily="34" charset="0"/>
          <a:ea typeface="Arial" charset="0"/>
          <a:cs typeface="Arial" pitchFamily="34" charset="0"/>
        </a:defRPr>
      </a:lvl1pPr>
      <a:lvl2pPr marL="470297" indent="-127397" algn="l" defTabSz="342900" rtl="0" eaLnBrk="0" fontAlgn="base" hangingPunct="0">
        <a:spcBef>
          <a:spcPct val="20000"/>
        </a:spcBef>
        <a:spcAft>
          <a:spcPct val="0"/>
        </a:spcAft>
        <a:buFont typeface="Arial" pitchFamily="34" charset="0"/>
        <a:buChar char="-"/>
        <a:defRPr kern="1200">
          <a:solidFill>
            <a:schemeClr val="tx1"/>
          </a:solidFill>
          <a:latin typeface="Arial" pitchFamily="34" charset="0"/>
          <a:ea typeface="Arial" charset="0"/>
          <a:cs typeface="Arial" pitchFamily="34" charset="0"/>
        </a:defRPr>
      </a:lvl2pPr>
      <a:lvl3pPr marL="813197" indent="-127397" algn="l" defTabSz="342900" rtl="0" eaLnBrk="0" fontAlgn="base" hangingPunct="0">
        <a:spcBef>
          <a:spcPct val="20000"/>
        </a:spcBef>
        <a:spcAft>
          <a:spcPct val="0"/>
        </a:spcAft>
        <a:buClr>
          <a:srgbClr val="7F7F7F"/>
        </a:buClr>
        <a:buSzPct val="90000"/>
        <a:buFont typeface="Wingdings" pitchFamily="2" charset="2"/>
        <a:buChar char="§"/>
        <a:defRPr sz="1200" kern="1200">
          <a:solidFill>
            <a:schemeClr val="tx1"/>
          </a:solidFill>
          <a:latin typeface="Arial" pitchFamily="34" charset="0"/>
          <a:ea typeface="Arial" charset="0"/>
          <a:cs typeface="Arial" pitchFamily="34" charset="0"/>
        </a:defRPr>
      </a:lvl3pPr>
      <a:lvl4pPr marL="1200150" indent="-171450" algn="l" defTabSz="342900" rtl="0" eaLnBrk="0" fontAlgn="base" hangingPunct="0">
        <a:spcBef>
          <a:spcPct val="20000"/>
        </a:spcBef>
        <a:spcAft>
          <a:spcPct val="0"/>
        </a:spcAft>
        <a:buFont typeface="Arial" pitchFamily="34" charset="0"/>
        <a:buChar char="–"/>
        <a:defRPr sz="1500" kern="1200">
          <a:solidFill>
            <a:schemeClr val="tx1"/>
          </a:solidFill>
          <a:latin typeface="Helvetica Neue"/>
          <a:ea typeface="Helvetica Neue"/>
          <a:cs typeface="Helvetica Neue"/>
        </a:defRPr>
      </a:lvl4pPr>
      <a:lvl5pPr marL="1543050" indent="-171450" algn="l" defTabSz="342900" rtl="0" eaLnBrk="0" fontAlgn="base" hangingPunct="0">
        <a:spcBef>
          <a:spcPct val="20000"/>
        </a:spcBef>
        <a:spcAft>
          <a:spcPct val="0"/>
        </a:spcAft>
        <a:buFont typeface="Arial" pitchFamily="34" charset="0"/>
        <a:buChar char="»"/>
        <a:defRPr sz="1500" kern="1200">
          <a:solidFill>
            <a:schemeClr val="tx1"/>
          </a:solidFill>
          <a:latin typeface="Helvetica Neue"/>
          <a:ea typeface="Helvetica Neue"/>
          <a:cs typeface="Helvetica Neue"/>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31708530823_523ed4fa90_o_crop.jpg">
            <a:extLst>
              <a:ext uri="{FF2B5EF4-FFF2-40B4-BE49-F238E27FC236}">
                <a16:creationId xmlns:a16="http://schemas.microsoft.com/office/drawing/2014/main" id="{908E552B-86EB-6A01-680E-0DEBFDEA008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229100" cy="562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descr="https://www.security.honeywell.com/hsc/images/Lyric-Gateway-Living-Room3_hi.jpg">
            <a:extLst>
              <a:ext uri="{FF2B5EF4-FFF2-40B4-BE49-F238E27FC236}">
                <a16:creationId xmlns:a16="http://schemas.microsoft.com/office/drawing/2014/main" id="{103035D6-E542-C173-41A0-7807B88ABD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2" b="391"/>
          <a:stretch>
            <a:fillRect/>
          </a:stretch>
        </p:blipFill>
        <p:spPr bwMode="auto">
          <a:xfrm>
            <a:off x="6664325" y="0"/>
            <a:ext cx="5527675"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15">
            <a:extLst>
              <a:ext uri="{FF2B5EF4-FFF2-40B4-BE49-F238E27FC236}">
                <a16:creationId xmlns:a16="http://schemas.microsoft.com/office/drawing/2014/main" id="{9E0C2DCA-5A98-FBC4-B9E5-8408CF348AB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325938" y="0"/>
            <a:ext cx="224155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13">
            <a:extLst>
              <a:ext uri="{FF2B5EF4-FFF2-40B4-BE49-F238E27FC236}">
                <a16:creationId xmlns:a16="http://schemas.microsoft.com/office/drawing/2014/main" id="{4E48D914-075A-0F51-E3A8-8E69B109D5D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921875" y="1998663"/>
            <a:ext cx="2274888" cy="358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6">
            <a:extLst>
              <a:ext uri="{FF2B5EF4-FFF2-40B4-BE49-F238E27FC236}">
                <a16:creationId xmlns:a16="http://schemas.microsoft.com/office/drawing/2014/main" id="{B2FD68E7-AF73-A73D-156C-D01EB597E0F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325938" y="1998663"/>
            <a:ext cx="2239962"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2" descr="GoDirect">
            <a:extLst>
              <a:ext uri="{FF2B5EF4-FFF2-40B4-BE49-F238E27FC236}">
                <a16:creationId xmlns:a16="http://schemas.microsoft.com/office/drawing/2014/main" id="{CCF0C006-9668-EC2F-5AF3-AB79D75494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64325" y="3903663"/>
            <a:ext cx="3154363" cy="170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8">
            <a:extLst>
              <a:ext uri="{FF2B5EF4-FFF2-40B4-BE49-F238E27FC236}">
                <a16:creationId xmlns:a16="http://schemas.microsoft.com/office/drawing/2014/main" id="{3C1318EE-4501-448C-1F77-ED72D134A5D2}"/>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664325" y="1998663"/>
            <a:ext cx="3154363" cy="179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5" descr="Corner-01 copy.png">
            <a:extLst>
              <a:ext uri="{FF2B5EF4-FFF2-40B4-BE49-F238E27FC236}">
                <a16:creationId xmlns:a16="http://schemas.microsoft.com/office/drawing/2014/main" id="{B5631C62-8CCF-ADCD-FE3C-A5E1E5FF5F64}"/>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1">
            <a:extLst>
              <a:ext uri="{FF2B5EF4-FFF2-40B4-BE49-F238E27FC236}">
                <a16:creationId xmlns:a16="http://schemas.microsoft.com/office/drawing/2014/main" id="{51A3D194-415D-C58A-0215-BC3699D57910}"/>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723438" y="5959475"/>
            <a:ext cx="1787525"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5993255"/>
      </p:ext>
    </p:extLst>
  </p:cSld>
  <p:clrMap bg1="lt1" tx1="dk1" bg2="lt2" tx2="dk2" accent1="accent1" accent2="accent2" accent3="accent3" accent4="accent4" accent5="accent5" accent6="accent6" hlink="hlink" folHlink="folHlink"/>
  <p:sldLayoutIdLst>
    <p:sldLayoutId id="2147487852" r:id="rId1"/>
  </p:sldLayoutIdLst>
  <p:hf hd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p:custDataLst>
              <p:tags r:id="rId43"/>
            </p:custDataLst>
            <p:extLst>
              <p:ext uri="{D42A27DB-BD31-4B8C-83A1-F6EECF244321}">
                <p14:modId xmlns:p14="http://schemas.microsoft.com/office/powerpoint/2010/main" val="2743684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5" imgW="347" imgH="348" progId="TCLayout.ActiveDocument.1">
                  <p:embed/>
                </p:oleObj>
              </mc:Choice>
              <mc:Fallback>
                <p:oleObj name="think-cell Slide" r:id="rId45"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p:custDataLst>
              <p:tags r:id="rId44"/>
            </p:custDataLst>
          </p:nvPr>
        </p:nvSpPr>
        <p:spPr>
          <a:xfrm>
            <a:off x="1" y="0"/>
            <a:ext cx="158751"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58819" y="411531"/>
            <a:ext cx="1139190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6"/>
            <a:ext cx="11391903" cy="445770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9" y="6480166"/>
            <a:ext cx="496945" cy="237617"/>
          </a:xfrm>
          <a:prstGeom prst="rect">
            <a:avLst/>
          </a:prstGeom>
        </p:spPr>
        <p:txBody>
          <a:bodyPr vert="horz" lIns="0" tIns="0" rIns="0" bIns="0" rtlCol="0" anchor="b">
            <a:noAutofit/>
          </a:bodyPr>
          <a:lstStyle>
            <a:lvl1pPr algn="r">
              <a:defRPr sz="750"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accent3"/>
                </a:solidFill>
                <a:latin typeface="+mn-lt"/>
                <a:cs typeface="Arial" panose="020B0604020202020204" pitchFamily="34" charset="0"/>
              </a:rPr>
              <a:t>© 2023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2885554508"/>
      </p:ext>
    </p:extLst>
  </p:cSld>
  <p:clrMap bg1="lt1" tx1="dk1" bg2="lt2" tx2="dk2" accent1="accent1" accent2="accent2" accent3="accent3" accent4="accent4" accent5="accent5" accent6="accent6" hlink="hlink" folHlink="folHlink"/>
  <p:sldLayoutIdLst>
    <p:sldLayoutId id="2147488075" r:id="rId1"/>
    <p:sldLayoutId id="2147488076" r:id="rId2"/>
    <p:sldLayoutId id="2147488077" r:id="rId3"/>
    <p:sldLayoutId id="2147488078" r:id="rId4"/>
    <p:sldLayoutId id="2147488079" r:id="rId5"/>
    <p:sldLayoutId id="2147488080" r:id="rId6"/>
    <p:sldLayoutId id="2147488081" r:id="rId7"/>
    <p:sldLayoutId id="2147488082" r:id="rId8"/>
    <p:sldLayoutId id="2147488083" r:id="rId9"/>
    <p:sldLayoutId id="2147488084" r:id="rId10"/>
    <p:sldLayoutId id="2147488085" r:id="rId11"/>
    <p:sldLayoutId id="2147488086" r:id="rId12"/>
    <p:sldLayoutId id="2147488087" r:id="rId13"/>
    <p:sldLayoutId id="2147488088" r:id="rId14"/>
    <p:sldLayoutId id="2147488089" r:id="rId15"/>
    <p:sldLayoutId id="2147488090" r:id="rId16"/>
    <p:sldLayoutId id="2147488091" r:id="rId17"/>
    <p:sldLayoutId id="2147488092" r:id="rId18"/>
    <p:sldLayoutId id="2147488093" r:id="rId19"/>
    <p:sldLayoutId id="2147488094" r:id="rId20"/>
    <p:sldLayoutId id="2147488095" r:id="rId21"/>
    <p:sldLayoutId id="2147488096" r:id="rId22"/>
    <p:sldLayoutId id="2147488097" r:id="rId23"/>
    <p:sldLayoutId id="2147488098" r:id="rId24"/>
    <p:sldLayoutId id="2147488099" r:id="rId25"/>
    <p:sldLayoutId id="2147488100" r:id="rId26"/>
    <p:sldLayoutId id="2147488101" r:id="rId27"/>
    <p:sldLayoutId id="2147488102" r:id="rId28"/>
    <p:sldLayoutId id="2147488103" r:id="rId29"/>
    <p:sldLayoutId id="2147488104" r:id="rId30"/>
    <p:sldLayoutId id="2147488105" r:id="rId31"/>
    <p:sldLayoutId id="2147488106" r:id="rId32"/>
    <p:sldLayoutId id="2147488107" r:id="rId33"/>
    <p:sldLayoutId id="2147488108" r:id="rId34"/>
    <p:sldLayoutId id="2147488109" r:id="rId35"/>
    <p:sldLayoutId id="2147488110" r:id="rId36"/>
    <p:sldLayoutId id="2147488111" r:id="rId37"/>
    <p:sldLayoutId id="2147488112" r:id="rId38"/>
    <p:sldLayoutId id="2147488113" r:id="rId39"/>
    <p:sldLayoutId id="2147488114" r:id="rId40"/>
    <p:sldLayoutId id="2147488115" r:id="rId41"/>
  </p:sldLayoutIdLst>
  <p:hf hdr="0" ftr="0"/>
  <p:txStyles>
    <p:titleStyle>
      <a:lvl1pPr algn="l" defTabSz="685800" rtl="0" eaLnBrk="1" latinLnBrk="0" hangingPunct="1">
        <a:lnSpc>
          <a:spcPct val="80000"/>
        </a:lnSpc>
        <a:spcBef>
          <a:spcPct val="0"/>
        </a:spcBef>
        <a:buNone/>
        <a:defRPr sz="3200" kern="1200" cap="all" spc="-113" baseline="0">
          <a:solidFill>
            <a:schemeClr val="tx1"/>
          </a:solidFill>
          <a:latin typeface="+mj-lt"/>
          <a:ea typeface="+mj-ea"/>
          <a:cs typeface="+mj-cs"/>
        </a:defRPr>
      </a:lvl1pPr>
    </p:titleStyle>
    <p:bodyStyle>
      <a:lvl1pPr marL="0" indent="0" algn="l" defTabSz="685800" rtl="0" eaLnBrk="1" latinLnBrk="0" hangingPunct="1">
        <a:lnSpc>
          <a:spcPct val="8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342900" indent="-342900" algn="l" defTabSz="6858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6858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6858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6858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48"/>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47" imgH="348" progId="TCLayout.ActiveDocument.1">
                  <p:embed/>
                </p:oleObj>
              </mc:Choice>
              <mc:Fallback>
                <p:oleObj name="think-cell Slide" r:id="rId50"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9"/>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13411" y="399764"/>
            <a:ext cx="11391902"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4"/>
            <a:ext cx="11391902" cy="4457701"/>
          </a:xfrm>
          <a:prstGeom prst="rect">
            <a:avLst/>
          </a:prstGeom>
        </p:spPr>
        <p:txBody>
          <a:bodyPr vert="horz" lIns="0" tIns="0" rIns="0" bIns="0" rtlCol="0">
            <a:noAutofit/>
          </a:bodyPr>
          <a:lstStyle/>
          <a:p>
            <a:pPr lvl="0"/>
            <a:r>
              <a:rPr lang="en-US"/>
              <a:t>Edit Master text styles, 24pt</a:t>
            </a:r>
          </a:p>
          <a:p>
            <a:pPr lvl="1"/>
            <a:r>
              <a:rPr lang="en-US"/>
              <a:t>Second level, 22pt</a:t>
            </a:r>
          </a:p>
          <a:p>
            <a:pPr lvl="2"/>
            <a:r>
              <a:rPr lang="en-US"/>
              <a:t>Third level, 20pt</a:t>
            </a:r>
          </a:p>
          <a:p>
            <a:pPr lvl="3"/>
            <a:r>
              <a:rPr lang="en-US"/>
              <a:t>Fourth level, 18pt</a:t>
            </a:r>
          </a:p>
          <a:p>
            <a:pPr lvl="4"/>
            <a:r>
              <a:rPr lang="en-US"/>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a:solidFill>
                  <a:schemeClr val="accent3"/>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3151181067"/>
      </p:ext>
    </p:extLst>
  </p:cSld>
  <p:clrMap bg1="lt1" tx1="dk1" bg2="lt2" tx2="dk2" accent1="accent1" accent2="accent2" accent3="accent3" accent4="accent4" accent5="accent5" accent6="accent6" hlink="hlink" folHlink="folHlink"/>
  <p:sldLayoutIdLst>
    <p:sldLayoutId id="2147488515" r:id="rId1"/>
    <p:sldLayoutId id="2147488516" r:id="rId2"/>
    <p:sldLayoutId id="2147488517" r:id="rId3"/>
    <p:sldLayoutId id="2147488518" r:id="rId4"/>
    <p:sldLayoutId id="2147488519" r:id="rId5"/>
    <p:sldLayoutId id="2147488520" r:id="rId6"/>
    <p:sldLayoutId id="2147488521" r:id="rId7"/>
    <p:sldLayoutId id="2147488522" r:id="rId8"/>
    <p:sldLayoutId id="2147488523" r:id="rId9"/>
    <p:sldLayoutId id="2147488524" r:id="rId10"/>
    <p:sldLayoutId id="2147488525" r:id="rId11"/>
    <p:sldLayoutId id="2147488526" r:id="rId12"/>
    <p:sldLayoutId id="2147488527" r:id="rId13"/>
    <p:sldLayoutId id="2147488528" r:id="rId14"/>
    <p:sldLayoutId id="2147488529" r:id="rId15"/>
    <p:sldLayoutId id="2147488530" r:id="rId16"/>
    <p:sldLayoutId id="2147488531" r:id="rId17"/>
    <p:sldLayoutId id="2147488532" r:id="rId18"/>
    <p:sldLayoutId id="2147488533" r:id="rId19"/>
    <p:sldLayoutId id="2147488534" r:id="rId20"/>
    <p:sldLayoutId id="2147488535" r:id="rId21"/>
    <p:sldLayoutId id="2147488536" r:id="rId22"/>
    <p:sldLayoutId id="2147488537" r:id="rId23"/>
    <p:sldLayoutId id="2147488538" r:id="rId24"/>
    <p:sldLayoutId id="2147488539" r:id="rId25"/>
    <p:sldLayoutId id="2147488540" r:id="rId26"/>
    <p:sldLayoutId id="2147488541" r:id="rId27"/>
    <p:sldLayoutId id="2147488542" r:id="rId28"/>
    <p:sldLayoutId id="2147488543" r:id="rId29"/>
    <p:sldLayoutId id="2147488544" r:id="rId30"/>
    <p:sldLayoutId id="2147488545" r:id="rId31"/>
    <p:sldLayoutId id="2147488546" r:id="rId32"/>
    <p:sldLayoutId id="2147488547" r:id="rId33"/>
    <p:sldLayoutId id="2147488548" r:id="rId34"/>
    <p:sldLayoutId id="2147488549" r:id="rId35"/>
    <p:sldLayoutId id="2147488550" r:id="rId36"/>
    <p:sldLayoutId id="2147488551" r:id="rId37"/>
    <p:sldLayoutId id="2147488552" r:id="rId38"/>
    <p:sldLayoutId id="2147488553" r:id="rId39"/>
    <p:sldLayoutId id="2147488554" r:id="rId40"/>
    <p:sldLayoutId id="2147488555" r:id="rId41"/>
    <p:sldLayoutId id="2147488556" r:id="rId42"/>
    <p:sldLayoutId id="2147488557" r:id="rId43"/>
    <p:sldLayoutId id="2147488558" r:id="rId44"/>
    <p:sldLayoutId id="2147488559" r:id="rId45"/>
    <p:sldLayoutId id="2147488561" r:id="rId46"/>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6EFD35-96B0-4B47-9487-5DD96F4897EE}"/>
              </a:ext>
            </a:extLst>
          </p:cNvPr>
          <p:cNvGraphicFramePr>
            <a:graphicFrameLocks noChangeAspect="1"/>
          </p:cNvGraphicFramePr>
          <p:nvPr userDrawn="1">
            <p:custDataLst>
              <p:tags r:id="rId45"/>
            </p:custDataLst>
            <p:extLst>
              <p:ext uri="{D42A27DB-BD31-4B8C-83A1-F6EECF244321}">
                <p14:modId xmlns:p14="http://schemas.microsoft.com/office/powerpoint/2010/main" val="39331455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7" imgW="347" imgH="348" progId="TCLayout.ActiveDocument.1">
                  <p:embed/>
                </p:oleObj>
              </mc:Choice>
              <mc:Fallback>
                <p:oleObj name="think-cell Slide" r:id="rId47" imgW="347" imgH="348" progId="TCLayout.ActiveDocument.1">
                  <p:embed/>
                  <p:pic>
                    <p:nvPicPr>
                      <p:cNvPr id="7" name="Object 6" hidden="1">
                        <a:extLst>
                          <a:ext uri="{FF2B5EF4-FFF2-40B4-BE49-F238E27FC236}">
                            <a16:creationId xmlns:a16="http://schemas.microsoft.com/office/drawing/2014/main" id="{FB6EFD35-96B0-4B47-9487-5DD96F4897EE}"/>
                          </a:ext>
                        </a:extLst>
                      </p:cNvPr>
                      <p:cNvPicPr/>
                      <p:nvPr/>
                    </p:nvPicPr>
                    <p:blipFill>
                      <a:blip r:embed="rId48"/>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64DF94-7244-4BF8-9BB4-3CC3FB89811A}"/>
              </a:ext>
            </a:extLst>
          </p:cNvPr>
          <p:cNvSpPr/>
          <p:nvPr userDrawn="1">
            <p:custDataLst>
              <p:tags r:id="rId46"/>
            </p:custDataLst>
          </p:nvPr>
        </p:nvSpPr>
        <p:spPr>
          <a:xfrm>
            <a:off x="0" y="0"/>
            <a:ext cx="211667"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301" y="385346"/>
            <a:ext cx="11201401" cy="411592"/>
          </a:xfrm>
          <a:prstGeom prst="rect">
            <a:avLst/>
          </a:prstGeom>
        </p:spPr>
        <p:txBody>
          <a:bodyPr vert="horz" lIns="0" tIns="0" rIns="0" bIns="0" rtlCol="0" anchor="t">
            <a:noAutofit/>
          </a:bodyPr>
          <a:lstStyle/>
          <a:p>
            <a:r>
              <a:rPr lang="en-US"/>
              <a:t>Click to edit Master title style</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7" y="6480166"/>
            <a:ext cx="496945" cy="237617"/>
          </a:xfrm>
          <a:prstGeom prst="rect">
            <a:avLst/>
          </a:prstGeom>
        </p:spPr>
        <p:txBody>
          <a:bodyPr vert="horz" lIns="0" tIns="0" rIns="0" bIns="0" rtlCol="0" anchor="b">
            <a:noAutofit/>
          </a:bodyPr>
          <a:lstStyle>
            <a:lvl1pPr algn="r">
              <a:defRPr sz="8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700">
                <a:solidFill>
                  <a:schemeClr val="accent3"/>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
        <p:nvSpPr>
          <p:cNvPr id="9" name="Text Placeholder 8">
            <a:extLst>
              <a:ext uri="{FF2B5EF4-FFF2-40B4-BE49-F238E27FC236}">
                <a16:creationId xmlns:a16="http://schemas.microsoft.com/office/drawing/2014/main" id="{5BBF797E-7EC6-4711-AAB8-6396BD7D8B20}"/>
              </a:ext>
            </a:extLst>
          </p:cNvPr>
          <p:cNvSpPr>
            <a:spLocks noGrp="1"/>
          </p:cNvSpPr>
          <p:nvPr>
            <p:ph type="body" idx="1"/>
          </p:nvPr>
        </p:nvSpPr>
        <p:spPr>
          <a:xfrm>
            <a:off x="495300" y="1089024"/>
            <a:ext cx="11201401" cy="51593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4872819"/>
      </p:ext>
    </p:extLst>
  </p:cSld>
  <p:clrMap bg1="lt1" tx1="dk1" bg2="lt2" tx2="dk2" accent1="accent1" accent2="accent2" accent3="accent3" accent4="accent4" accent5="accent5" accent6="accent6" hlink="hlink" folHlink="folHlink"/>
  <p:sldLayoutIdLst>
    <p:sldLayoutId id="2147488563" r:id="rId1"/>
    <p:sldLayoutId id="2147488564" r:id="rId2"/>
    <p:sldLayoutId id="2147488565" r:id="rId3"/>
    <p:sldLayoutId id="2147488566" r:id="rId4"/>
    <p:sldLayoutId id="2147488567" r:id="rId5"/>
    <p:sldLayoutId id="2147488568" r:id="rId6"/>
    <p:sldLayoutId id="2147488569" r:id="rId7"/>
    <p:sldLayoutId id="2147488570" r:id="rId8"/>
    <p:sldLayoutId id="2147488571" r:id="rId9"/>
    <p:sldLayoutId id="2147488572" r:id="rId10"/>
    <p:sldLayoutId id="2147488573" r:id="rId11"/>
    <p:sldLayoutId id="2147488574" r:id="rId12"/>
    <p:sldLayoutId id="2147488575" r:id="rId13"/>
    <p:sldLayoutId id="2147488576" r:id="rId14"/>
    <p:sldLayoutId id="2147488577" r:id="rId15"/>
    <p:sldLayoutId id="2147488578" r:id="rId16"/>
    <p:sldLayoutId id="2147488579" r:id="rId17"/>
    <p:sldLayoutId id="2147488580" r:id="rId18"/>
    <p:sldLayoutId id="2147488581" r:id="rId19"/>
    <p:sldLayoutId id="2147488582" r:id="rId20"/>
    <p:sldLayoutId id="2147488583" r:id="rId21"/>
    <p:sldLayoutId id="2147488584" r:id="rId22"/>
    <p:sldLayoutId id="2147488585" r:id="rId23"/>
    <p:sldLayoutId id="2147488586" r:id="rId24"/>
    <p:sldLayoutId id="2147488587" r:id="rId25"/>
    <p:sldLayoutId id="2147488588" r:id="rId26"/>
    <p:sldLayoutId id="2147488589" r:id="rId27"/>
    <p:sldLayoutId id="2147488590" r:id="rId28"/>
    <p:sldLayoutId id="2147488591" r:id="rId29"/>
    <p:sldLayoutId id="2147488592" r:id="rId30"/>
    <p:sldLayoutId id="2147488593" r:id="rId31"/>
    <p:sldLayoutId id="2147488594" r:id="rId32"/>
    <p:sldLayoutId id="2147488595" r:id="rId33"/>
    <p:sldLayoutId id="2147488596" r:id="rId34"/>
    <p:sldLayoutId id="2147488597" r:id="rId35"/>
    <p:sldLayoutId id="2147488598" r:id="rId36"/>
    <p:sldLayoutId id="2147488599" r:id="rId37"/>
    <p:sldLayoutId id="2147488600" r:id="rId38"/>
    <p:sldLayoutId id="2147488601" r:id="rId39"/>
    <p:sldLayoutId id="2147488602" r:id="rId40"/>
    <p:sldLayoutId id="2147488603" r:id="rId41"/>
    <p:sldLayoutId id="2147488604" r:id="rId42"/>
    <p:sldLayoutId id="2147488605" r:id="rId43"/>
  </p:sldLayoutIdLst>
  <p:hf hdr="0" ftr="0" dt="0"/>
  <p:txStyles>
    <p:titleStyle>
      <a:lvl1pPr algn="l" defTabSz="6858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600" kern="1200" dirty="0" smtClean="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504">
          <p15:clr>
            <a:srgbClr val="9FCC3B"/>
          </p15:clr>
        </p15:guide>
        <p15:guide id="4" orient="horz" pos="4080">
          <p15:clr>
            <a:srgbClr val="FDE53C"/>
          </p15:clr>
        </p15:guide>
        <p15:guide id="6" pos="7368">
          <p15:clr>
            <a:srgbClr val="9FCC3B"/>
          </p15:clr>
        </p15:guide>
        <p15:guide id="7" orient="horz" pos="3840">
          <p15:clr>
            <a:srgbClr val="9FCC3B"/>
          </p15:clr>
        </p15:guide>
        <p15:guide id="10" orient="horz" pos="744">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guide id="17" orient="horz" pos="240">
          <p15:clr>
            <a:srgbClr val="9FCC3B"/>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p:custDataLst>
              <p:tags r:id="rId42"/>
            </p:custDataLst>
            <p:extLst>
              <p:ext uri="{D42A27DB-BD31-4B8C-83A1-F6EECF244321}">
                <p14:modId xmlns:p14="http://schemas.microsoft.com/office/powerpoint/2010/main" val="274368431"/>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44" imgW="347" imgH="348" progId="TCLayout.ActiveDocument.1">
                  <p:embed/>
                </p:oleObj>
              </mc:Choice>
              <mc:Fallback>
                <p:oleObj name="think-cell Slide" r:id="rId44"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5"/>
                      <a:stretch>
                        <a:fillRect/>
                      </a:stretch>
                    </p:blipFill>
                    <p:spPr>
                      <a:xfrm>
                        <a:off x="1590"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p:custDataLst>
              <p:tags r:id="rId43"/>
            </p:custDataLst>
          </p:nvPr>
        </p:nvSpPr>
        <p:spPr>
          <a:xfrm>
            <a:off x="2" y="1"/>
            <a:ext cx="158751" cy="1587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358821" y="411531"/>
            <a:ext cx="11391903"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2" y="1177687"/>
            <a:ext cx="11391903" cy="445770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70" y="6480168"/>
            <a:ext cx="496945" cy="237617"/>
          </a:xfrm>
          <a:prstGeom prst="rect">
            <a:avLst/>
          </a:prstGeom>
        </p:spPr>
        <p:txBody>
          <a:bodyPr vert="horz" lIns="0" tIns="0" rIns="0" bIns="0" rtlCol="0" anchor="b">
            <a:noAutofit/>
          </a:bodyPr>
          <a:lstStyle>
            <a:lvl1pPr algn="r">
              <a:defRPr sz="751" b="1">
                <a:solidFill>
                  <a:schemeClr val="accent3"/>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p:nvSpPr>
        <p:spPr bwMode="auto">
          <a:xfrm>
            <a:off x="6922389" y="6464369"/>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600">
                <a:solidFill>
                  <a:schemeClr val="accent3"/>
                </a:solidFill>
                <a:latin typeface="+mn-lt"/>
                <a:cs typeface="Arial" panose="020B0604020202020204" pitchFamily="34" charset="0"/>
              </a:rPr>
              <a:t>© 2024 Honeywell International Inc. Neither this document nor the information contained herein may be reproduced, used, distributed or disclosed to others without the written consent of Honeywell</a:t>
            </a:r>
          </a:p>
        </p:txBody>
      </p:sp>
    </p:spTree>
    <p:extLst>
      <p:ext uri="{BB962C8B-B14F-4D97-AF65-F5344CB8AC3E}">
        <p14:creationId xmlns:p14="http://schemas.microsoft.com/office/powerpoint/2010/main" val="3164235655"/>
      </p:ext>
    </p:extLst>
  </p:cSld>
  <p:clrMap bg1="lt1" tx1="dk1" bg2="lt2" tx2="dk2" accent1="accent1" accent2="accent2" accent3="accent3" accent4="accent4" accent5="accent5" accent6="accent6" hlink="hlink" folHlink="folHlink"/>
  <p:sldLayoutIdLst>
    <p:sldLayoutId id="2147488705" r:id="rId1"/>
    <p:sldLayoutId id="2147488706" r:id="rId2"/>
    <p:sldLayoutId id="2147488707" r:id="rId3"/>
    <p:sldLayoutId id="2147488708" r:id="rId4"/>
    <p:sldLayoutId id="2147488709" r:id="rId5"/>
    <p:sldLayoutId id="2147488710" r:id="rId6"/>
    <p:sldLayoutId id="2147488711" r:id="rId7"/>
    <p:sldLayoutId id="2147488712" r:id="rId8"/>
    <p:sldLayoutId id="2147488713" r:id="rId9"/>
    <p:sldLayoutId id="2147488714" r:id="rId10"/>
    <p:sldLayoutId id="2147488715" r:id="rId11"/>
    <p:sldLayoutId id="2147488716" r:id="rId12"/>
    <p:sldLayoutId id="2147488717" r:id="rId13"/>
    <p:sldLayoutId id="2147488718" r:id="rId14"/>
    <p:sldLayoutId id="2147488719" r:id="rId15"/>
    <p:sldLayoutId id="2147488720" r:id="rId16"/>
    <p:sldLayoutId id="2147488721" r:id="rId17"/>
    <p:sldLayoutId id="2147488722" r:id="rId18"/>
    <p:sldLayoutId id="2147488723" r:id="rId19"/>
    <p:sldLayoutId id="2147488724" r:id="rId20"/>
    <p:sldLayoutId id="2147488725" r:id="rId21"/>
    <p:sldLayoutId id="2147488726" r:id="rId22"/>
    <p:sldLayoutId id="2147488727" r:id="rId23"/>
    <p:sldLayoutId id="2147488728" r:id="rId24"/>
    <p:sldLayoutId id="2147488729" r:id="rId25"/>
    <p:sldLayoutId id="2147488730" r:id="rId26"/>
    <p:sldLayoutId id="2147488731" r:id="rId27"/>
    <p:sldLayoutId id="2147488732" r:id="rId28"/>
    <p:sldLayoutId id="2147488733" r:id="rId29"/>
    <p:sldLayoutId id="2147488734" r:id="rId30"/>
    <p:sldLayoutId id="2147488735" r:id="rId31"/>
    <p:sldLayoutId id="2147488736" r:id="rId32"/>
    <p:sldLayoutId id="2147488737" r:id="rId33"/>
    <p:sldLayoutId id="2147488738" r:id="rId34"/>
    <p:sldLayoutId id="2147488739" r:id="rId35"/>
    <p:sldLayoutId id="2147488740" r:id="rId36"/>
    <p:sldLayoutId id="2147488741" r:id="rId37"/>
    <p:sldLayoutId id="2147488742" r:id="rId38"/>
    <p:sldLayoutId id="2147488743" r:id="rId39"/>
    <p:sldLayoutId id="2147488744" r:id="rId40"/>
  </p:sldLayoutIdLst>
  <p:hf hdr="0" ftr="0"/>
  <p:txStyles>
    <p:titleStyle>
      <a:lvl1pPr algn="l" defTabSz="685783" rtl="0" eaLnBrk="1" latinLnBrk="0" hangingPunct="1">
        <a:lnSpc>
          <a:spcPct val="80000"/>
        </a:lnSpc>
        <a:spcBef>
          <a:spcPct val="0"/>
        </a:spcBef>
        <a:buNone/>
        <a:defRPr sz="3200" kern="1200" cap="all" spc="-113" baseline="0">
          <a:solidFill>
            <a:schemeClr val="tx1"/>
          </a:solidFill>
          <a:latin typeface="+mj-lt"/>
          <a:ea typeface="+mj-ea"/>
          <a:cs typeface="+mj-cs"/>
        </a:defRPr>
      </a:lvl1pPr>
    </p:titleStyle>
    <p:bodyStyle>
      <a:lvl1pPr marL="0" indent="0" algn="l" defTabSz="685783" rtl="0" eaLnBrk="1" latinLnBrk="0" hangingPunct="1">
        <a:lnSpc>
          <a:spcPct val="8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342891" indent="-342891" algn="l" defTabSz="685783"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19982" indent="-342891" algn="l" defTabSz="685783"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3974" indent="-341991" algn="l" defTabSz="685783"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7966" indent="-341991" algn="l" defTabSz="685783"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53.xml"/></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50.xml"/><Relationship Id="rId7"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327.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327.xml"/><Relationship Id="rId5" Type="http://schemas.openxmlformats.org/officeDocument/2006/relationships/image" Target="../media/image56.pn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36.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3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oleObject" Target="../embeddings/oleObject3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8.xml"/></Relationships>
</file>

<file path=ppt/slides/_rels/slide17.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7.xml"/><Relationship Id="rId1" Type="http://schemas.openxmlformats.org/officeDocument/2006/relationships/slideLayout" Target="../slideLayouts/slideLayout205.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178.xml"/><Relationship Id="rId5" Type="http://schemas.openxmlformats.org/officeDocument/2006/relationships/chart" Target="../charts/chart2.xml"/><Relationship Id="rId4" Type="http://schemas.openxmlformats.org/officeDocument/2006/relationships/chart" Target="../charts/char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64.xml"/></Relationships>
</file>

<file path=ppt/slides/_rels/slide20.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notesSlide" Target="../notesSlides/notesSlide20.xml"/><Relationship Id="rId1" Type="http://schemas.openxmlformats.org/officeDocument/2006/relationships/slideLayout" Target="../slideLayouts/slideLayout155.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 Id="rId14" Type="http://schemas.openxmlformats.org/officeDocument/2006/relationships/image" Target="../media/image70.sv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image" Target="../media/image50.jpeg"/><Relationship Id="rId5" Type="http://schemas.openxmlformats.org/officeDocument/2006/relationships/image" Target="../media/image53.svg"/><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79.jpeg"/><Relationship Id="rId3" Type="http://schemas.openxmlformats.org/officeDocument/2006/relationships/image" Target="../media/image71.jpeg"/><Relationship Id="rId7" Type="http://schemas.openxmlformats.org/officeDocument/2006/relationships/image" Target="../media/image36.png"/><Relationship Id="rId12" Type="http://schemas.openxmlformats.org/officeDocument/2006/relationships/image" Target="../media/image78.png"/><Relationship Id="rId2" Type="http://schemas.openxmlformats.org/officeDocument/2006/relationships/notesSlide" Target="../notesSlides/notesSlide22.xml"/><Relationship Id="rId16" Type="http://schemas.openxmlformats.org/officeDocument/2006/relationships/image" Target="../media/image80.png"/><Relationship Id="rId1" Type="http://schemas.openxmlformats.org/officeDocument/2006/relationships/slideLayout" Target="../slideLayouts/slideLayout54.xml"/><Relationship Id="rId6" Type="http://schemas.openxmlformats.org/officeDocument/2006/relationships/image" Target="../media/image74.jpeg"/><Relationship Id="rId11" Type="http://schemas.openxmlformats.org/officeDocument/2006/relationships/image" Target="../media/image77.jpeg"/><Relationship Id="rId5" Type="http://schemas.openxmlformats.org/officeDocument/2006/relationships/image" Target="../media/image73.jpeg"/><Relationship Id="rId15" Type="http://schemas.openxmlformats.org/officeDocument/2006/relationships/image" Target="../media/image23.svg"/><Relationship Id="rId10" Type="http://schemas.openxmlformats.org/officeDocument/2006/relationships/image" Target="../media/image76.png"/><Relationship Id="rId4" Type="http://schemas.openxmlformats.org/officeDocument/2006/relationships/image" Target="../media/image72.jpeg"/><Relationship Id="rId9" Type="http://schemas.openxmlformats.org/officeDocument/2006/relationships/image" Target="../media/image75.png"/><Relationship Id="rId1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23.svg"/><Relationship Id="rId2" Type="http://schemas.openxmlformats.org/officeDocument/2006/relationships/notesSlide" Target="../notesSlides/notesSlide23.xml"/><Relationship Id="rId1" Type="http://schemas.openxmlformats.org/officeDocument/2006/relationships/slideLayout" Target="../slideLayouts/slideLayout53.xml"/><Relationship Id="rId6" Type="http://schemas.openxmlformats.org/officeDocument/2006/relationships/image" Target="../media/image22.png"/><Relationship Id="rId5" Type="http://schemas.openxmlformats.org/officeDocument/2006/relationships/image" Target="../media/image82.png"/><Relationship Id="rId4" Type="http://schemas.openxmlformats.org/officeDocument/2006/relationships/image" Target="../media/image50.jpeg"/></Relationships>
</file>

<file path=ppt/slides/_rels/slide24.xml.rels><?xml version="1.0" encoding="UTF-8" standalone="yes"?>
<Relationships xmlns="http://schemas.openxmlformats.org/package/2006/relationships"><Relationship Id="rId8" Type="http://schemas.openxmlformats.org/officeDocument/2006/relationships/hyperlink" Target="mailto:seong.chan@Honeywell.com" TargetMode="External"/><Relationship Id="rId13" Type="http://schemas.openxmlformats.org/officeDocument/2006/relationships/image" Target="../media/image87.png"/><Relationship Id="rId3" Type="http://schemas.openxmlformats.org/officeDocument/2006/relationships/slideLayout" Target="../slideLayouts/slideLayout55.xml"/><Relationship Id="rId7" Type="http://schemas.openxmlformats.org/officeDocument/2006/relationships/image" Target="../media/image83.png"/><Relationship Id="rId12" Type="http://schemas.openxmlformats.org/officeDocument/2006/relationships/image" Target="../media/image86.jpeg"/><Relationship Id="rId2" Type="http://schemas.openxmlformats.org/officeDocument/2006/relationships/tags" Target="../tags/tag67.xml"/><Relationship Id="rId16" Type="http://schemas.openxmlformats.org/officeDocument/2006/relationships/image" Target="../media/image23.svg"/><Relationship Id="rId1" Type="http://schemas.openxmlformats.org/officeDocument/2006/relationships/tags" Target="../tags/tag66.xml"/><Relationship Id="rId6" Type="http://schemas.openxmlformats.org/officeDocument/2006/relationships/image" Target="../media/image7.emf"/><Relationship Id="rId11" Type="http://schemas.openxmlformats.org/officeDocument/2006/relationships/hyperlink" Target="mailto:jianjun.huang@Honeywell.com" TargetMode="External"/><Relationship Id="rId5" Type="http://schemas.openxmlformats.org/officeDocument/2006/relationships/oleObject" Target="../embeddings/oleObject31.bin"/><Relationship Id="rId15" Type="http://schemas.openxmlformats.org/officeDocument/2006/relationships/image" Target="../media/image22.png"/><Relationship Id="rId10" Type="http://schemas.openxmlformats.org/officeDocument/2006/relationships/image" Target="../media/image85.png"/><Relationship Id="rId4" Type="http://schemas.openxmlformats.org/officeDocument/2006/relationships/notesSlide" Target="../notesSlides/notesSlide24.xml"/><Relationship Id="rId9" Type="http://schemas.openxmlformats.org/officeDocument/2006/relationships/image" Target="../media/image84.png"/><Relationship Id="rId14" Type="http://schemas.openxmlformats.org/officeDocument/2006/relationships/image" Target="../media/image50.jpeg"/></Relationships>
</file>

<file path=ppt/slides/_rels/slide2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25.xml"/><Relationship Id="rId1" Type="http://schemas.openxmlformats.org/officeDocument/2006/relationships/slideLayout" Target="../slideLayouts/slideLayout53.xml"/><Relationship Id="rId4" Type="http://schemas.openxmlformats.org/officeDocument/2006/relationships/image" Target="../media/image88.emf"/></Relationships>
</file>

<file path=ppt/slides/_rels/slide26.xml.rels><?xml version="1.0" encoding="UTF-8" standalone="yes"?>
<Relationships xmlns="http://schemas.openxmlformats.org/package/2006/relationships"><Relationship Id="rId8" Type="http://schemas.openxmlformats.org/officeDocument/2006/relationships/hyperlink" Target="mailto:rod.kennan@honeywell.com" TargetMode="External"/><Relationship Id="rId13" Type="http://schemas.openxmlformats.org/officeDocument/2006/relationships/hyperlink" Target="mailto:Aero%20AOG%20%3cAOG@Honeywell.com%3e?subject=Escalation%20to%20AOG" TargetMode="External"/><Relationship Id="rId18" Type="http://schemas.openxmlformats.org/officeDocument/2006/relationships/hyperlink" Target="https://www.googleadservices.com/pagead/aclk?sa=L&amp;ai=DChcSEwimleOMh9L7AhUOAoYKHawVDpwYABAAGgJ2dQ&amp;ohost=www.google.com&amp;cid=CAASJORoUYcTRqtYss3935nA-xtC78gl1sCwePSaNzdOwZrs3uAhZQ&amp;sig=AOD64_3KiNYJjAglTPWW6SBhZFOmuIXACw&amp;q&amp;adurl&amp;ved=2ahUKEwjl4NyMh9L7AhW2RjABHU4aBT8Q0Qx6BAgKEAE" TargetMode="External"/><Relationship Id="rId3" Type="http://schemas.openxmlformats.org/officeDocument/2006/relationships/notesSlide" Target="../notesSlides/notesSlide26.xml"/><Relationship Id="rId7" Type="http://schemas.openxmlformats.org/officeDocument/2006/relationships/hyperlink" Target="mailto:karl.licon@honeywell.com" TargetMode="External"/><Relationship Id="rId12" Type="http://schemas.openxmlformats.org/officeDocument/2006/relationships/hyperlink" Target="mailto:aerorepairs%20%3caerorepairs@Honeywell.com%3e?subject=Repairs%20Escalation%20to%20AOG" TargetMode="External"/><Relationship Id="rId17" Type="http://schemas.openxmlformats.org/officeDocument/2006/relationships/hyperlink" Target="mailto:jeremy.baich@honeywell.com" TargetMode="External"/><Relationship Id="rId2" Type="http://schemas.openxmlformats.org/officeDocument/2006/relationships/slideLayout" Target="../slideLayouts/slideLayout58.xml"/><Relationship Id="rId16" Type="http://schemas.openxmlformats.org/officeDocument/2006/relationships/hyperlink" Target="mailto:ryan.soethe@honeywell.com" TargetMode="External"/><Relationship Id="rId20" Type="http://schemas.openxmlformats.org/officeDocument/2006/relationships/image" Target="../media/image90.svg"/><Relationship Id="rId1" Type="http://schemas.openxmlformats.org/officeDocument/2006/relationships/tags" Target="../tags/tag68.xml"/><Relationship Id="rId6" Type="http://schemas.openxmlformats.org/officeDocument/2006/relationships/hyperlink" Target="mailto:Aero%20Order%20Changes%20%3cOrderChanges@Honeywell.com%3e?subject=Spares%20Escalation%20to%20AOG" TargetMode="External"/><Relationship Id="rId11" Type="http://schemas.openxmlformats.org/officeDocument/2006/relationships/hyperlink" Target="mailto:Brian.Howell@Honeywell.com" TargetMode="External"/><Relationship Id="rId5" Type="http://schemas.openxmlformats.org/officeDocument/2006/relationships/hyperlink" Target="mailto:Aero%20Order%20Status%20%3cOrderStatus@Honeywell.com%3e?subject=Spares%20Escalation%20to%20AOG" TargetMode="External"/><Relationship Id="rId15" Type="http://schemas.openxmlformats.org/officeDocument/2006/relationships/hyperlink" Target="mailto:Cesar.Contreras2@Honeywell.com" TargetMode="External"/><Relationship Id="rId10" Type="http://schemas.openxmlformats.org/officeDocument/2006/relationships/hyperlink" Target="mailto:Michael.Ryan@Honeywell.com" TargetMode="External"/><Relationship Id="rId19" Type="http://schemas.openxmlformats.org/officeDocument/2006/relationships/image" Target="../media/image89.png"/><Relationship Id="rId4" Type="http://schemas.openxmlformats.org/officeDocument/2006/relationships/hyperlink" Target="mailto:Aero%20Place%20Order%20%3cOrders@Honeywell.com%3e?subject=Spares%20Escalation%20to%20AOG" TargetMode="External"/><Relationship Id="rId9" Type="http://schemas.openxmlformats.org/officeDocument/2006/relationships/hyperlink" Target="mailto:Owens,%20Todd%20%3ctodd.owens@honeywell.com%3e?subject=AOG%20Escalation" TargetMode="External"/><Relationship Id="rId14" Type="http://schemas.openxmlformats.org/officeDocument/2006/relationships/hyperlink" Target="mailto:Josh.Olson@Honeywell.com"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62.xml"/><Relationship Id="rId7" Type="http://schemas.openxmlformats.org/officeDocument/2006/relationships/hyperlink" Target="https://aerospace.honeywell.com/us/en/about-us/global-customer-committee" TargetMode="Externa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emf"/><Relationship Id="rId5" Type="http://schemas.openxmlformats.org/officeDocument/2006/relationships/oleObject" Target="../embeddings/oleObject32.bin"/><Relationship Id="rId10" Type="http://schemas.openxmlformats.org/officeDocument/2006/relationships/image" Target="../media/image93.png"/><Relationship Id="rId4" Type="http://schemas.openxmlformats.org/officeDocument/2006/relationships/notesSlide" Target="../notesSlides/notesSlide27.xml"/><Relationship Id="rId9" Type="http://schemas.openxmlformats.org/officeDocument/2006/relationships/image" Target="../media/image9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132.xml"/><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 Id="rId9"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264.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57.xml"/><Relationship Id="rId4" Type="http://schemas.openxmlformats.org/officeDocument/2006/relationships/image" Target="../media/image23.svg"/></Relationships>
</file>

<file path=ppt/slides/_rels/slide3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2.xml"/><Relationship Id="rId1" Type="http://schemas.openxmlformats.org/officeDocument/2006/relationships/slideLayout" Target="../slideLayouts/slideLayout60.xml"/><Relationship Id="rId4" Type="http://schemas.openxmlformats.org/officeDocument/2006/relationships/image" Target="../media/image103.png"/></Relationships>
</file>

<file path=ppt/slides/_rels/slide33.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slideLayout" Target="../slideLayouts/slideLayout50.xml"/><Relationship Id="rId7" Type="http://schemas.openxmlformats.org/officeDocument/2006/relationships/image" Target="../media/image7.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33.bin"/><Relationship Id="rId5" Type="http://schemas.openxmlformats.org/officeDocument/2006/relationships/image" Target="../media/image104.png"/><Relationship Id="rId10" Type="http://schemas.openxmlformats.org/officeDocument/2006/relationships/image" Target="../media/image107.png"/><Relationship Id="rId4" Type="http://schemas.openxmlformats.org/officeDocument/2006/relationships/notesSlide" Target="../notesSlides/notesSlide33.xml"/><Relationship Id="rId9" Type="http://schemas.openxmlformats.org/officeDocument/2006/relationships/image" Target="../media/image106.png"/></Relationships>
</file>

<file path=ppt/slides/_rels/slide3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4.xml"/><Relationship Id="rId1" Type="http://schemas.openxmlformats.org/officeDocument/2006/relationships/slideLayout" Target="../slideLayouts/slideLayout61.xml"/></Relationships>
</file>

<file path=ppt/slides/_rels/slide35.xml.rels><?xml version="1.0" encoding="UTF-8" standalone="yes"?>
<Relationships xmlns="http://schemas.openxmlformats.org/package/2006/relationships"><Relationship Id="rId8" Type="http://schemas.openxmlformats.org/officeDocument/2006/relationships/hyperlink" Target="mailto:quotes@honeywell.com" TargetMode="External"/><Relationship Id="rId13" Type="http://schemas.openxmlformats.org/officeDocument/2006/relationships/hyperlink" Target="mailto:aerospacewarranty@honeywell.com" TargetMode="External"/><Relationship Id="rId3" Type="http://schemas.openxmlformats.org/officeDocument/2006/relationships/hyperlink" Target="mailto:aog@honeywell.com" TargetMode="External"/><Relationship Id="rId7" Type="http://schemas.openxmlformats.org/officeDocument/2006/relationships/hyperlink" Target="mailto:pubs@honeywell.com" TargetMode="External"/><Relationship Id="rId12" Type="http://schemas.openxmlformats.org/officeDocument/2006/relationships/hyperlink" Target="mailto:spex-bgaorders@honeywell.com" TargetMode="External"/><Relationship Id="rId2" Type="http://schemas.openxmlformats.org/officeDocument/2006/relationships/notesSlide" Target="../notesSlides/notesSlide35.xml"/><Relationship Id="rId1" Type="http://schemas.openxmlformats.org/officeDocument/2006/relationships/slideLayout" Target="../slideLayouts/slideLayout189.xml"/><Relationship Id="rId6" Type="http://schemas.openxmlformats.org/officeDocument/2006/relationships/hyperlink" Target="mailto:orderstatus@honeywell.com" TargetMode="External"/><Relationship Id="rId11" Type="http://schemas.openxmlformats.org/officeDocument/2006/relationships/hyperlink" Target="mailto:aerorepairs@honeywell.com" TargetMode="External"/><Relationship Id="rId5" Type="http://schemas.openxmlformats.org/officeDocument/2006/relationships/hyperlink" Target="mailto:orders@honeywell.com" TargetMode="External"/><Relationship Id="rId10" Type="http://schemas.openxmlformats.org/officeDocument/2006/relationships/hyperlink" Target="mailto:returns@honeywell.com" TargetMode="External"/><Relationship Id="rId4" Type="http://schemas.openxmlformats.org/officeDocument/2006/relationships/hyperlink" Target="https://aerospace.honeywell.com/" TargetMode="External"/><Relationship Id="rId9" Type="http://schemas.openxmlformats.org/officeDocument/2006/relationships/hyperlink" Target="mailto:corerecoveryinteam@honeywell.com"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6.xml"/><Relationship Id="rId1" Type="http://schemas.openxmlformats.org/officeDocument/2006/relationships/slideLayout" Target="../slideLayouts/slideLayout288.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155.xml"/><Relationship Id="rId4" Type="http://schemas.openxmlformats.org/officeDocument/2006/relationships/image" Target="../media/image110.svg"/></Relationships>
</file>

<file path=ppt/slides/_rels/slide38.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3" Type="http://schemas.openxmlformats.org/officeDocument/2006/relationships/hyperlink" Target="https://watch.honeywell.com/watch/oDdD7g6YeAx6Ad3u1s1Cd8" TargetMode="External"/><Relationship Id="rId7" Type="http://schemas.openxmlformats.org/officeDocument/2006/relationships/image" Target="../media/image114.png"/><Relationship Id="rId12" Type="http://schemas.openxmlformats.org/officeDocument/2006/relationships/image" Target="../media/image119.png"/><Relationship Id="rId2" Type="http://schemas.openxmlformats.org/officeDocument/2006/relationships/notesSlide" Target="../notesSlides/notesSlide38.xml"/><Relationship Id="rId1" Type="http://schemas.openxmlformats.org/officeDocument/2006/relationships/slideLayout" Target="../slideLayouts/slideLayout143.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 Id="rId14" Type="http://schemas.openxmlformats.org/officeDocument/2006/relationships/image" Target="../media/image121.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9.xml"/><Relationship Id="rId1" Type="http://schemas.openxmlformats.org/officeDocument/2006/relationships/slideLayout" Target="../slideLayouts/slideLayout143.xml"/><Relationship Id="rId5" Type="http://schemas.openxmlformats.org/officeDocument/2006/relationships/image" Target="../media/image124.png"/><Relationship Id="rId4" Type="http://schemas.openxmlformats.org/officeDocument/2006/relationships/image" Target="../media/image123.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0.xml"/><Relationship Id="rId7" Type="http://schemas.openxmlformats.org/officeDocument/2006/relationships/image" Target="../media/image2.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oleObject" Target="../embeddings/oleObject2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40.xml"/><Relationship Id="rId1" Type="http://schemas.openxmlformats.org/officeDocument/2006/relationships/slideLayout" Target="../slideLayouts/slideLayout189.xml"/></Relationships>
</file>

<file path=ppt/slides/_rels/slide5.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6.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53.xml"/><Relationship Id="rId6" Type="http://schemas.openxmlformats.org/officeDocument/2006/relationships/image" Target="../media/image38.png"/><Relationship Id="rId5" Type="http://schemas.openxmlformats.org/officeDocument/2006/relationships/image" Target="../media/image2.png"/><Relationship Id="rId4" Type="http://schemas.openxmlformats.org/officeDocument/2006/relationships/image" Target="../media/image37.png"/><Relationship Id="rId9" Type="http://schemas.openxmlformats.org/officeDocument/2006/relationships/image" Target="../media/image41.jpeg"/></Relationships>
</file>

<file path=ppt/slides/_rels/slide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2.png"/><Relationship Id="rId7"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253.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53.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a:extLst>
              <a:ext uri="{FF2B5EF4-FFF2-40B4-BE49-F238E27FC236}">
                <a16:creationId xmlns:a16="http://schemas.microsoft.com/office/drawing/2014/main" id="{56AA0626-9373-41B8-8B31-A49BD5FA0A42}"/>
              </a:ext>
            </a:extLst>
          </p:cNvPr>
          <p:cNvSpPr txBox="1">
            <a:spLocks noChangeArrowheads="1"/>
          </p:cNvSpPr>
          <p:nvPr/>
        </p:nvSpPr>
        <p:spPr>
          <a:xfrm>
            <a:off x="2351370" y="3777367"/>
            <a:ext cx="7563151" cy="1210657"/>
          </a:xfrm>
          <a:prstGeom prst="rect">
            <a:avLst/>
          </a:prstGeom>
          <a:noFill/>
          <a:ln w="12700">
            <a:noFill/>
            <a:miter lim="800000"/>
          </a:ln>
        </p:spPr>
        <p:txBody>
          <a:bodyPr vert="horz" wrap="square" lIns="90488" tIns="44451" rIns="90488" bIns="44451" numCol="1" anchor="t" anchorCtr="0" compatLnSpc="1">
            <a:prstTxWarp prst="textNoShape">
              <a:avLst/>
            </a:prstTxWarp>
          </a:bodyPr>
          <a:lstStyle/>
          <a:p>
            <a:pPr algn="ctr">
              <a:lnSpc>
                <a:spcPct val="85000"/>
              </a:lnSpc>
              <a:spcBef>
                <a:spcPct val="15000"/>
              </a:spcBef>
              <a:defRPr/>
            </a:pPr>
            <a:r>
              <a:rPr lang="en-US" sz="2800" b="1" kern="0">
                <a:solidFill>
                  <a:srgbClr val="000000">
                    <a:lumMod val="65000"/>
                    <a:lumOff val="35000"/>
                  </a:srgbClr>
                </a:solidFill>
                <a:latin typeface="Arial"/>
              </a:rPr>
              <a:t>Global Customer Committee</a:t>
            </a:r>
          </a:p>
          <a:p>
            <a:pPr algn="ctr">
              <a:lnSpc>
                <a:spcPct val="85000"/>
              </a:lnSpc>
              <a:spcBef>
                <a:spcPct val="15000"/>
              </a:spcBef>
              <a:defRPr/>
            </a:pPr>
            <a:r>
              <a:rPr lang="en-US" kern="0">
                <a:solidFill>
                  <a:srgbClr val="000000">
                    <a:lumMod val="65000"/>
                    <a:lumOff val="35000"/>
                  </a:srgbClr>
                </a:solidFill>
                <a:latin typeface="Arial"/>
              </a:rPr>
              <a:t>Autumn Meeting</a:t>
            </a:r>
          </a:p>
          <a:p>
            <a:pPr algn="ctr">
              <a:lnSpc>
                <a:spcPct val="85000"/>
              </a:lnSpc>
              <a:spcBef>
                <a:spcPct val="15000"/>
              </a:spcBef>
              <a:defRPr/>
            </a:pPr>
            <a:r>
              <a:rPr lang="en-US" kern="0">
                <a:solidFill>
                  <a:srgbClr val="000000">
                    <a:lumMod val="65000"/>
                    <a:lumOff val="35000"/>
                  </a:srgbClr>
                </a:solidFill>
                <a:latin typeface="Arial"/>
              </a:rPr>
              <a:t>November 12 &amp; 13,</a:t>
            </a:r>
            <a:r>
              <a:rPr lang="en-US" kern="0" baseline="30000">
                <a:solidFill>
                  <a:srgbClr val="000000">
                    <a:lumMod val="65000"/>
                    <a:lumOff val="35000"/>
                  </a:srgbClr>
                </a:solidFill>
                <a:latin typeface="Arial"/>
              </a:rPr>
              <a:t> </a:t>
            </a:r>
            <a:r>
              <a:rPr lang="en-US" kern="0">
                <a:solidFill>
                  <a:srgbClr val="000000">
                    <a:lumMod val="65000"/>
                    <a:lumOff val="35000"/>
                  </a:srgbClr>
                </a:solidFill>
                <a:latin typeface="Arial"/>
              </a:rPr>
              <a:t>2024</a:t>
            </a:r>
          </a:p>
        </p:txBody>
      </p:sp>
    </p:spTree>
    <p:extLst>
      <p:ext uri="{BB962C8B-B14F-4D97-AF65-F5344CB8AC3E}">
        <p14:creationId xmlns:p14="http://schemas.microsoft.com/office/powerpoint/2010/main" val="31076106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4979D09-763F-44E6-A5D3-E5B84752B304}"/>
              </a:ext>
            </a:extLst>
          </p:cNvPr>
          <p:cNvPicPr>
            <a:picLocks noChangeAspect="1"/>
          </p:cNvPicPr>
          <p:nvPr/>
        </p:nvPicPr>
        <p:blipFill>
          <a:blip r:embed="rId3"/>
          <a:stretch>
            <a:fillRect/>
          </a:stretch>
        </p:blipFill>
        <p:spPr>
          <a:xfrm>
            <a:off x="1654799" y="115558"/>
            <a:ext cx="4075433" cy="237268"/>
          </a:xfrm>
          <a:prstGeom prst="rect">
            <a:avLst/>
          </a:prstGeom>
        </p:spPr>
      </p:pic>
      <p:sp>
        <p:nvSpPr>
          <p:cNvPr id="7" name="Title 3">
            <a:extLst>
              <a:ext uri="{FF2B5EF4-FFF2-40B4-BE49-F238E27FC236}">
                <a16:creationId xmlns:a16="http://schemas.microsoft.com/office/drawing/2014/main" id="{3ADBD1FA-67B1-4AFE-B454-1D875DDF4F95}"/>
              </a:ext>
            </a:extLst>
          </p:cNvPr>
          <p:cNvSpPr txBox="1">
            <a:spLocks/>
          </p:cNvSpPr>
          <p:nvPr/>
        </p:nvSpPr>
        <p:spPr>
          <a:xfrm>
            <a:off x="495299" y="449767"/>
            <a:ext cx="11201401" cy="411592"/>
          </a:xfrm>
          <a:prstGeom prst="rect">
            <a:avLst/>
          </a:prstGeom>
        </p:spPr>
        <p:txBody>
          <a:bodyPr/>
          <a:lst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charset="0"/>
              </a:defRPr>
            </a:lvl2pPr>
            <a:lvl3pPr algn="ctr" rtl="0" eaLnBrk="0" fontAlgn="base" hangingPunct="0">
              <a:spcBef>
                <a:spcPct val="0"/>
              </a:spcBef>
              <a:spcAft>
                <a:spcPct val="0"/>
              </a:spcAft>
              <a:defRPr sz="3200">
                <a:solidFill>
                  <a:schemeClr val="tx2"/>
                </a:solidFill>
                <a:latin typeface="Arial" charset="0"/>
              </a:defRPr>
            </a:lvl3pPr>
            <a:lvl4pPr algn="ctr" rtl="0" eaLnBrk="0" fontAlgn="base" hangingPunct="0">
              <a:spcBef>
                <a:spcPct val="0"/>
              </a:spcBef>
              <a:spcAft>
                <a:spcPct val="0"/>
              </a:spcAft>
              <a:defRPr sz="3200">
                <a:solidFill>
                  <a:schemeClr val="tx2"/>
                </a:solidFill>
                <a:latin typeface="Arial" charset="0"/>
              </a:defRPr>
            </a:lvl4pPr>
            <a:lvl5pPr algn="ctr" rtl="0" eaLnBrk="0" fontAlgn="base" hangingPunct="0">
              <a:spcBef>
                <a:spcPct val="0"/>
              </a:spcBef>
              <a:spcAft>
                <a:spcPct val="0"/>
              </a:spcAft>
              <a:defRPr sz="3200">
                <a:solidFill>
                  <a:schemeClr val="tx2"/>
                </a:solidFill>
                <a:latin typeface="Arial" charset="0"/>
              </a:defRPr>
            </a:lvl5pPr>
            <a:lvl6pPr marL="457189" algn="ctr" rtl="0" eaLnBrk="0" fontAlgn="base" hangingPunct="0">
              <a:spcBef>
                <a:spcPct val="0"/>
              </a:spcBef>
              <a:spcAft>
                <a:spcPct val="0"/>
              </a:spcAft>
              <a:defRPr sz="3200">
                <a:solidFill>
                  <a:schemeClr val="tx2"/>
                </a:solidFill>
                <a:latin typeface="Arial" charset="0"/>
              </a:defRPr>
            </a:lvl6pPr>
            <a:lvl7pPr marL="914377" algn="ctr" rtl="0" eaLnBrk="0" fontAlgn="base" hangingPunct="0">
              <a:spcBef>
                <a:spcPct val="0"/>
              </a:spcBef>
              <a:spcAft>
                <a:spcPct val="0"/>
              </a:spcAft>
              <a:defRPr sz="3200">
                <a:solidFill>
                  <a:schemeClr val="tx2"/>
                </a:solidFill>
                <a:latin typeface="Arial" charset="0"/>
              </a:defRPr>
            </a:lvl7pPr>
            <a:lvl8pPr marL="1371566" algn="ctr" rtl="0" eaLnBrk="0" fontAlgn="base" hangingPunct="0">
              <a:spcBef>
                <a:spcPct val="0"/>
              </a:spcBef>
              <a:spcAft>
                <a:spcPct val="0"/>
              </a:spcAft>
              <a:defRPr sz="3200">
                <a:solidFill>
                  <a:schemeClr val="tx2"/>
                </a:solidFill>
                <a:latin typeface="Arial" charset="0"/>
              </a:defRPr>
            </a:lvl8pPr>
            <a:lvl9pPr marL="1828754" algn="ctr" rtl="0" eaLnBrk="0" fontAlgn="base" hangingPunct="0">
              <a:spcBef>
                <a:spcPct val="0"/>
              </a:spcBef>
              <a:spcAft>
                <a:spcPct val="0"/>
              </a:spcAft>
              <a:defRPr sz="3200">
                <a:solidFill>
                  <a:schemeClr val="tx2"/>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Arial"/>
                <a:ea typeface="+mj-ea"/>
                <a:cs typeface="+mj-cs"/>
              </a:rPr>
              <a:t>Break Out Sessions - Wednesday, November 13</a:t>
            </a:r>
            <a:r>
              <a:rPr kumimoji="0" lang="en-US" sz="2400" b="1" i="0" u="none" strike="noStrike" kern="0" cap="none" spc="0" normalizeH="0" baseline="30000" noProof="0">
                <a:ln>
                  <a:noFill/>
                </a:ln>
                <a:solidFill>
                  <a:srgbClr val="000000"/>
                </a:solidFill>
                <a:effectLst/>
                <a:uLnTx/>
                <a:uFillTx/>
                <a:latin typeface="Arial"/>
                <a:ea typeface="+mj-ea"/>
                <a:cs typeface="+mj-cs"/>
              </a:rPr>
              <a:t>th</a:t>
            </a:r>
            <a:endParaRPr kumimoji="0" lang="en-US" sz="2400" b="1" i="0" u="none" strike="noStrike" kern="0" cap="none" spc="0" normalizeH="0" baseline="0" noProof="0">
              <a:ln>
                <a:noFill/>
              </a:ln>
              <a:solidFill>
                <a:srgbClr val="000000"/>
              </a:solidFill>
              <a:effectLst/>
              <a:uLnTx/>
              <a:uFillTx/>
              <a:latin typeface="Arial"/>
              <a:ea typeface="+mj-ea"/>
              <a:cs typeface="+mj-cs"/>
            </a:endParaRPr>
          </a:p>
        </p:txBody>
      </p:sp>
      <p:graphicFrame>
        <p:nvGraphicFramePr>
          <p:cNvPr id="5" name="Table 4">
            <a:extLst>
              <a:ext uri="{FF2B5EF4-FFF2-40B4-BE49-F238E27FC236}">
                <a16:creationId xmlns:a16="http://schemas.microsoft.com/office/drawing/2014/main" id="{37F8D932-E1E0-C9C1-991D-75FAB84369F3}"/>
              </a:ext>
            </a:extLst>
          </p:cNvPr>
          <p:cNvGraphicFramePr>
            <a:graphicFrameLocks noGrp="1"/>
          </p:cNvGraphicFramePr>
          <p:nvPr>
            <p:extLst>
              <p:ext uri="{D42A27DB-BD31-4B8C-83A1-F6EECF244321}">
                <p14:modId xmlns:p14="http://schemas.microsoft.com/office/powerpoint/2010/main" val="2478477254"/>
              </p:ext>
            </p:extLst>
          </p:nvPr>
        </p:nvGraphicFramePr>
        <p:xfrm>
          <a:off x="930752" y="1228312"/>
          <a:ext cx="10330495" cy="4993580"/>
        </p:xfrm>
        <a:graphic>
          <a:graphicData uri="http://schemas.openxmlformats.org/drawingml/2006/table">
            <a:tbl>
              <a:tblPr/>
              <a:tblGrid>
                <a:gridCol w="2395175">
                  <a:extLst>
                    <a:ext uri="{9D8B030D-6E8A-4147-A177-3AD203B41FA5}">
                      <a16:colId xmlns:a16="http://schemas.microsoft.com/office/drawing/2014/main" val="1837967035"/>
                    </a:ext>
                  </a:extLst>
                </a:gridCol>
                <a:gridCol w="7935320">
                  <a:extLst>
                    <a:ext uri="{9D8B030D-6E8A-4147-A177-3AD203B41FA5}">
                      <a16:colId xmlns:a16="http://schemas.microsoft.com/office/drawing/2014/main" val="3986555619"/>
                    </a:ext>
                  </a:extLst>
                </a:gridCol>
              </a:tblGrid>
              <a:tr h="275836">
                <a:tc gridSpan="2">
                  <a:txBody>
                    <a:bodyPr/>
                    <a:lstStyle/>
                    <a:p>
                      <a:pPr algn="ctr" fontAlgn="b"/>
                      <a:r>
                        <a:rPr lang="en-US" sz="1600" b="1" i="0" u="none" strike="noStrike" dirty="0">
                          <a:solidFill>
                            <a:srgbClr val="000000"/>
                          </a:solidFill>
                          <a:effectLst/>
                          <a:latin typeface="Aptos Narrow" panose="020B0004020202020204" pitchFamily="34" charset="0"/>
                        </a:rPr>
                        <a:t>DAY 2 Mechanical Breakou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10775089"/>
                  </a:ext>
                </a:extLst>
              </a:tr>
              <a:tr h="294859">
                <a:tc>
                  <a:txBody>
                    <a:bodyPr/>
                    <a:lstStyle/>
                    <a:p>
                      <a:pPr algn="just" fontAlgn="ctr"/>
                      <a:r>
                        <a:rPr lang="en-US" sz="1200" b="1" i="0" u="none" strike="noStrike" dirty="0">
                          <a:solidFill>
                            <a:srgbClr val="000000"/>
                          </a:solidFill>
                          <a:effectLst/>
                          <a:latin typeface="Arial Black" panose="020B0A04020102020204" pitchFamily="34" charset="0"/>
                        </a:rPr>
                        <a:t>8:00 - 8:15 A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a:solidFill>
                            <a:srgbClr val="000000"/>
                          </a:solidFill>
                          <a:effectLst/>
                          <a:latin typeface="Arial" panose="020B0604020202020204" pitchFamily="34" charset="0"/>
                        </a:rPr>
                        <a:t>Introduction and Agenda -</a:t>
                      </a:r>
                      <a:r>
                        <a:rPr lang="en-US" sz="1200" b="0" i="0" u="none" strike="noStrike">
                          <a:solidFill>
                            <a:srgbClr val="000000"/>
                          </a:solidFill>
                          <a:effectLst/>
                          <a:latin typeface="Arial" panose="020B0604020202020204" pitchFamily="34" charset="0"/>
                        </a:rPr>
                        <a:t> Tyler Souther (15 min)</a:t>
                      </a:r>
                      <a:endParaRPr lang="en-US" sz="1200" b="1" i="0" u="none" strike="noStrike">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977573271"/>
                  </a:ext>
                </a:extLst>
              </a:tr>
              <a:tr h="294859">
                <a:tc>
                  <a:txBody>
                    <a:bodyPr/>
                    <a:lstStyle/>
                    <a:p>
                      <a:pPr algn="just" fontAlgn="ctr"/>
                      <a:r>
                        <a:rPr lang="en-US" sz="1200" b="1" i="0" u="none" strike="noStrike" dirty="0">
                          <a:solidFill>
                            <a:srgbClr val="000000"/>
                          </a:solidFill>
                          <a:effectLst/>
                          <a:latin typeface="Arial Black" panose="020B0A04020102020204" pitchFamily="34" charset="0"/>
                        </a:rPr>
                        <a:t>8:15 – 9:45 A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a:solidFill>
                            <a:srgbClr val="000000"/>
                          </a:solidFill>
                          <a:effectLst/>
                          <a:latin typeface="Arial" panose="020B0604020202020204" pitchFamily="34" charset="0"/>
                        </a:rPr>
                        <a:t>Mechanical Top 25 and Queue Rail Review (90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7160496"/>
                  </a:ext>
                </a:extLst>
              </a:tr>
              <a:tr h="294859">
                <a:tc>
                  <a:txBody>
                    <a:bodyPr/>
                    <a:lstStyle/>
                    <a:p>
                      <a:pPr algn="just" fontAlgn="ctr"/>
                      <a:r>
                        <a:rPr lang="en-US" sz="1200" b="1" i="0" u="none" strike="noStrike" dirty="0">
                          <a:solidFill>
                            <a:srgbClr val="000000"/>
                          </a:solidFill>
                          <a:effectLst/>
                          <a:latin typeface="Arial Black" panose="020B0A04020102020204" pitchFamily="34" charset="0"/>
                        </a:rPr>
                        <a:t>9:45 - 10:15 A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a:solidFill>
                            <a:srgbClr val="000000"/>
                          </a:solidFill>
                          <a:effectLst/>
                          <a:latin typeface="Arial" panose="020B0604020202020204" pitchFamily="34" charset="0"/>
                        </a:rPr>
                        <a:t>OEM Updates (30 mi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637144003"/>
                  </a:ext>
                </a:extLst>
              </a:tr>
              <a:tr h="294859">
                <a:tc>
                  <a:txBody>
                    <a:bodyPr/>
                    <a:lstStyle/>
                    <a:p>
                      <a:pPr algn="just" fontAlgn="ctr"/>
                      <a:r>
                        <a:rPr lang="en-US" sz="1200" b="1" i="0" u="none" strike="noStrike" dirty="0">
                          <a:solidFill>
                            <a:srgbClr val="000000"/>
                          </a:solidFill>
                          <a:effectLst/>
                          <a:latin typeface="Arial Black" panose="020B0A04020102020204" pitchFamily="34" charset="0"/>
                        </a:rPr>
                        <a:t>10:15 –10:30 A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Break (15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4711245"/>
                  </a:ext>
                </a:extLst>
              </a:tr>
              <a:tr h="294859">
                <a:tc>
                  <a:txBody>
                    <a:bodyPr/>
                    <a:lstStyle/>
                    <a:p>
                      <a:pPr algn="just" fontAlgn="ctr"/>
                      <a:r>
                        <a:rPr lang="en-US" sz="1200" b="1" i="0" u="none" strike="noStrike">
                          <a:solidFill>
                            <a:srgbClr val="000000"/>
                          </a:solidFill>
                          <a:effectLst/>
                          <a:latin typeface="Arial Black" panose="020B0A04020102020204" pitchFamily="34" charset="0"/>
                        </a:rPr>
                        <a:t>10:30 -11:00 A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Tech Pubs TFE731 &amp; HTF – </a:t>
                      </a:r>
                      <a:r>
                        <a:rPr lang="en-US" sz="1200" b="0" i="0" u="none" strike="noStrike" dirty="0">
                          <a:solidFill>
                            <a:srgbClr val="000000"/>
                          </a:solidFill>
                          <a:effectLst/>
                          <a:latin typeface="Arial" panose="020B0604020202020204" pitchFamily="34" charset="0"/>
                        </a:rPr>
                        <a:t>Kannan Suresh (30 Min) </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74042411"/>
                  </a:ext>
                </a:extLst>
              </a:tr>
              <a:tr h="294859">
                <a:tc>
                  <a:txBody>
                    <a:bodyPr/>
                    <a:lstStyle/>
                    <a:p>
                      <a:pPr algn="just" fontAlgn="ctr"/>
                      <a:r>
                        <a:rPr lang="en-US" sz="1200" b="1" i="0" u="none" strike="noStrike">
                          <a:solidFill>
                            <a:srgbClr val="000000"/>
                          </a:solidFill>
                          <a:effectLst/>
                          <a:latin typeface="Arial Black" panose="020B0A04020102020204" pitchFamily="34" charset="0"/>
                        </a:rPr>
                        <a:t>11:00 -11:30 A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pt-BR" sz="1200" b="1" i="0" u="none" strike="noStrike" dirty="0">
                          <a:solidFill>
                            <a:srgbClr val="000000"/>
                          </a:solidFill>
                          <a:effectLst/>
                          <a:latin typeface="Arial" panose="020B0604020202020204" pitchFamily="34" charset="0"/>
                        </a:rPr>
                        <a:t>AS907TR/MAPAERO Updates - </a:t>
                      </a:r>
                      <a:r>
                        <a:rPr lang="pt-BR" sz="1200" b="0" i="0" u="none" strike="noStrike" dirty="0">
                          <a:solidFill>
                            <a:srgbClr val="000000"/>
                          </a:solidFill>
                          <a:effectLst/>
                          <a:latin typeface="Arial" panose="020B0604020202020204" pitchFamily="34" charset="0"/>
                        </a:rPr>
                        <a:t>Nefti Rios-Marquez (30 Min) </a:t>
                      </a:r>
                      <a:endParaRPr lang="pt-BR"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72829263"/>
                  </a:ext>
                </a:extLst>
              </a:tr>
              <a:tr h="294859">
                <a:tc>
                  <a:txBody>
                    <a:bodyPr/>
                    <a:lstStyle/>
                    <a:p>
                      <a:pPr algn="just" fontAlgn="ctr"/>
                      <a:r>
                        <a:rPr lang="en-US" sz="1200" b="1" i="0" u="none" strike="noStrike">
                          <a:solidFill>
                            <a:srgbClr val="000000"/>
                          </a:solidFill>
                          <a:effectLst/>
                          <a:latin typeface="Arial Black" panose="020B0A04020102020204" pitchFamily="34" charset="0"/>
                        </a:rPr>
                        <a:t>11:30 - 11:45 A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Embraer LP Bleed Check Valve Issue – </a:t>
                      </a:r>
                      <a:r>
                        <a:rPr lang="en-US" sz="1200" b="0" i="0" u="none" strike="noStrike" dirty="0">
                          <a:solidFill>
                            <a:srgbClr val="000000"/>
                          </a:solidFill>
                          <a:effectLst/>
                          <a:latin typeface="Arial" panose="020B0604020202020204" pitchFamily="34" charset="0"/>
                        </a:rPr>
                        <a:t>John Pursell (15 Min) </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09118231"/>
                  </a:ext>
                </a:extLst>
              </a:tr>
              <a:tr h="294859">
                <a:tc>
                  <a:txBody>
                    <a:bodyPr/>
                    <a:lstStyle/>
                    <a:p>
                      <a:pPr algn="just" fontAlgn="ctr"/>
                      <a:r>
                        <a:rPr lang="en-US" sz="1200" b="1" i="0" u="none" strike="noStrike">
                          <a:solidFill>
                            <a:srgbClr val="000000"/>
                          </a:solidFill>
                          <a:effectLst/>
                          <a:latin typeface="Arial Black" panose="020B0A04020102020204" pitchFamily="34" charset="0"/>
                        </a:rPr>
                        <a:t>11:45AM - 12:15PM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Lunch (30 min)</a:t>
                      </a:r>
                      <a:r>
                        <a:rPr lang="en-US" sz="1200" b="0" i="0" u="none" strike="noStrike" dirty="0">
                          <a:solidFill>
                            <a:srgbClr val="000000"/>
                          </a:solidFill>
                          <a:effectLst/>
                          <a:latin typeface="Arial" panose="020B0604020202020204" pitchFamily="34" charset="0"/>
                        </a:rPr>
                        <a:t> </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01545809"/>
                  </a:ext>
                </a:extLst>
              </a:tr>
              <a:tr h="294859">
                <a:tc>
                  <a:txBody>
                    <a:bodyPr/>
                    <a:lstStyle/>
                    <a:p>
                      <a:pPr algn="just" fontAlgn="ctr"/>
                      <a:r>
                        <a:rPr lang="en-US" sz="1200" b="1" i="0" u="none" strike="noStrike">
                          <a:solidFill>
                            <a:srgbClr val="000000"/>
                          </a:solidFill>
                          <a:effectLst/>
                          <a:latin typeface="Arial Black" panose="020B0A04020102020204" pitchFamily="34" charset="0"/>
                        </a:rPr>
                        <a:t>12:15 - 12:3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AS907 Bypass Duct </a:t>
                      </a:r>
                      <a:r>
                        <a:rPr lang="en-US" sz="1200" b="1" i="0" u="none" strike="noStrike" dirty="0" err="1">
                          <a:solidFill>
                            <a:srgbClr val="000000"/>
                          </a:solidFill>
                          <a:effectLst/>
                          <a:latin typeface="Arial" panose="020B0604020202020204" pitchFamily="34" charset="0"/>
                        </a:rPr>
                        <a:t>HiLok</a:t>
                      </a:r>
                      <a:r>
                        <a:rPr lang="en-US" sz="1200" b="1" i="0" u="none" strike="noStrike" dirty="0">
                          <a:solidFill>
                            <a:srgbClr val="000000"/>
                          </a:solidFill>
                          <a:effectLst/>
                          <a:latin typeface="Arial" panose="020B0604020202020204" pitchFamily="34" charset="0"/>
                        </a:rPr>
                        <a:t> issue - </a:t>
                      </a:r>
                      <a:r>
                        <a:rPr lang="en-US" sz="1200" b="0" i="0" u="none" strike="noStrike" dirty="0">
                          <a:solidFill>
                            <a:srgbClr val="000000"/>
                          </a:solidFill>
                          <a:effectLst/>
                          <a:latin typeface="Arial" panose="020B0604020202020204" pitchFamily="34" charset="0"/>
                        </a:rPr>
                        <a:t>John Pursell (15 Min)</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0029262"/>
                  </a:ext>
                </a:extLst>
              </a:tr>
              <a:tr h="294859">
                <a:tc>
                  <a:txBody>
                    <a:bodyPr/>
                    <a:lstStyle/>
                    <a:p>
                      <a:pPr algn="just" fontAlgn="ctr"/>
                      <a:r>
                        <a:rPr lang="en-US" sz="1200" b="1" i="0" u="none" strike="noStrike">
                          <a:solidFill>
                            <a:srgbClr val="000000"/>
                          </a:solidFill>
                          <a:effectLst/>
                          <a:latin typeface="Arial Black" panose="020B0A04020102020204" pitchFamily="34" charset="0"/>
                        </a:rPr>
                        <a:t>12:30 - 1:0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EDG-100 Update</a:t>
                      </a:r>
                      <a:r>
                        <a:rPr lang="en-US" sz="1200" b="0" i="0" u="none" strike="noStrike" dirty="0">
                          <a:solidFill>
                            <a:srgbClr val="000000"/>
                          </a:solidFill>
                          <a:effectLst/>
                          <a:latin typeface="Arial" panose="020B0604020202020204" pitchFamily="34" charset="0"/>
                        </a:rPr>
                        <a:t> (Nazar 30 Min)</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380661"/>
                  </a:ext>
                </a:extLst>
              </a:tr>
              <a:tr h="294859">
                <a:tc>
                  <a:txBody>
                    <a:bodyPr/>
                    <a:lstStyle/>
                    <a:p>
                      <a:pPr algn="just" fontAlgn="ctr"/>
                      <a:r>
                        <a:rPr lang="en-US" sz="1200" b="1" i="0" u="none" strike="noStrike">
                          <a:solidFill>
                            <a:srgbClr val="000000"/>
                          </a:solidFill>
                          <a:effectLst/>
                          <a:latin typeface="Arial Black" panose="020B0A04020102020204" pitchFamily="34" charset="0"/>
                        </a:rPr>
                        <a:t>1:00 - 1:3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MSP - Admin/Fly the Fleet </a:t>
                      </a:r>
                      <a:r>
                        <a:rPr lang="en-US" sz="1200" b="0" i="0" u="none" strike="noStrike" dirty="0">
                          <a:solidFill>
                            <a:srgbClr val="000000"/>
                          </a:solidFill>
                          <a:effectLst/>
                          <a:latin typeface="Arial" panose="020B0604020202020204" pitchFamily="34" charset="0"/>
                        </a:rPr>
                        <a:t>(Dave Lopez 30 Min)</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30709545"/>
                  </a:ext>
                </a:extLst>
              </a:tr>
              <a:tr h="294859">
                <a:tc>
                  <a:txBody>
                    <a:bodyPr/>
                    <a:lstStyle/>
                    <a:p>
                      <a:pPr algn="just" fontAlgn="ctr"/>
                      <a:r>
                        <a:rPr lang="en-US" sz="1200" b="1" i="0" u="none" strike="noStrike">
                          <a:solidFill>
                            <a:srgbClr val="000000"/>
                          </a:solidFill>
                          <a:effectLst/>
                          <a:latin typeface="Arial Black" panose="020B0A04020102020204" pitchFamily="34" charset="0"/>
                        </a:rPr>
                        <a:t>1:30 - 2:3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New Rails / New Issue Items (60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58245983"/>
                  </a:ext>
                </a:extLst>
              </a:tr>
              <a:tr h="294859">
                <a:tc>
                  <a:txBody>
                    <a:bodyPr/>
                    <a:lstStyle/>
                    <a:p>
                      <a:pPr algn="just" fontAlgn="ctr"/>
                      <a:r>
                        <a:rPr lang="en-US" sz="1200" b="1" i="0" u="none" strike="noStrike">
                          <a:solidFill>
                            <a:srgbClr val="000000"/>
                          </a:solidFill>
                          <a:effectLst/>
                          <a:latin typeface="Arial Black" panose="020B0A04020102020204" pitchFamily="34" charset="0"/>
                        </a:rPr>
                        <a:t>2:30 - 2:45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Break (15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64634081"/>
                  </a:ext>
                </a:extLst>
              </a:tr>
              <a:tr h="294859">
                <a:tc>
                  <a:txBody>
                    <a:bodyPr/>
                    <a:lstStyle/>
                    <a:p>
                      <a:pPr algn="just" fontAlgn="ctr"/>
                      <a:r>
                        <a:rPr lang="en-US" sz="1200" b="1" i="0" u="none" strike="noStrike">
                          <a:solidFill>
                            <a:srgbClr val="000000"/>
                          </a:solidFill>
                          <a:effectLst/>
                          <a:latin typeface="Arial Black" panose="020B0A04020102020204" pitchFamily="34" charset="0"/>
                        </a:rPr>
                        <a:t>2:45 - 3:3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Mechanical Debrief – Mech Sub-committee Leader &amp; GCC Focal (45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13931526"/>
                  </a:ext>
                </a:extLst>
              </a:tr>
              <a:tr h="294859">
                <a:tc>
                  <a:txBody>
                    <a:bodyPr/>
                    <a:lstStyle/>
                    <a:p>
                      <a:pPr algn="just" fontAlgn="ctr"/>
                      <a:r>
                        <a:rPr lang="en-US" sz="1200" b="1" i="0" u="none" strike="noStrike">
                          <a:solidFill>
                            <a:srgbClr val="000000"/>
                          </a:solidFill>
                          <a:effectLst/>
                          <a:latin typeface="Arial Black" panose="020B0A04020102020204" pitchFamily="34" charset="0"/>
                        </a:rPr>
                        <a:t>3:30 - 4:15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200" b="1" i="0" u="none" strike="noStrike" dirty="0">
                          <a:solidFill>
                            <a:srgbClr val="000000"/>
                          </a:solidFill>
                          <a:effectLst/>
                          <a:latin typeface="Arial" panose="020B0604020202020204" pitchFamily="34" charset="0"/>
                        </a:rPr>
                        <a:t>GCC Leadership Report Out (45 Min)</a:t>
                      </a:r>
                      <a:r>
                        <a:rPr lang="en-US" sz="1200" b="0" i="0" u="none" strike="noStrike" dirty="0">
                          <a:solidFill>
                            <a:srgbClr val="000000"/>
                          </a:solidFill>
                          <a:effectLst/>
                          <a:latin typeface="Arial Black" panose="020B0A04020102020204" pitchFamily="34" charset="0"/>
                        </a:rPr>
                        <a:t> </a:t>
                      </a:r>
                      <a:endParaRPr lang="en-US" sz="1200" b="1" i="0" u="none" strike="noStrike" dirty="0">
                        <a:solidFill>
                          <a:srgbClr val="000000"/>
                        </a:solidFill>
                        <a:effectLst/>
                        <a:latin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795566205"/>
                  </a:ext>
                </a:extLst>
              </a:tr>
              <a:tr h="294859">
                <a:tc>
                  <a:txBody>
                    <a:bodyPr/>
                    <a:lstStyle/>
                    <a:p>
                      <a:pPr algn="just" fontAlgn="ctr"/>
                      <a:r>
                        <a:rPr lang="en-US" sz="1200" b="1" i="0" u="none" strike="noStrike" dirty="0">
                          <a:solidFill>
                            <a:srgbClr val="000000"/>
                          </a:solidFill>
                          <a:effectLst/>
                          <a:latin typeface="Arial Black" panose="020B0A04020102020204" pitchFamily="34" charset="0"/>
                        </a:rPr>
                        <a:t>4:15 - 4:30P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Arial" panose="020B0604020202020204" pitchFamily="34" charset="0"/>
                        </a:rPr>
                        <a:t>Honeywell Leadership Closing (15 Min)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01082532"/>
                  </a:ext>
                </a:extLst>
              </a:tr>
            </a:tbl>
          </a:graphicData>
        </a:graphic>
      </p:graphicFrame>
    </p:spTree>
    <p:extLst>
      <p:ext uri="{BB962C8B-B14F-4D97-AF65-F5344CB8AC3E}">
        <p14:creationId xmlns:p14="http://schemas.microsoft.com/office/powerpoint/2010/main" val="173940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6" name="Object 15" hidden="1">
                        <a:extLst>
                          <a:ext uri="{FF2B5EF4-FFF2-40B4-BE49-F238E27FC236}">
                            <a16:creationId xmlns:a16="http://schemas.microsoft.com/office/drawing/2014/main" id="{52BC4C0F-3202-4D0C-ADA0-502662EEFB30}"/>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pic>
        <p:nvPicPr>
          <p:cNvPr id="6" name="Picture 5">
            <a:extLst>
              <a:ext uri="{FF2B5EF4-FFF2-40B4-BE49-F238E27FC236}">
                <a16:creationId xmlns:a16="http://schemas.microsoft.com/office/drawing/2014/main" id="{24BB2337-4A02-41A4-AB6C-28D5CE64246F}"/>
              </a:ext>
            </a:extLst>
          </p:cNvPr>
          <p:cNvPicPr>
            <a:picLocks noChangeAspect="1"/>
          </p:cNvPicPr>
          <p:nvPr/>
        </p:nvPicPr>
        <p:blipFill>
          <a:blip r:embed="rId7"/>
          <a:stretch>
            <a:fillRect/>
          </a:stretch>
        </p:blipFill>
        <p:spPr>
          <a:xfrm>
            <a:off x="2321711" y="2220731"/>
            <a:ext cx="7788460" cy="453437"/>
          </a:xfrm>
          <a:prstGeom prst="rect">
            <a:avLst/>
          </a:prstGeom>
        </p:spPr>
      </p:pic>
      <p:sp>
        <p:nvSpPr>
          <p:cNvPr id="2" name="Rectangle 1">
            <a:extLst>
              <a:ext uri="{FF2B5EF4-FFF2-40B4-BE49-F238E27FC236}">
                <a16:creationId xmlns:a16="http://schemas.microsoft.com/office/drawing/2014/main" id="{688AB8DD-ABA1-4317-8469-48FB364B4CF0}"/>
              </a:ext>
            </a:extLst>
          </p:cNvPr>
          <p:cNvSpPr/>
          <p:nvPr/>
        </p:nvSpPr>
        <p:spPr>
          <a:xfrm>
            <a:off x="965771" y="2958102"/>
            <a:ext cx="10471263" cy="1649682"/>
          </a:xfrm>
          <a:prstGeom prst="rect">
            <a:avLst/>
          </a:prstGeom>
        </p:spPr>
        <p:txBody>
          <a:bodyPr wrap="square">
            <a:spAutoFit/>
          </a:bodyPr>
          <a:lstStyle/>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3200" b="1" i="0" u="none" strike="noStrike" kern="0" cap="none" spc="0" normalizeH="0" baseline="0" noProof="0">
                <a:ln>
                  <a:noFill/>
                </a:ln>
                <a:solidFill>
                  <a:srgbClr val="000000">
                    <a:lumMod val="65000"/>
                    <a:lumOff val="35000"/>
                  </a:srgbClr>
                </a:solidFill>
                <a:effectLst/>
                <a:uLnTx/>
                <a:uFillTx/>
                <a:latin typeface="Arial"/>
                <a:ea typeface="+mn-ea"/>
                <a:cs typeface="+mn-cs"/>
              </a:rPr>
              <a:t>Customer Support Updates</a:t>
            </a:r>
          </a:p>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2000" b="0" i="0" u="none" strike="noStrike" kern="0" cap="none" spc="0" normalizeH="0" baseline="0" noProof="0">
                <a:ln>
                  <a:noFill/>
                </a:ln>
                <a:solidFill>
                  <a:srgbClr val="000000">
                    <a:lumMod val="65000"/>
                    <a:lumOff val="35000"/>
                  </a:srgbClr>
                </a:solidFill>
                <a:effectLst/>
                <a:uLnTx/>
                <a:uFillTx/>
                <a:latin typeface="Arial"/>
                <a:ea typeface="+mn-ea"/>
                <a:cs typeface="+mn-cs"/>
              </a:rPr>
              <a:t>Rod Kennan</a:t>
            </a:r>
          </a:p>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1800" b="0" i="0" u="none" strike="noStrike" kern="0" cap="none" spc="0" normalizeH="0" baseline="0" noProof="0">
                <a:ln>
                  <a:noFill/>
                </a:ln>
                <a:solidFill>
                  <a:srgbClr val="000000">
                    <a:lumMod val="65000"/>
                    <a:lumOff val="35000"/>
                  </a:srgbClr>
                </a:solidFill>
                <a:effectLst/>
                <a:uLnTx/>
                <a:uFillTx/>
                <a:latin typeface="Arial"/>
                <a:ea typeface="+mn-ea"/>
                <a:cs typeface="+mn-cs"/>
              </a:rPr>
              <a:t>Sr. Director, C&amp;PS BGA Americas</a:t>
            </a:r>
          </a:p>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1800" b="0" i="0" u="none" strike="noStrike" kern="0" cap="none" spc="0" normalizeH="0" baseline="0" noProof="0">
                <a:ln>
                  <a:noFill/>
                </a:ln>
                <a:solidFill>
                  <a:srgbClr val="000000">
                    <a:lumMod val="65000"/>
                    <a:lumOff val="35000"/>
                  </a:srgbClr>
                </a:solidFill>
                <a:effectLst/>
                <a:uLnTx/>
                <a:uFillTx/>
                <a:latin typeface="Arial"/>
                <a:ea typeface="+mn-ea"/>
                <a:cs typeface="+mn-cs"/>
              </a:rPr>
              <a:t>(602) 228-7287</a:t>
            </a:r>
          </a:p>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1800" b="0" i="0" u="none" strike="noStrike" kern="0" cap="none" spc="0" normalizeH="0" baseline="0" noProof="0" err="1">
                <a:ln>
                  <a:noFill/>
                </a:ln>
                <a:solidFill>
                  <a:srgbClr val="000000">
                    <a:lumMod val="65000"/>
                    <a:lumOff val="35000"/>
                  </a:srgbClr>
                </a:solidFill>
                <a:effectLst/>
                <a:uLnTx/>
                <a:uFillTx/>
                <a:latin typeface="Arial"/>
                <a:ea typeface="+mn-ea"/>
                <a:cs typeface="+mn-cs"/>
              </a:rPr>
              <a:t>rod.kennan</a:t>
            </a:r>
            <a:r>
              <a:rPr kumimoji="0" lang="en-US" sz="1800" b="0" i="0" u="none" strike="noStrike" kern="0" cap="none" spc="0" normalizeH="0" baseline="0" noProof="0">
                <a:ln>
                  <a:noFill/>
                </a:ln>
                <a:solidFill>
                  <a:srgbClr val="000000">
                    <a:lumMod val="65000"/>
                    <a:lumOff val="35000"/>
                  </a:srgbClr>
                </a:solidFill>
                <a:effectLst/>
                <a:uLnTx/>
                <a:uFillTx/>
                <a:latin typeface="Arial"/>
                <a:ea typeface="+mn-ea"/>
                <a:cs typeface="+mn-cs"/>
              </a:rPr>
              <a:t>@honeywell.com</a:t>
            </a:r>
            <a:endParaRPr kumimoji="0" lang="en-US" sz="2800" b="0" i="0" u="none" strike="noStrike" kern="0" cap="none" spc="0" normalizeH="0" baseline="0" noProof="0">
              <a:ln>
                <a:noFill/>
              </a:ln>
              <a:solidFill>
                <a:srgbClr val="000000">
                  <a:lumMod val="65000"/>
                  <a:lumOff val="35000"/>
                </a:srgbClr>
              </a:solidFill>
              <a:effectLst/>
              <a:uLnTx/>
              <a:uFillTx/>
              <a:latin typeface="Arial"/>
              <a:ea typeface="+mn-ea"/>
              <a:cs typeface="+mn-cs"/>
            </a:endParaRPr>
          </a:p>
        </p:txBody>
      </p:sp>
      <p:pic>
        <p:nvPicPr>
          <p:cNvPr id="7" name="Picture 6">
            <a:extLst>
              <a:ext uri="{FF2B5EF4-FFF2-40B4-BE49-F238E27FC236}">
                <a16:creationId xmlns:a16="http://schemas.microsoft.com/office/drawing/2014/main" id="{D248A82B-414D-42F4-8013-F20AE7F960B5}"/>
              </a:ext>
            </a:extLst>
          </p:cNvPr>
          <p:cNvPicPr>
            <a:picLocks noChangeAspect="1"/>
          </p:cNvPicPr>
          <p:nvPr/>
        </p:nvPicPr>
        <p:blipFill>
          <a:blip r:embed="rId7"/>
          <a:stretch>
            <a:fillRect/>
          </a:stretch>
        </p:blipFill>
        <p:spPr>
          <a:xfrm>
            <a:off x="1654799" y="115558"/>
            <a:ext cx="4075433" cy="237268"/>
          </a:xfrm>
          <a:prstGeom prst="rect">
            <a:avLst/>
          </a:prstGeom>
        </p:spPr>
      </p:pic>
      <p:pic>
        <p:nvPicPr>
          <p:cNvPr id="3" name="Picture 2">
            <a:extLst>
              <a:ext uri="{FF2B5EF4-FFF2-40B4-BE49-F238E27FC236}">
                <a16:creationId xmlns:a16="http://schemas.microsoft.com/office/drawing/2014/main" id="{13A5F50B-3396-162F-E9A4-B2725C119484}"/>
              </a:ext>
            </a:extLst>
          </p:cNvPr>
          <p:cNvPicPr>
            <a:picLocks noChangeAspect="1"/>
          </p:cNvPicPr>
          <p:nvPr/>
        </p:nvPicPr>
        <p:blipFill>
          <a:blip r:embed="rId8"/>
          <a:stretch>
            <a:fillRect/>
          </a:stretch>
        </p:blipFill>
        <p:spPr>
          <a:xfrm>
            <a:off x="931811" y="5024748"/>
            <a:ext cx="2476297" cy="1341328"/>
          </a:xfrm>
          <a:prstGeom prst="rect">
            <a:avLst/>
          </a:prstGeom>
        </p:spPr>
      </p:pic>
    </p:spTree>
    <p:extLst>
      <p:ext uri="{BB962C8B-B14F-4D97-AF65-F5344CB8AC3E}">
        <p14:creationId xmlns:p14="http://schemas.microsoft.com/office/powerpoint/2010/main" val="23806530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790349-1A9A-4C1C-818B-2C355F256411}"/>
              </a:ext>
            </a:extLst>
          </p:cNvPr>
          <p:cNvSpPr>
            <a:spLocks noGrp="1"/>
          </p:cNvSpPr>
          <p:nvPr>
            <p:ph type="title"/>
          </p:nvPr>
        </p:nvSpPr>
        <p:spPr>
          <a:xfrm>
            <a:off x="495301" y="385346"/>
            <a:ext cx="11201401" cy="411592"/>
          </a:xfrm>
        </p:spPr>
        <p:txBody>
          <a:bodyPr/>
          <a:lstStyle/>
          <a:p>
            <a:r>
              <a:rPr lang="en-US"/>
              <a:t>What we heard you tell us......</a:t>
            </a:r>
          </a:p>
        </p:txBody>
      </p:sp>
      <p:sp>
        <p:nvSpPr>
          <p:cNvPr id="3" name="Slide Number Placeholder 2">
            <a:extLst>
              <a:ext uri="{FF2B5EF4-FFF2-40B4-BE49-F238E27FC236}">
                <a16:creationId xmlns:a16="http://schemas.microsoft.com/office/drawing/2014/main" id="{268677F7-23F4-45AD-8A02-DA98D997ECF2}"/>
              </a:ext>
            </a:extLst>
          </p:cNvPr>
          <p:cNvSpPr>
            <a:spLocks noGrp="1"/>
          </p:cNvSpPr>
          <p:nvPr>
            <p:ph type="sldNum" sz="quarter" idx="12"/>
          </p:nvPr>
        </p:nvSpPr>
        <p:spPr>
          <a:xfrm>
            <a:off x="11199757" y="6480166"/>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66E354-A1E5-D643-A18C-204373C670DA}"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C13A7825-E198-E14F-1E2A-C0222ED9F8B6}"/>
              </a:ext>
            </a:extLst>
          </p:cNvPr>
          <p:cNvSpPr>
            <a:spLocks noGrp="1"/>
          </p:cNvSpPr>
          <p:nvPr>
            <p:ph type="body" sz="quarter" idx="16"/>
          </p:nvPr>
        </p:nvSpPr>
        <p:spPr/>
        <p:txBody>
          <a:bodyPr/>
          <a:lstStyle/>
          <a:p>
            <a:r>
              <a:rPr lang="en-US" dirty="0"/>
              <a:t>Continuity across Committee meetings</a:t>
            </a:r>
          </a:p>
        </p:txBody>
      </p:sp>
      <p:sp>
        <p:nvSpPr>
          <p:cNvPr id="11" name="Text Placeholder 10">
            <a:extLst>
              <a:ext uri="{FF2B5EF4-FFF2-40B4-BE49-F238E27FC236}">
                <a16:creationId xmlns:a16="http://schemas.microsoft.com/office/drawing/2014/main" id="{76732743-A872-08C2-F3B3-E6117F0A8226}"/>
              </a:ext>
            </a:extLst>
          </p:cNvPr>
          <p:cNvSpPr>
            <a:spLocks noGrp="1"/>
          </p:cNvSpPr>
          <p:nvPr>
            <p:ph type="body" sz="quarter" idx="17"/>
          </p:nvPr>
        </p:nvSpPr>
        <p:spPr>
          <a:xfrm>
            <a:off x="495300" y="1043663"/>
            <a:ext cx="11201400" cy="5052337"/>
          </a:xfrm>
        </p:spPr>
        <p:txBody>
          <a:bodyPr>
            <a:normAutofit fontScale="92500" lnSpcReduction="20000"/>
          </a:bodyPr>
          <a:lstStyle/>
          <a:p>
            <a:pPr marL="342900" indent="-342900">
              <a:buClr>
                <a:schemeClr val="tx1"/>
              </a:buClr>
              <a:buFont typeface="Arial" panose="020B0604020202020204" pitchFamily="34" charset="0"/>
              <a:buChar char="•"/>
            </a:pPr>
            <a:r>
              <a:rPr lang="en-US" sz="1900" b="0" dirty="0">
                <a:cs typeface="Arial"/>
              </a:rPr>
              <a:t>New Feedback</a:t>
            </a:r>
          </a:p>
          <a:p>
            <a:pPr marL="573088" lvl="1" indent="-342900">
              <a:buClr>
                <a:schemeClr val="tx1"/>
              </a:buClr>
            </a:pPr>
            <a:r>
              <a:rPr lang="en-US" sz="1500" b="0" dirty="0"/>
              <a:t>Need connectivity in the room.  In this day and age, it is a must</a:t>
            </a:r>
          </a:p>
          <a:p>
            <a:pPr marL="573088" lvl="1" indent="-342900">
              <a:buClr>
                <a:schemeClr val="tx1"/>
              </a:buClr>
            </a:pPr>
            <a:r>
              <a:rPr lang="en-US" sz="1500" b="0" dirty="0"/>
              <a:t>Ease of contacting Honeywell</a:t>
            </a:r>
          </a:p>
          <a:p>
            <a:pPr marL="800100" lvl="2" indent="-342900">
              <a:buClr>
                <a:schemeClr val="tx1"/>
              </a:buClr>
            </a:pPr>
            <a:r>
              <a:rPr lang="en-US" sz="1300" b="0" dirty="0"/>
              <a:t>One stop QR code for support</a:t>
            </a:r>
          </a:p>
          <a:p>
            <a:pPr marL="800100" lvl="2" indent="-342900">
              <a:buClr>
                <a:schemeClr val="tx1"/>
              </a:buClr>
            </a:pPr>
            <a:r>
              <a:rPr lang="en-US" sz="1300" dirty="0"/>
              <a:t>Personal contact &amp; Responsiveness</a:t>
            </a:r>
          </a:p>
          <a:p>
            <a:pPr marL="573088" lvl="1" indent="-342900">
              <a:buClr>
                <a:schemeClr val="tx1"/>
              </a:buClr>
            </a:pPr>
            <a:r>
              <a:rPr lang="en-US" sz="1500" b="0" dirty="0"/>
              <a:t>Sup</a:t>
            </a:r>
            <a:r>
              <a:rPr lang="en-US" sz="1500" dirty="0"/>
              <a:t>port structures to emulate – Satcom Direct, Gulfstream</a:t>
            </a:r>
          </a:p>
          <a:p>
            <a:pPr marL="573088" lvl="1" indent="-342900">
              <a:buClr>
                <a:schemeClr val="tx1"/>
              </a:buClr>
            </a:pPr>
            <a:r>
              <a:rPr lang="en-US" sz="1500" b="0" dirty="0"/>
              <a:t>Product lines transitions</a:t>
            </a:r>
          </a:p>
          <a:p>
            <a:pPr marL="800100" lvl="2" indent="-342900">
              <a:buClr>
                <a:schemeClr val="tx1"/>
              </a:buClr>
            </a:pPr>
            <a:r>
              <a:rPr lang="en-US" sz="1300" dirty="0"/>
              <a:t>Provide multiple effective communications to ensure message conveyed</a:t>
            </a:r>
          </a:p>
          <a:p>
            <a:pPr marL="800100" lvl="2" indent="-342900">
              <a:buClr>
                <a:schemeClr val="tx1"/>
              </a:buClr>
            </a:pPr>
            <a:r>
              <a:rPr lang="en-US" sz="1300" b="0" dirty="0"/>
              <a:t>Customer </a:t>
            </a:r>
            <a:r>
              <a:rPr lang="en-US" sz="1300" dirty="0"/>
              <a:t>Protection Plan to ensure continuity of support</a:t>
            </a:r>
          </a:p>
          <a:p>
            <a:pPr marL="573088" lvl="1" indent="-342900">
              <a:buClr>
                <a:schemeClr val="tx1"/>
              </a:buClr>
            </a:pPr>
            <a:r>
              <a:rPr lang="en-US" sz="1500" dirty="0"/>
              <a:t>Insufficient attention to chronically challenged parts – must be forward looking</a:t>
            </a:r>
          </a:p>
          <a:p>
            <a:pPr marL="800100" lvl="2" indent="-342900">
              <a:buClr>
                <a:schemeClr val="tx1"/>
              </a:buClr>
            </a:pPr>
            <a:r>
              <a:rPr lang="en-US" sz="1300" b="0" dirty="0"/>
              <a:t>HTF ECU, HMU, </a:t>
            </a:r>
            <a:r>
              <a:rPr lang="en-US" sz="1300" dirty="0"/>
              <a:t>ITT Harnesses, </a:t>
            </a:r>
            <a:r>
              <a:rPr lang="en-US" sz="1300" b="0" dirty="0"/>
              <a:t>Blades</a:t>
            </a:r>
          </a:p>
          <a:p>
            <a:pPr marL="800100" lvl="2" indent="-342900">
              <a:buClr>
                <a:schemeClr val="tx1"/>
              </a:buClr>
            </a:pPr>
            <a:r>
              <a:rPr lang="en-US" sz="1300" b="0" dirty="0"/>
              <a:t>Feedback on ISC presentation/data?  Restructure to cover ERB/SPEX first</a:t>
            </a:r>
          </a:p>
          <a:p>
            <a:pPr marL="573088" lvl="1" indent="-342900">
              <a:buClr>
                <a:schemeClr val="tx1"/>
              </a:buClr>
            </a:pPr>
            <a:r>
              <a:rPr lang="en-US" sz="1500" dirty="0"/>
              <a:t>Market perception of MSP value declining</a:t>
            </a:r>
            <a:endParaRPr lang="en-US" sz="1500" b="0" dirty="0"/>
          </a:p>
          <a:p>
            <a:pPr marL="573088" lvl="1" indent="-342900">
              <a:buClr>
                <a:schemeClr val="tx1"/>
              </a:buClr>
            </a:pPr>
            <a:r>
              <a:rPr lang="en-US" sz="1500" b="0" dirty="0"/>
              <a:t>Constructive suggestions on minor portal updates to improve experience</a:t>
            </a:r>
          </a:p>
          <a:p>
            <a:pPr marL="573088" lvl="1" indent="-342900">
              <a:buClr>
                <a:schemeClr val="tx1"/>
              </a:buClr>
            </a:pPr>
            <a:endParaRPr lang="en-US" sz="1500" b="0" dirty="0"/>
          </a:p>
          <a:p>
            <a:pPr marL="342900" indent="-342900">
              <a:buFont typeface="Arial" panose="020B0604020202020204" pitchFamily="34" charset="0"/>
              <a:buChar char="•"/>
            </a:pPr>
            <a:r>
              <a:rPr lang="en-US" sz="1900" b="0" dirty="0"/>
              <a:t>Continuing Themes</a:t>
            </a:r>
          </a:p>
          <a:p>
            <a:pPr marL="573088" lvl="1" indent="-342900"/>
            <a:r>
              <a:rPr lang="en-US" sz="1500" b="0" dirty="0">
                <a:cs typeface="Arial"/>
              </a:rPr>
              <a:t>MSP - Would like to see holistic MSP offerings, even for parts that have been licensed </a:t>
            </a:r>
          </a:p>
          <a:p>
            <a:pPr marL="573088" lvl="1" indent="-342900"/>
            <a:r>
              <a:rPr lang="en-US" sz="1500" dirty="0">
                <a:cs typeface="Arial"/>
              </a:rPr>
              <a:t>SPEX stock (red bins)</a:t>
            </a:r>
            <a:r>
              <a:rPr lang="en-US" sz="1500" dirty="0"/>
              <a:t> </a:t>
            </a:r>
          </a:p>
          <a:p>
            <a:pPr marL="573088" lvl="1" indent="-342900"/>
            <a:r>
              <a:rPr lang="en-US" sz="1500" dirty="0"/>
              <a:t>Honeywell AOG communications need to include what is preventing delivery, when it will be resolved, and updates on steps as they are completed</a:t>
            </a:r>
          </a:p>
          <a:p>
            <a:pPr marL="573088" lvl="1" indent="-342900"/>
            <a:r>
              <a:rPr lang="en-US" sz="1500" dirty="0"/>
              <a:t>Retool monthly GCC meetings – Involve GTO, Portal Team, Effective ISC updates, publish agenda’s a month in advance</a:t>
            </a:r>
          </a:p>
        </p:txBody>
      </p:sp>
      <p:pic>
        <p:nvPicPr>
          <p:cNvPr id="2" name="Picture 1" descr="A qr code with text&#10;&#10;Description automatically generated">
            <a:extLst>
              <a:ext uri="{FF2B5EF4-FFF2-40B4-BE49-F238E27FC236}">
                <a16:creationId xmlns:a16="http://schemas.microsoft.com/office/drawing/2014/main" id="{12AB4682-1DFF-2142-4F06-8C0C9F9910E1}"/>
              </a:ext>
            </a:extLst>
          </p:cNvPr>
          <p:cNvPicPr>
            <a:picLocks noChangeAspect="1"/>
          </p:cNvPicPr>
          <p:nvPr/>
        </p:nvPicPr>
        <p:blipFill>
          <a:blip r:embed="rId3"/>
          <a:stretch>
            <a:fillRect/>
          </a:stretch>
        </p:blipFill>
        <p:spPr>
          <a:xfrm>
            <a:off x="8878135" y="161547"/>
            <a:ext cx="3176910" cy="1625396"/>
          </a:xfrm>
          <a:prstGeom prst="rect">
            <a:avLst/>
          </a:prstGeom>
        </p:spPr>
      </p:pic>
      <p:grpSp>
        <p:nvGrpSpPr>
          <p:cNvPr id="4" name="Group 3">
            <a:extLst>
              <a:ext uri="{FF2B5EF4-FFF2-40B4-BE49-F238E27FC236}">
                <a16:creationId xmlns:a16="http://schemas.microsoft.com/office/drawing/2014/main" id="{C3B99EC1-A6ED-AEEB-6343-4C2E61048A5E}"/>
              </a:ext>
            </a:extLst>
          </p:cNvPr>
          <p:cNvGrpSpPr/>
          <p:nvPr/>
        </p:nvGrpSpPr>
        <p:grpSpPr>
          <a:xfrm>
            <a:off x="7317259" y="1794455"/>
            <a:ext cx="4757351" cy="2941215"/>
            <a:chOff x="350430" y="347416"/>
            <a:chExt cx="10372164" cy="6251558"/>
          </a:xfrm>
        </p:grpSpPr>
        <p:pic>
          <p:nvPicPr>
            <p:cNvPr id="6" name="Picture 5">
              <a:extLst>
                <a:ext uri="{FF2B5EF4-FFF2-40B4-BE49-F238E27FC236}">
                  <a16:creationId xmlns:a16="http://schemas.microsoft.com/office/drawing/2014/main" id="{80161981-49DE-0483-CBCA-B42B4532C7FD}"/>
                </a:ext>
              </a:extLst>
            </p:cNvPr>
            <p:cNvPicPr>
              <a:picLocks noChangeAspect="1"/>
            </p:cNvPicPr>
            <p:nvPr/>
          </p:nvPicPr>
          <p:blipFill>
            <a:blip r:embed="rId4"/>
            <a:stretch>
              <a:fillRect/>
            </a:stretch>
          </p:blipFill>
          <p:spPr>
            <a:xfrm>
              <a:off x="350430" y="785867"/>
              <a:ext cx="10372164" cy="5813107"/>
            </a:xfrm>
            <a:prstGeom prst="rect">
              <a:avLst/>
            </a:prstGeom>
          </p:spPr>
        </p:pic>
        <p:pic>
          <p:nvPicPr>
            <p:cNvPr id="7" name="Graphic 6" descr="Cursor with solid fill">
              <a:extLst>
                <a:ext uri="{FF2B5EF4-FFF2-40B4-BE49-F238E27FC236}">
                  <a16:creationId xmlns:a16="http://schemas.microsoft.com/office/drawing/2014/main" id="{73C7F457-04DC-1ED7-E3D4-4709A4FFE35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5941588">
              <a:off x="7973689" y="347416"/>
              <a:ext cx="567804" cy="567804"/>
            </a:xfrm>
            <a:prstGeom prst="rect">
              <a:avLst/>
            </a:prstGeom>
          </p:spPr>
        </p:pic>
      </p:grpSp>
    </p:spTree>
    <p:extLst>
      <p:ext uri="{BB962C8B-B14F-4D97-AF65-F5344CB8AC3E}">
        <p14:creationId xmlns:p14="http://schemas.microsoft.com/office/powerpoint/2010/main" val="3490114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38147-81B7-B3D0-6863-F332B85E8A10}"/>
              </a:ext>
            </a:extLst>
          </p:cNvPr>
          <p:cNvSpPr>
            <a:spLocks noGrp="1"/>
          </p:cNvSpPr>
          <p:nvPr>
            <p:ph type="title"/>
          </p:nvPr>
        </p:nvSpPr>
        <p:spPr/>
        <p:txBody>
          <a:bodyPr/>
          <a:lstStyle/>
          <a:p>
            <a:r>
              <a:rPr lang="en-US"/>
              <a:t>Licensed Product Customer notification</a:t>
            </a:r>
          </a:p>
        </p:txBody>
      </p:sp>
      <p:sp>
        <p:nvSpPr>
          <p:cNvPr id="3" name="Slide Number Placeholder 2">
            <a:extLst>
              <a:ext uri="{FF2B5EF4-FFF2-40B4-BE49-F238E27FC236}">
                <a16:creationId xmlns:a16="http://schemas.microsoft.com/office/drawing/2014/main" id="{E479D8F9-A7FA-2E31-2A0C-1BED7E172B92}"/>
              </a:ext>
            </a:extLst>
          </p:cNvPr>
          <p:cNvSpPr>
            <a:spLocks noGrp="1"/>
          </p:cNvSpPr>
          <p:nvPr>
            <p:ph type="sldNum" sz="quarter" idx="12"/>
          </p:nvPr>
        </p:nvSpPr>
        <p:spPr/>
        <p:txBody>
          <a:bodyPr/>
          <a:lstStyle/>
          <a:p>
            <a:fld id="{7B94EC18-1D2B-4535-B738-0E53AFE26620}" type="slidenum">
              <a:rPr lang="en-US" smtClean="0"/>
              <a:t>13</a:t>
            </a:fld>
            <a:endParaRPr lang="en-US"/>
          </a:p>
        </p:txBody>
      </p:sp>
      <p:sp>
        <p:nvSpPr>
          <p:cNvPr id="4" name="Text Placeholder 3">
            <a:extLst>
              <a:ext uri="{FF2B5EF4-FFF2-40B4-BE49-F238E27FC236}">
                <a16:creationId xmlns:a16="http://schemas.microsoft.com/office/drawing/2014/main" id="{672E7D54-4FD3-D070-42EC-09D9A7EF693D}"/>
              </a:ext>
            </a:extLst>
          </p:cNvPr>
          <p:cNvSpPr>
            <a:spLocks noGrp="1"/>
          </p:cNvSpPr>
          <p:nvPr>
            <p:ph type="body" sz="quarter" idx="16"/>
          </p:nvPr>
        </p:nvSpPr>
        <p:spPr/>
        <p:txBody>
          <a:bodyPr/>
          <a:lstStyle/>
          <a:p>
            <a:endParaRPr lang="en-US"/>
          </a:p>
        </p:txBody>
      </p:sp>
      <p:sp>
        <p:nvSpPr>
          <p:cNvPr id="5" name="Text Placeholder 4">
            <a:extLst>
              <a:ext uri="{FF2B5EF4-FFF2-40B4-BE49-F238E27FC236}">
                <a16:creationId xmlns:a16="http://schemas.microsoft.com/office/drawing/2014/main" id="{14CF9B23-B539-47D2-1CDF-5B2D8D412CF3}"/>
              </a:ext>
            </a:extLst>
          </p:cNvPr>
          <p:cNvSpPr>
            <a:spLocks noGrp="1"/>
          </p:cNvSpPr>
          <p:nvPr>
            <p:ph type="body" sz="quarter" idx="17"/>
          </p:nvPr>
        </p:nvSpPr>
        <p:spPr/>
        <p:txBody>
          <a:bodyPr/>
          <a:lstStyle/>
          <a:p>
            <a:endParaRPr lang="en-US"/>
          </a:p>
        </p:txBody>
      </p:sp>
      <p:pic>
        <p:nvPicPr>
          <p:cNvPr id="7" name="Picture 6">
            <a:extLst>
              <a:ext uri="{FF2B5EF4-FFF2-40B4-BE49-F238E27FC236}">
                <a16:creationId xmlns:a16="http://schemas.microsoft.com/office/drawing/2014/main" id="{FA7DFCD5-134D-933F-0028-2AF24F556DC6}"/>
              </a:ext>
            </a:extLst>
          </p:cNvPr>
          <p:cNvPicPr>
            <a:picLocks noChangeAspect="1"/>
          </p:cNvPicPr>
          <p:nvPr/>
        </p:nvPicPr>
        <p:blipFill>
          <a:blip r:embed="rId3"/>
          <a:stretch>
            <a:fillRect/>
          </a:stretch>
        </p:blipFill>
        <p:spPr>
          <a:xfrm>
            <a:off x="181594" y="948828"/>
            <a:ext cx="3951996" cy="4960343"/>
          </a:xfrm>
          <a:prstGeom prst="rect">
            <a:avLst/>
          </a:prstGeom>
        </p:spPr>
      </p:pic>
      <p:pic>
        <p:nvPicPr>
          <p:cNvPr id="9" name="Picture 8">
            <a:extLst>
              <a:ext uri="{FF2B5EF4-FFF2-40B4-BE49-F238E27FC236}">
                <a16:creationId xmlns:a16="http://schemas.microsoft.com/office/drawing/2014/main" id="{23990BFB-84CC-BF6D-4F70-33D17784AE20}"/>
              </a:ext>
            </a:extLst>
          </p:cNvPr>
          <p:cNvPicPr>
            <a:picLocks noChangeAspect="1"/>
          </p:cNvPicPr>
          <p:nvPr/>
        </p:nvPicPr>
        <p:blipFill>
          <a:blip r:embed="rId4"/>
          <a:stretch>
            <a:fillRect/>
          </a:stretch>
        </p:blipFill>
        <p:spPr>
          <a:xfrm>
            <a:off x="4196239" y="948828"/>
            <a:ext cx="3862173" cy="4895712"/>
          </a:xfrm>
          <a:prstGeom prst="rect">
            <a:avLst/>
          </a:prstGeom>
        </p:spPr>
      </p:pic>
      <p:pic>
        <p:nvPicPr>
          <p:cNvPr id="11" name="Picture 10">
            <a:extLst>
              <a:ext uri="{FF2B5EF4-FFF2-40B4-BE49-F238E27FC236}">
                <a16:creationId xmlns:a16="http://schemas.microsoft.com/office/drawing/2014/main" id="{608712E8-A4FA-B882-E54B-E1315854C3B7}"/>
              </a:ext>
            </a:extLst>
          </p:cNvPr>
          <p:cNvPicPr>
            <a:picLocks noChangeAspect="1"/>
          </p:cNvPicPr>
          <p:nvPr/>
        </p:nvPicPr>
        <p:blipFill>
          <a:blip r:embed="rId5"/>
          <a:stretch>
            <a:fillRect/>
          </a:stretch>
        </p:blipFill>
        <p:spPr>
          <a:xfrm>
            <a:off x="7903923" y="948828"/>
            <a:ext cx="4143868" cy="3273002"/>
          </a:xfrm>
          <a:prstGeom prst="rect">
            <a:avLst/>
          </a:prstGeom>
        </p:spPr>
      </p:pic>
    </p:spTree>
    <p:extLst>
      <p:ext uri="{BB962C8B-B14F-4D97-AF65-F5344CB8AC3E}">
        <p14:creationId xmlns:p14="http://schemas.microsoft.com/office/powerpoint/2010/main" val="386397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C5C69-1116-4D06-B098-F73657EFA6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C71C5C69-1116-4D06-B098-F73657EFA6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B96A37C-71C7-4D7A-A1A6-5D68340393DE}"/>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a:xfrm>
            <a:off x="7621" y="344706"/>
            <a:ext cx="12184379" cy="411592"/>
          </a:xfrm>
        </p:spPr>
        <p:txBody>
          <a:bodyPr/>
          <a:lstStyle/>
          <a:p>
            <a:r>
              <a:rPr lang="en-US" sz="2700"/>
              <a:t>Customer Protection Plan checklist in Due Diligence</a:t>
            </a:r>
          </a:p>
        </p:txBody>
      </p:sp>
      <p:sp>
        <p:nvSpPr>
          <p:cNvPr id="16" name="Rectangle 15">
            <a:extLst>
              <a:ext uri="{FF2B5EF4-FFF2-40B4-BE49-F238E27FC236}">
                <a16:creationId xmlns:a16="http://schemas.microsoft.com/office/drawing/2014/main" id="{8029C040-5EFA-4138-AD5F-B21BEEE78995}"/>
              </a:ext>
            </a:extLst>
          </p:cNvPr>
          <p:cNvSpPr/>
          <p:nvPr/>
        </p:nvSpPr>
        <p:spPr>
          <a:xfrm>
            <a:off x="186791" y="1198935"/>
            <a:ext cx="1377019" cy="838883"/>
          </a:xfrm>
          <a:prstGeom prst="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10000"/>
              </a:lnSpc>
              <a:spcBef>
                <a:spcPct val="5000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SimSun" pitchFamily="2" charset="-122"/>
                <a:cs typeface="Calibri" panose="020F0502020204030204" pitchFamily="34" charset="0"/>
              </a:rPr>
              <a:t>Process </a:t>
            </a:r>
          </a:p>
        </p:txBody>
      </p:sp>
      <p:sp>
        <p:nvSpPr>
          <p:cNvPr id="42" name="Rectangle: Rounded Corners 41">
            <a:extLst>
              <a:ext uri="{FF2B5EF4-FFF2-40B4-BE49-F238E27FC236}">
                <a16:creationId xmlns:a16="http://schemas.microsoft.com/office/drawing/2014/main" id="{7FB26397-03C8-403C-95D9-AE01259E1A65}"/>
              </a:ext>
            </a:extLst>
          </p:cNvPr>
          <p:cNvSpPr/>
          <p:nvPr/>
        </p:nvSpPr>
        <p:spPr>
          <a:xfrm>
            <a:off x="3092509" y="1191395"/>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0 </a:t>
            </a:r>
            <a:r>
              <a:rPr kumimoji="0" lang="en-US" sz="1200" b="0" i="0" u="none" strike="noStrike" kern="1200" cap="none" spc="0" normalizeH="0" baseline="0" noProof="0">
                <a:ln>
                  <a:noFill/>
                </a:ln>
                <a:solidFill>
                  <a:prstClr val="black"/>
                </a:solidFill>
                <a:effectLst/>
                <a:uLnTx/>
                <a:uFillTx/>
                <a:latin typeface="Arial"/>
                <a:ea typeface="+mn-ea"/>
                <a:cs typeface="+mn-cs"/>
              </a:rPr>
              <a:t>Go/No-Go</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id="{06A6458C-6CFC-4DED-A697-6C19A841E09D}"/>
              </a:ext>
            </a:extLst>
          </p:cNvPr>
          <p:cNvSpPr/>
          <p:nvPr/>
        </p:nvSpPr>
        <p:spPr>
          <a:xfrm>
            <a:off x="4547379" y="1191395"/>
            <a:ext cx="1377019" cy="8607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ue Diligence </a:t>
            </a:r>
          </a:p>
        </p:txBody>
      </p:sp>
      <p:sp>
        <p:nvSpPr>
          <p:cNvPr id="44" name="Rectangle: Rounded Corners 43">
            <a:extLst>
              <a:ext uri="{FF2B5EF4-FFF2-40B4-BE49-F238E27FC236}">
                <a16:creationId xmlns:a16="http://schemas.microsoft.com/office/drawing/2014/main" id="{CEC24FFC-0A55-4502-8BEC-BD1B919DC395}"/>
              </a:ext>
            </a:extLst>
          </p:cNvPr>
          <p:cNvSpPr/>
          <p:nvPr/>
        </p:nvSpPr>
        <p:spPr>
          <a:xfrm>
            <a:off x="1634846" y="1196047"/>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ipeline Generation</a:t>
            </a:r>
          </a:p>
        </p:txBody>
      </p:sp>
      <p:sp>
        <p:nvSpPr>
          <p:cNvPr id="45" name="Rectangle: Rounded Corners 44">
            <a:extLst>
              <a:ext uri="{FF2B5EF4-FFF2-40B4-BE49-F238E27FC236}">
                <a16:creationId xmlns:a16="http://schemas.microsoft.com/office/drawing/2014/main" id="{C924668A-0A6D-42F7-855B-9A06ECB9C646}"/>
              </a:ext>
            </a:extLst>
          </p:cNvPr>
          <p:cNvSpPr/>
          <p:nvPr/>
        </p:nvSpPr>
        <p:spPr>
          <a:xfrm>
            <a:off x="6002249" y="1196047"/>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2 </a:t>
            </a:r>
            <a:r>
              <a:rPr kumimoji="0" lang="en-US" sz="1200" b="0" i="0" u="none" strike="noStrike" kern="1200" cap="none" spc="0" normalizeH="0" baseline="0" noProof="0">
                <a:ln>
                  <a:noFill/>
                </a:ln>
                <a:solidFill>
                  <a:prstClr val="black"/>
                </a:solidFill>
                <a:effectLst/>
                <a:uLnTx/>
                <a:uFillTx/>
                <a:latin typeface="Arial"/>
                <a:ea typeface="+mn-ea"/>
                <a:cs typeface="+mn-cs"/>
              </a:rPr>
              <a:t>Offers, Agreement, Approvals</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6" name="Rectangle: Rounded Corners 45">
            <a:extLst>
              <a:ext uri="{FF2B5EF4-FFF2-40B4-BE49-F238E27FC236}">
                <a16:creationId xmlns:a16="http://schemas.microsoft.com/office/drawing/2014/main" id="{39CE5C2C-1D65-4836-998C-A68EC359E465}"/>
              </a:ext>
            </a:extLst>
          </p:cNvPr>
          <p:cNvSpPr/>
          <p:nvPr/>
        </p:nvSpPr>
        <p:spPr>
          <a:xfrm>
            <a:off x="7449620" y="1198936"/>
            <a:ext cx="1377019" cy="86071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e-Integration Planning</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Rounded Corners 46">
            <a:extLst>
              <a:ext uri="{FF2B5EF4-FFF2-40B4-BE49-F238E27FC236}">
                <a16:creationId xmlns:a16="http://schemas.microsoft.com/office/drawing/2014/main" id="{1CB8443F-DEE1-42B8-9DC4-EDB225FAD05E}"/>
              </a:ext>
            </a:extLst>
          </p:cNvPr>
          <p:cNvSpPr/>
          <p:nvPr/>
        </p:nvSpPr>
        <p:spPr>
          <a:xfrm>
            <a:off x="8910444" y="1198936"/>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e-Integration Execution </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8" name="Rectangle: Rounded Corners 47">
            <a:extLst>
              <a:ext uri="{FF2B5EF4-FFF2-40B4-BE49-F238E27FC236}">
                <a16:creationId xmlns:a16="http://schemas.microsoft.com/office/drawing/2014/main" id="{5AF8ECD1-5CFE-4457-B268-64638DCA7DC0}"/>
              </a:ext>
            </a:extLst>
          </p:cNvPr>
          <p:cNvSpPr/>
          <p:nvPr/>
        </p:nvSpPr>
        <p:spPr>
          <a:xfrm>
            <a:off x="10368153" y="1203822"/>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5 </a:t>
            </a:r>
            <a:r>
              <a:rPr kumimoji="0" lang="en-US" sz="1200" b="0" i="0" u="none" strike="noStrike" kern="1200" cap="none" spc="0" normalizeH="0" baseline="0" noProof="0">
                <a:ln>
                  <a:noFill/>
                </a:ln>
                <a:solidFill>
                  <a:prstClr val="black"/>
                </a:solidFill>
                <a:effectLst/>
                <a:uLnTx/>
                <a:uFillTx/>
                <a:latin typeface="Arial"/>
                <a:ea typeface="+mn-ea"/>
                <a:cs typeface="+mn-cs"/>
              </a:rPr>
              <a:t>Close-Out</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9EB827DD-87E7-34E6-9AB8-5B9A37EED84A}"/>
              </a:ext>
            </a:extLst>
          </p:cNvPr>
          <p:cNvSpPr txBox="1"/>
          <p:nvPr/>
        </p:nvSpPr>
        <p:spPr>
          <a:xfrm>
            <a:off x="7525088" y="880655"/>
            <a:ext cx="3514157" cy="255002"/>
          </a:xfrm>
          <a:prstGeom prst="rect">
            <a:avLst/>
          </a:prstGeom>
          <a:noFill/>
        </p:spPr>
        <p:txBody>
          <a:bodyPr wrap="none" lIns="0" tIns="0" rIns="0" bIns="0" rtlCol="0">
            <a:noAutofit/>
          </a:bodyPr>
          <a:lstStyle/>
          <a:p>
            <a:pPr algn="l">
              <a:spcAft>
                <a:spcPts val="600"/>
              </a:spcAft>
            </a:pPr>
            <a:r>
              <a:rPr lang="en-US" sz="1600" b="1" i="1">
                <a:solidFill>
                  <a:srgbClr val="C00000"/>
                </a:solidFill>
              </a:rPr>
              <a:t>(Post-Deal) CPP Checklist focusing on CX</a:t>
            </a:r>
          </a:p>
        </p:txBody>
      </p:sp>
      <p:sp>
        <p:nvSpPr>
          <p:cNvPr id="10" name="TextBox 9">
            <a:extLst>
              <a:ext uri="{FF2B5EF4-FFF2-40B4-BE49-F238E27FC236}">
                <a16:creationId xmlns:a16="http://schemas.microsoft.com/office/drawing/2014/main" id="{19FB2B13-92A5-DCB1-0DB5-2417E0E80AD7}"/>
              </a:ext>
            </a:extLst>
          </p:cNvPr>
          <p:cNvSpPr txBox="1"/>
          <p:nvPr/>
        </p:nvSpPr>
        <p:spPr>
          <a:xfrm>
            <a:off x="2151468" y="880655"/>
            <a:ext cx="4169188" cy="278980"/>
          </a:xfrm>
          <a:prstGeom prst="rect">
            <a:avLst/>
          </a:prstGeom>
          <a:noFill/>
        </p:spPr>
        <p:txBody>
          <a:bodyPr wrap="none" lIns="0" tIns="0" rIns="0" bIns="0" rtlCol="0">
            <a:noAutofit/>
          </a:bodyPr>
          <a:lstStyle/>
          <a:p>
            <a:pPr algn="l">
              <a:spcAft>
                <a:spcPts val="600"/>
              </a:spcAft>
            </a:pPr>
            <a:r>
              <a:rPr lang="en-US" sz="1600" b="1" i="1">
                <a:solidFill>
                  <a:srgbClr val="C00000"/>
                </a:solidFill>
              </a:rPr>
              <a:t>(Pre-Deal) CPP Checklist focusing on Risk Migration</a:t>
            </a:r>
          </a:p>
        </p:txBody>
      </p:sp>
      <p:cxnSp>
        <p:nvCxnSpPr>
          <p:cNvPr id="4" name="Straight Connector 3">
            <a:extLst>
              <a:ext uri="{FF2B5EF4-FFF2-40B4-BE49-F238E27FC236}">
                <a16:creationId xmlns:a16="http://schemas.microsoft.com/office/drawing/2014/main" id="{57E1A529-90DA-AE86-1DEF-F05C6E2FF461}"/>
              </a:ext>
            </a:extLst>
          </p:cNvPr>
          <p:cNvCxnSpPr>
            <a:cxnSpLocks/>
          </p:cNvCxnSpPr>
          <p:nvPr/>
        </p:nvCxnSpPr>
        <p:spPr>
          <a:xfrm>
            <a:off x="7402491" y="1053775"/>
            <a:ext cx="0" cy="101886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278D985-C7E3-3D94-7CE0-817CFBDDED00}"/>
              </a:ext>
            </a:extLst>
          </p:cNvPr>
          <p:cNvSpPr txBox="1"/>
          <p:nvPr/>
        </p:nvSpPr>
        <p:spPr>
          <a:xfrm>
            <a:off x="972973" y="6192460"/>
            <a:ext cx="10237031" cy="327572"/>
          </a:xfrm>
          <a:prstGeom prst="rect">
            <a:avLst/>
          </a:prstGeom>
          <a:noFill/>
        </p:spPr>
        <p:txBody>
          <a:bodyPr wrap="none" lIns="0" tIns="0" rIns="0" bIns="0" rtlCol="0">
            <a:noAutofit/>
          </a:bodyPr>
          <a:lstStyle/>
          <a:p>
            <a:pPr algn="ctr">
              <a:spcAft>
                <a:spcPts val="600"/>
              </a:spcAft>
            </a:pPr>
            <a:r>
              <a:rPr lang="en-US" sz="2000" b="1" i="1">
                <a:solidFill>
                  <a:srgbClr val="C00000"/>
                </a:solidFill>
              </a:rPr>
              <a:t>C&amp;PS supports the due diligence and tracking of the CPP/CX checklist</a:t>
            </a:r>
          </a:p>
        </p:txBody>
      </p:sp>
      <p:graphicFrame>
        <p:nvGraphicFramePr>
          <p:cNvPr id="7" name="Table 6">
            <a:extLst>
              <a:ext uri="{FF2B5EF4-FFF2-40B4-BE49-F238E27FC236}">
                <a16:creationId xmlns:a16="http://schemas.microsoft.com/office/drawing/2014/main" id="{18C2E56D-1E16-F3F2-68B4-4A15E86579EF}"/>
              </a:ext>
            </a:extLst>
          </p:cNvPr>
          <p:cNvGraphicFramePr>
            <a:graphicFrameLocks noGrp="1"/>
          </p:cNvGraphicFramePr>
          <p:nvPr/>
        </p:nvGraphicFramePr>
        <p:xfrm>
          <a:off x="6267186" y="2455872"/>
          <a:ext cx="5867400" cy="3619500"/>
        </p:xfrm>
        <a:graphic>
          <a:graphicData uri="http://schemas.openxmlformats.org/drawingml/2006/table">
            <a:tbl>
              <a:tblPr/>
              <a:tblGrid>
                <a:gridCol w="279400">
                  <a:extLst>
                    <a:ext uri="{9D8B030D-6E8A-4147-A177-3AD203B41FA5}">
                      <a16:colId xmlns:a16="http://schemas.microsoft.com/office/drawing/2014/main" val="409993892"/>
                    </a:ext>
                  </a:extLst>
                </a:gridCol>
                <a:gridCol w="5588000">
                  <a:extLst>
                    <a:ext uri="{9D8B030D-6E8A-4147-A177-3AD203B41FA5}">
                      <a16:colId xmlns:a16="http://schemas.microsoft.com/office/drawing/2014/main" val="1350536788"/>
                    </a:ext>
                  </a:extLst>
                </a:gridCol>
              </a:tblGrid>
              <a:tr h="165100">
                <a:tc>
                  <a:txBody>
                    <a:bodyPr/>
                    <a:lstStyle/>
                    <a:p>
                      <a:pPr algn="ctr" fontAlgn="ctr"/>
                      <a:r>
                        <a:rPr lang="en-US" sz="1000" b="1" i="0" u="none" strike="noStrike">
                          <a:effectLst/>
                          <a:latin typeface="Arial" panose="020B0604020202020204" pitchFamily="34" charset="0"/>
                        </a:rPr>
                        <a:t>1.2</a:t>
                      </a:r>
                    </a:p>
                  </a:txBody>
                  <a:tcPr marL="0" marR="0" marT="0" marB="0" anchor="ctr">
                    <a:lnL>
                      <a:noFill/>
                    </a:lnL>
                    <a:lnR>
                      <a:noFill/>
                    </a:lnR>
                    <a:lnT>
                      <a:noFill/>
                    </a:lnT>
                    <a:lnB>
                      <a:noFill/>
                    </a:lnB>
                  </a:tcPr>
                </a:tc>
                <a:tc>
                  <a:txBody>
                    <a:bodyPr/>
                    <a:lstStyle/>
                    <a:p>
                      <a:pPr algn="l" fontAlgn="ctr"/>
                      <a:r>
                        <a:rPr lang="en-US" sz="1000" b="1" i="0" u="none" strike="noStrike">
                          <a:effectLst/>
                          <a:latin typeface="Arial" panose="020B0604020202020204" pitchFamily="34" charset="0"/>
                        </a:rPr>
                        <a:t>Licensee's customer support capabilities</a:t>
                      </a:r>
                    </a:p>
                  </a:txBody>
                  <a:tcPr marL="0" marR="0" marT="0" marB="0" anchor="ctr">
                    <a:lnL>
                      <a:noFill/>
                    </a:lnL>
                    <a:lnR>
                      <a:noFill/>
                    </a:lnR>
                    <a:lnT>
                      <a:noFill/>
                    </a:lnT>
                    <a:lnB>
                      <a:noFill/>
                    </a:lnB>
                  </a:tcPr>
                </a:tc>
                <a:extLst>
                  <a:ext uri="{0D108BD9-81ED-4DB2-BD59-A6C34878D82A}">
                    <a16:rowId xmlns:a16="http://schemas.microsoft.com/office/drawing/2014/main" val="1122505296"/>
                  </a:ext>
                </a:extLst>
              </a:tr>
              <a:tr h="3175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solidFill>
                            <a:srgbClr val="000000"/>
                          </a:solidFill>
                          <a:effectLst/>
                          <a:latin typeface="Arial" panose="020B0604020202020204" pitchFamily="34" charset="0"/>
                        </a:rPr>
                        <a:t> - Is the licensee candidate already key customers' </a:t>
                      </a:r>
                      <a:r>
                        <a:rPr lang="en-US" sz="1000" b="0" i="0" u="none" strike="noStrike">
                          <a:solidFill>
                            <a:srgbClr val="0070C0"/>
                          </a:solidFill>
                          <a:effectLst/>
                          <a:latin typeface="Arial" panose="020B0604020202020204" pitchFamily="34" charset="0"/>
                        </a:rPr>
                        <a:t>ASL</a:t>
                      </a:r>
                      <a:r>
                        <a:rPr lang="en-US" sz="1000" b="0" i="0" u="none" strike="noStrike">
                          <a:solidFill>
                            <a:srgbClr val="000000"/>
                          </a:solidFill>
                          <a:effectLst/>
                          <a:latin typeface="Arial" panose="020B0604020202020204" pitchFamily="34" charset="0"/>
                        </a:rPr>
                        <a:t>? Candidate to provide a list of customers with whom they are authorized. </a:t>
                      </a:r>
                    </a:p>
                  </a:txBody>
                  <a:tcPr marL="0" marR="0" marT="0" marB="0" anchor="ctr">
                    <a:lnL>
                      <a:noFill/>
                    </a:lnL>
                    <a:lnR>
                      <a:noFill/>
                    </a:lnR>
                    <a:lnT>
                      <a:noFill/>
                    </a:lnT>
                    <a:lnB>
                      <a:noFill/>
                    </a:lnB>
                  </a:tcPr>
                </a:tc>
                <a:extLst>
                  <a:ext uri="{0D108BD9-81ED-4DB2-BD59-A6C34878D82A}">
                    <a16:rowId xmlns:a16="http://schemas.microsoft.com/office/drawing/2014/main" val="743456211"/>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How is customer and product support </a:t>
                      </a:r>
                      <a:r>
                        <a:rPr lang="en-US" sz="1000" b="0" i="0" u="none" strike="noStrike">
                          <a:solidFill>
                            <a:srgbClr val="0070C0"/>
                          </a:solidFill>
                          <a:effectLst/>
                          <a:latin typeface="Arial" panose="020B0604020202020204" pitchFamily="34" charset="0"/>
                        </a:rPr>
                        <a:t>org</a:t>
                      </a:r>
                      <a:r>
                        <a:rPr lang="en-US" sz="1000" b="0" i="0" u="none" strike="noStrike">
                          <a:effectLst/>
                          <a:latin typeface="Arial" panose="020B0604020202020204" pitchFamily="34" charset="0"/>
                        </a:rPr>
                        <a:t> (esp. order admin) structured and located?</a:t>
                      </a:r>
                    </a:p>
                  </a:txBody>
                  <a:tcPr marL="0" marR="0" marT="0" marB="0" anchor="ctr">
                    <a:lnL>
                      <a:noFill/>
                    </a:lnL>
                    <a:lnR>
                      <a:noFill/>
                    </a:lnR>
                    <a:lnT>
                      <a:noFill/>
                    </a:lnT>
                    <a:lnB>
                      <a:noFill/>
                    </a:lnB>
                  </a:tcPr>
                </a:tc>
                <a:extLst>
                  <a:ext uri="{0D108BD9-81ED-4DB2-BD59-A6C34878D82A}">
                    <a16:rowId xmlns:a16="http://schemas.microsoft.com/office/drawing/2014/main" val="4257334865"/>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the process of </a:t>
                      </a:r>
                      <a:r>
                        <a:rPr lang="en-US" sz="1000" b="0" i="0" u="none" strike="noStrike">
                          <a:solidFill>
                            <a:srgbClr val="0070C0"/>
                          </a:solidFill>
                          <a:effectLst/>
                          <a:latin typeface="Arial" panose="020B0604020202020204" pitchFamily="34" charset="0"/>
                        </a:rPr>
                        <a:t>order entry and fulfillment</a:t>
                      </a:r>
                      <a:r>
                        <a:rPr lang="en-US" sz="1000" b="0" i="0" u="none" strike="noStrike">
                          <a:effectLst/>
                          <a:latin typeface="Arial" panose="020B0604020202020204" pitchFamily="34" charset="0"/>
                        </a:rPr>
                        <a:t>? PO via email, portal, EDI?</a:t>
                      </a:r>
                    </a:p>
                  </a:txBody>
                  <a:tcPr marL="0" marR="0" marT="0" marB="0" anchor="ctr">
                    <a:lnL>
                      <a:noFill/>
                    </a:lnL>
                    <a:lnR>
                      <a:noFill/>
                    </a:lnR>
                    <a:lnT>
                      <a:noFill/>
                    </a:lnT>
                    <a:lnB>
                      <a:noFill/>
                    </a:lnB>
                  </a:tcPr>
                </a:tc>
                <a:extLst>
                  <a:ext uri="{0D108BD9-81ED-4DB2-BD59-A6C34878D82A}">
                    <a16:rowId xmlns:a16="http://schemas.microsoft.com/office/drawing/2014/main" val="2658956281"/>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the</a:t>
                      </a:r>
                      <a:r>
                        <a:rPr lang="en-US" sz="1000" b="0" i="0" u="none" strike="noStrike">
                          <a:solidFill>
                            <a:srgbClr val="0070C0"/>
                          </a:solidFill>
                          <a:effectLst/>
                          <a:latin typeface="Arial" panose="020B0604020202020204" pitchFamily="34" charset="0"/>
                        </a:rPr>
                        <a:t> AOG</a:t>
                      </a:r>
                      <a:r>
                        <a:rPr lang="en-US" sz="1000" b="0" i="0" u="none" strike="noStrike">
                          <a:effectLst/>
                          <a:latin typeface="Arial" panose="020B0604020202020204" pitchFamily="34" charset="0"/>
                        </a:rPr>
                        <a:t> process? Is it true 24/7? via phone, email, website? </a:t>
                      </a:r>
                    </a:p>
                  </a:txBody>
                  <a:tcPr marL="0" marR="0" marT="0" marB="0" anchor="ctr">
                    <a:lnL>
                      <a:noFill/>
                    </a:lnL>
                    <a:lnR>
                      <a:noFill/>
                    </a:lnR>
                    <a:lnT>
                      <a:noFill/>
                    </a:lnT>
                    <a:lnB>
                      <a:noFill/>
                    </a:lnB>
                  </a:tcPr>
                </a:tc>
                <a:extLst>
                  <a:ext uri="{0D108BD9-81ED-4DB2-BD59-A6C34878D82A}">
                    <a16:rowId xmlns:a16="http://schemas.microsoft.com/office/drawing/2014/main" val="2795323319"/>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the </a:t>
                      </a:r>
                      <a:r>
                        <a:rPr lang="en-US" sz="1000" b="0" i="0" u="none" strike="noStrike">
                          <a:solidFill>
                            <a:srgbClr val="0070C0"/>
                          </a:solidFill>
                          <a:effectLst/>
                          <a:latin typeface="Arial" panose="020B0604020202020204" pitchFamily="34" charset="0"/>
                        </a:rPr>
                        <a:t>exchange</a:t>
                      </a:r>
                      <a:r>
                        <a:rPr lang="en-US" sz="1000" b="0" i="0" u="none" strike="noStrike">
                          <a:effectLst/>
                          <a:latin typeface="Arial" panose="020B0604020202020204" pitchFamily="34" charset="0"/>
                        </a:rPr>
                        <a:t> capability? Is an exchange pool existing?</a:t>
                      </a:r>
                    </a:p>
                  </a:txBody>
                  <a:tcPr marL="0" marR="0" marT="0" marB="0" anchor="ctr">
                    <a:lnL>
                      <a:noFill/>
                    </a:lnL>
                    <a:lnR>
                      <a:noFill/>
                    </a:lnR>
                    <a:lnT>
                      <a:noFill/>
                    </a:lnT>
                    <a:lnB>
                      <a:noFill/>
                    </a:lnB>
                  </a:tcPr>
                </a:tc>
                <a:extLst>
                  <a:ext uri="{0D108BD9-81ED-4DB2-BD59-A6C34878D82A}">
                    <a16:rowId xmlns:a16="http://schemas.microsoft.com/office/drawing/2014/main" val="618984137"/>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ere do they </a:t>
                      </a:r>
                      <a:r>
                        <a:rPr lang="en-US" sz="1000" b="0" i="0" u="none" strike="noStrike">
                          <a:solidFill>
                            <a:srgbClr val="0070C0"/>
                          </a:solidFill>
                          <a:effectLst/>
                          <a:latin typeface="Arial" panose="020B0604020202020204" pitchFamily="34" charset="0"/>
                        </a:rPr>
                        <a:t>stock</a:t>
                      </a:r>
                      <a:r>
                        <a:rPr lang="en-US" sz="1000" b="0" i="0" u="none" strike="noStrike">
                          <a:effectLst/>
                          <a:latin typeface="Arial" panose="020B0604020202020204" pitchFamily="34" charset="0"/>
                        </a:rPr>
                        <a:t> serviceable spares/LRUs? </a:t>
                      </a:r>
                    </a:p>
                  </a:txBody>
                  <a:tcPr marL="0" marR="0" marT="0" marB="0" anchor="ctr">
                    <a:lnL>
                      <a:noFill/>
                    </a:lnL>
                    <a:lnR>
                      <a:noFill/>
                    </a:lnR>
                    <a:lnT>
                      <a:noFill/>
                    </a:lnT>
                    <a:lnB>
                      <a:noFill/>
                    </a:lnB>
                  </a:tcPr>
                </a:tc>
                <a:extLst>
                  <a:ext uri="{0D108BD9-81ED-4DB2-BD59-A6C34878D82A}">
                    <a16:rowId xmlns:a16="http://schemas.microsoft.com/office/drawing/2014/main" val="4036378357"/>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How do they meansure performance, OTTR, OTD? What is their </a:t>
                      </a:r>
                      <a:r>
                        <a:rPr lang="en-US" sz="1000" b="0" i="0" u="none" strike="noStrike">
                          <a:solidFill>
                            <a:srgbClr val="0070C0"/>
                          </a:solidFill>
                          <a:effectLst/>
                          <a:latin typeface="Arial" panose="020B0604020202020204" pitchFamily="34" charset="0"/>
                        </a:rPr>
                        <a:t>delivery</a:t>
                      </a:r>
                      <a:r>
                        <a:rPr lang="en-US" sz="1000" b="0" i="0" u="none" strike="noStrike">
                          <a:effectLst/>
                          <a:latin typeface="Arial" panose="020B0604020202020204" pitchFamily="34" charset="0"/>
                        </a:rPr>
                        <a:t> performance?</a:t>
                      </a:r>
                    </a:p>
                  </a:txBody>
                  <a:tcPr marL="0" marR="0" marT="0" marB="0" anchor="ctr">
                    <a:lnL>
                      <a:noFill/>
                    </a:lnL>
                    <a:lnR>
                      <a:noFill/>
                    </a:lnR>
                    <a:lnT>
                      <a:noFill/>
                    </a:lnT>
                    <a:lnB>
                      <a:noFill/>
                    </a:lnB>
                  </a:tcPr>
                </a:tc>
                <a:extLst>
                  <a:ext uri="{0D108BD9-81ED-4DB2-BD59-A6C34878D82A}">
                    <a16:rowId xmlns:a16="http://schemas.microsoft.com/office/drawing/2014/main" val="839501161"/>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a:t>
                      </a:r>
                      <a:r>
                        <a:rPr lang="en-US" sz="1000" b="0" i="0" u="none" strike="noStrike">
                          <a:solidFill>
                            <a:srgbClr val="0070C0"/>
                          </a:solidFill>
                          <a:effectLst/>
                          <a:latin typeface="Arial" panose="020B0604020202020204" pitchFamily="34" charset="0"/>
                        </a:rPr>
                        <a:t>certs</a:t>
                      </a:r>
                      <a:r>
                        <a:rPr lang="en-US" sz="1000" b="0" i="0" u="none" strike="noStrike">
                          <a:effectLst/>
                          <a:latin typeface="Arial" panose="020B0604020202020204" pitchFamily="34" charset="0"/>
                        </a:rPr>
                        <a:t> do they have for </a:t>
                      </a:r>
                      <a:r>
                        <a:rPr lang="en-US" sz="1000" b="0" i="0" u="none" strike="noStrike">
                          <a:solidFill>
                            <a:srgbClr val="0070C0"/>
                          </a:solidFill>
                          <a:effectLst/>
                          <a:latin typeface="Arial" panose="020B0604020202020204" pitchFamily="34" charset="0"/>
                        </a:rPr>
                        <a:t>R&amp;O</a:t>
                      </a:r>
                      <a:r>
                        <a:rPr lang="en-US" sz="1000" b="0" i="0" u="none" strike="noStrike">
                          <a:effectLst/>
                          <a:latin typeface="Arial" panose="020B0604020202020204" pitchFamily="34" charset="0"/>
                        </a:rPr>
                        <a:t>? What level of R&amp;O capability do they have? Locations?</a:t>
                      </a:r>
                    </a:p>
                  </a:txBody>
                  <a:tcPr marL="0" marR="0" marT="0" marB="0" anchor="ctr">
                    <a:lnL>
                      <a:noFill/>
                    </a:lnL>
                    <a:lnR>
                      <a:noFill/>
                    </a:lnR>
                    <a:lnT>
                      <a:noFill/>
                    </a:lnT>
                    <a:lnB>
                      <a:noFill/>
                    </a:lnB>
                  </a:tcPr>
                </a:tc>
                <a:extLst>
                  <a:ext uri="{0D108BD9-81ED-4DB2-BD59-A6C34878D82A}">
                    <a16:rowId xmlns:a16="http://schemas.microsoft.com/office/drawing/2014/main" val="1095524283"/>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How do they manage and communicate ROCAP-like </a:t>
                      </a:r>
                      <a:r>
                        <a:rPr lang="en-US" sz="1000" b="0" i="0" u="none" strike="noStrike">
                          <a:solidFill>
                            <a:srgbClr val="0070C0"/>
                          </a:solidFill>
                          <a:effectLst/>
                          <a:latin typeface="Arial" panose="020B0604020202020204" pitchFamily="34" charset="0"/>
                        </a:rPr>
                        <a:t>repair info</a:t>
                      </a:r>
                      <a:r>
                        <a:rPr lang="en-US" sz="1000" b="0" i="0" u="none" strike="noStrike">
                          <a:effectLst/>
                          <a:latin typeface="Arial" panose="020B0604020202020204" pitchFamily="34" charset="0"/>
                        </a:rPr>
                        <a:t> for customers?</a:t>
                      </a:r>
                    </a:p>
                  </a:txBody>
                  <a:tcPr marL="0" marR="0" marT="0" marB="0" anchor="ctr">
                    <a:lnL>
                      <a:noFill/>
                    </a:lnL>
                    <a:lnR>
                      <a:noFill/>
                    </a:lnR>
                    <a:lnT>
                      <a:noFill/>
                    </a:lnT>
                    <a:lnB>
                      <a:noFill/>
                    </a:lnB>
                  </a:tcPr>
                </a:tc>
                <a:extLst>
                  <a:ext uri="{0D108BD9-81ED-4DB2-BD59-A6C34878D82A}">
                    <a16:rowId xmlns:a16="http://schemas.microsoft.com/office/drawing/2014/main" val="2029110580"/>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How are</a:t>
                      </a:r>
                      <a:r>
                        <a:rPr lang="en-US" sz="1000" b="0" i="0" u="none" strike="noStrike">
                          <a:solidFill>
                            <a:srgbClr val="0070C0"/>
                          </a:solidFill>
                          <a:effectLst/>
                          <a:latin typeface="Arial" panose="020B0604020202020204" pitchFamily="34" charset="0"/>
                        </a:rPr>
                        <a:t> contracts &amp; warranty </a:t>
                      </a:r>
                      <a:r>
                        <a:rPr lang="en-US" sz="1000" b="0" i="0" u="none" strike="noStrike">
                          <a:effectLst/>
                          <a:latin typeface="Arial" panose="020B0604020202020204" pitchFamily="34" charset="0"/>
                        </a:rPr>
                        <a:t>administrated?</a:t>
                      </a:r>
                    </a:p>
                  </a:txBody>
                  <a:tcPr marL="0" marR="0" marT="0" marB="0" anchor="ctr">
                    <a:lnL>
                      <a:noFill/>
                    </a:lnL>
                    <a:lnR>
                      <a:noFill/>
                    </a:lnR>
                    <a:lnT>
                      <a:noFill/>
                    </a:lnT>
                    <a:lnB>
                      <a:noFill/>
                    </a:lnB>
                  </a:tcPr>
                </a:tc>
                <a:extLst>
                  <a:ext uri="{0D108BD9-81ED-4DB2-BD59-A6C34878D82A}">
                    <a16:rowId xmlns:a16="http://schemas.microsoft.com/office/drawing/2014/main" val="3255966086"/>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the process and policy for </a:t>
                      </a:r>
                      <a:r>
                        <a:rPr lang="en-US" sz="1000" b="0" i="0" u="none" strike="noStrike">
                          <a:solidFill>
                            <a:srgbClr val="0070C0"/>
                          </a:solidFill>
                          <a:effectLst/>
                          <a:latin typeface="Arial" panose="020B0604020202020204" pitchFamily="34" charset="0"/>
                        </a:rPr>
                        <a:t>RMA</a:t>
                      </a:r>
                      <a:r>
                        <a:rPr lang="en-US" sz="1000" b="0" i="0" u="none" strike="noStrike">
                          <a:effectLst/>
                          <a:latin typeface="Arial" panose="020B0604020202020204" pitchFamily="34" charset="0"/>
                        </a:rPr>
                        <a:t>?</a:t>
                      </a:r>
                    </a:p>
                  </a:txBody>
                  <a:tcPr marL="0" marR="0" marT="0" marB="0" anchor="ctr">
                    <a:lnL>
                      <a:noFill/>
                    </a:lnL>
                    <a:lnR>
                      <a:noFill/>
                    </a:lnR>
                    <a:lnT>
                      <a:noFill/>
                    </a:lnT>
                    <a:lnB>
                      <a:noFill/>
                    </a:lnB>
                  </a:tcPr>
                </a:tc>
                <a:extLst>
                  <a:ext uri="{0D108BD9-81ED-4DB2-BD59-A6C34878D82A}">
                    <a16:rowId xmlns:a16="http://schemas.microsoft.com/office/drawing/2014/main" val="1898667860"/>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the process for </a:t>
                      </a:r>
                      <a:r>
                        <a:rPr lang="en-US" sz="1000" b="0" i="0" u="none" strike="noStrike">
                          <a:solidFill>
                            <a:srgbClr val="0070C0"/>
                          </a:solidFill>
                          <a:effectLst/>
                          <a:latin typeface="Arial" panose="020B0604020202020204" pitchFamily="34" charset="0"/>
                        </a:rPr>
                        <a:t>disputes</a:t>
                      </a:r>
                      <a:r>
                        <a:rPr lang="en-US" sz="1000" b="0" i="0" u="none" strike="noStrike">
                          <a:effectLst/>
                          <a:latin typeface="Arial" panose="020B0604020202020204" pitchFamily="34" charset="0"/>
                        </a:rPr>
                        <a:t>?</a:t>
                      </a:r>
                    </a:p>
                  </a:txBody>
                  <a:tcPr marL="0" marR="0" marT="0" marB="0" anchor="ctr">
                    <a:lnL>
                      <a:noFill/>
                    </a:lnL>
                    <a:lnR>
                      <a:noFill/>
                    </a:lnR>
                    <a:lnT>
                      <a:noFill/>
                    </a:lnT>
                    <a:lnB>
                      <a:noFill/>
                    </a:lnB>
                  </a:tcPr>
                </a:tc>
                <a:extLst>
                  <a:ext uri="{0D108BD9-81ED-4DB2-BD59-A6C34878D82A}">
                    <a16:rowId xmlns:a16="http://schemas.microsoft.com/office/drawing/2014/main" val="1575808440"/>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a:t>
                      </a:r>
                      <a:r>
                        <a:rPr lang="en-US" sz="1000" b="0" i="0" u="none" strike="noStrike">
                          <a:solidFill>
                            <a:srgbClr val="0070C0"/>
                          </a:solidFill>
                          <a:effectLst/>
                          <a:latin typeface="Arial" panose="020B0604020202020204" pitchFamily="34" charset="0"/>
                        </a:rPr>
                        <a:t>tech support</a:t>
                      </a:r>
                      <a:r>
                        <a:rPr lang="en-US" sz="1000" b="0" i="0" u="none" strike="noStrike">
                          <a:effectLst/>
                          <a:latin typeface="Arial" panose="020B0604020202020204" pitchFamily="34" charset="0"/>
                        </a:rPr>
                        <a:t> capability do they provide? Hotline? 24/7? Field service available? </a:t>
                      </a:r>
                    </a:p>
                  </a:txBody>
                  <a:tcPr marL="0" marR="0" marT="0" marB="0" anchor="ctr">
                    <a:lnL>
                      <a:noFill/>
                    </a:lnL>
                    <a:lnR>
                      <a:noFill/>
                    </a:lnR>
                    <a:lnT>
                      <a:noFill/>
                    </a:lnT>
                    <a:lnB>
                      <a:noFill/>
                    </a:lnB>
                  </a:tcPr>
                </a:tc>
                <a:extLst>
                  <a:ext uri="{0D108BD9-81ED-4DB2-BD59-A6C34878D82A}">
                    <a16:rowId xmlns:a16="http://schemas.microsoft.com/office/drawing/2014/main" val="866849120"/>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Can they support </a:t>
                      </a:r>
                      <a:r>
                        <a:rPr lang="en-US" sz="1000" b="0" i="0" u="none" strike="noStrike">
                          <a:solidFill>
                            <a:srgbClr val="0070C0"/>
                          </a:solidFill>
                          <a:effectLst/>
                          <a:latin typeface="Arial" panose="020B0604020202020204" pitchFamily="34" charset="0"/>
                        </a:rPr>
                        <a:t>reliability</a:t>
                      </a:r>
                      <a:r>
                        <a:rPr lang="en-US" sz="1000" b="0" i="0" u="none" strike="noStrike">
                          <a:effectLst/>
                          <a:latin typeface="Arial" panose="020B0604020202020204" pitchFamily="34" charset="0"/>
                        </a:rPr>
                        <a:t> issue and product improvement? </a:t>
                      </a:r>
                    </a:p>
                  </a:txBody>
                  <a:tcPr marL="0" marR="0" marT="0" marB="0" anchor="ctr">
                    <a:lnL>
                      <a:noFill/>
                    </a:lnL>
                    <a:lnR>
                      <a:noFill/>
                    </a:lnR>
                    <a:lnT>
                      <a:noFill/>
                    </a:lnT>
                    <a:lnB>
                      <a:noFill/>
                    </a:lnB>
                  </a:tcPr>
                </a:tc>
                <a:extLst>
                  <a:ext uri="{0D108BD9-81ED-4DB2-BD59-A6C34878D82A}">
                    <a16:rowId xmlns:a16="http://schemas.microsoft.com/office/drawing/2014/main" val="616770526"/>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Do they have </a:t>
                      </a:r>
                      <a:r>
                        <a:rPr lang="en-US" sz="1000" b="0" i="0" u="none" strike="noStrike">
                          <a:solidFill>
                            <a:srgbClr val="0070C0"/>
                          </a:solidFill>
                          <a:effectLst/>
                          <a:latin typeface="Arial" panose="020B0604020202020204" pitchFamily="34" charset="0"/>
                        </a:rPr>
                        <a:t>obsolescence</a:t>
                      </a:r>
                      <a:r>
                        <a:rPr lang="en-US" sz="1000" b="0" i="0" u="none" strike="noStrike">
                          <a:effectLst/>
                          <a:latin typeface="Arial" panose="020B0604020202020204" pitchFamily="34" charset="0"/>
                        </a:rPr>
                        <a:t> support capability?</a:t>
                      </a:r>
                    </a:p>
                  </a:txBody>
                  <a:tcPr marL="0" marR="0" marT="0" marB="0" anchor="ctr">
                    <a:lnL>
                      <a:noFill/>
                    </a:lnL>
                    <a:lnR>
                      <a:noFill/>
                    </a:lnR>
                    <a:lnT>
                      <a:noFill/>
                    </a:lnT>
                    <a:lnB>
                      <a:noFill/>
                    </a:lnB>
                  </a:tcPr>
                </a:tc>
                <a:extLst>
                  <a:ext uri="{0D108BD9-81ED-4DB2-BD59-A6C34878D82A}">
                    <a16:rowId xmlns:a16="http://schemas.microsoft.com/office/drawing/2014/main" val="2370704540"/>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Do they have </a:t>
                      </a:r>
                      <a:r>
                        <a:rPr lang="en-US" sz="1000" b="0" i="0" u="none" strike="noStrike">
                          <a:solidFill>
                            <a:srgbClr val="0070C0"/>
                          </a:solidFill>
                          <a:effectLst/>
                          <a:latin typeface="Arial" panose="020B0604020202020204" pitchFamily="34" charset="0"/>
                        </a:rPr>
                        <a:t>build-ahead</a:t>
                      </a:r>
                      <a:r>
                        <a:rPr lang="en-US" sz="1000" b="0" i="0" u="none" strike="noStrike">
                          <a:effectLst/>
                          <a:latin typeface="Arial" panose="020B0604020202020204" pitchFamily="34" charset="0"/>
                        </a:rPr>
                        <a:t> capability, if needed? TE/tooling/skills in place?</a:t>
                      </a:r>
                    </a:p>
                  </a:txBody>
                  <a:tcPr marL="0" marR="0" marT="0" marB="0" anchor="ctr">
                    <a:lnL>
                      <a:noFill/>
                    </a:lnL>
                    <a:lnR>
                      <a:noFill/>
                    </a:lnR>
                    <a:lnT>
                      <a:noFill/>
                    </a:lnT>
                    <a:lnB>
                      <a:noFill/>
                    </a:lnB>
                  </a:tcPr>
                </a:tc>
                <a:extLst>
                  <a:ext uri="{0D108BD9-81ED-4DB2-BD59-A6C34878D82A}">
                    <a16:rowId xmlns:a16="http://schemas.microsoft.com/office/drawing/2014/main" val="972210231"/>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Do they have capability to support</a:t>
                      </a:r>
                      <a:r>
                        <a:rPr lang="en-US" sz="1000" b="0" i="0" u="none" strike="noStrike">
                          <a:solidFill>
                            <a:srgbClr val="0070C0"/>
                          </a:solidFill>
                          <a:effectLst/>
                          <a:latin typeface="Arial" panose="020B0604020202020204" pitchFamily="34" charset="0"/>
                        </a:rPr>
                        <a:t> PSAA/SSC</a:t>
                      </a:r>
                      <a:r>
                        <a:rPr lang="en-US" sz="1000" b="0" i="0" u="none" strike="noStrike">
                          <a:effectLst/>
                          <a:latin typeface="Arial" panose="020B0604020202020204" pitchFamily="34" charset="0"/>
                        </a:rPr>
                        <a:t> obligations in general, incl. 4-hr AOG per PSAA?</a:t>
                      </a:r>
                    </a:p>
                  </a:txBody>
                  <a:tcPr marL="0" marR="0" marT="0" marB="0" anchor="ctr">
                    <a:lnL>
                      <a:noFill/>
                    </a:lnL>
                    <a:lnR>
                      <a:noFill/>
                    </a:lnR>
                    <a:lnT>
                      <a:noFill/>
                    </a:lnT>
                    <a:lnB>
                      <a:noFill/>
                    </a:lnB>
                  </a:tcPr>
                </a:tc>
                <a:extLst>
                  <a:ext uri="{0D108BD9-81ED-4DB2-BD59-A6C34878D82A}">
                    <a16:rowId xmlns:a16="http://schemas.microsoft.com/office/drawing/2014/main" val="678033076"/>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How do they measure CSAT? Survey feedback available? </a:t>
                      </a:r>
                      <a:r>
                        <a:rPr lang="en-US" sz="1000" b="0" i="0" u="none" strike="noStrike">
                          <a:solidFill>
                            <a:srgbClr val="0070C0"/>
                          </a:solidFill>
                          <a:effectLst/>
                          <a:latin typeface="Arial" panose="020B0604020202020204" pitchFamily="34" charset="0"/>
                        </a:rPr>
                        <a:t>Reputation </a:t>
                      </a:r>
                      <a:r>
                        <a:rPr lang="en-US" sz="1000" b="0" i="0" u="none" strike="noStrike">
                          <a:effectLst/>
                          <a:latin typeface="Arial" panose="020B0604020202020204" pitchFamily="34" charset="0"/>
                        </a:rPr>
                        <a:t>in general? </a:t>
                      </a:r>
                    </a:p>
                  </a:txBody>
                  <a:tcPr marL="0" marR="0" marT="0" marB="0" anchor="ctr">
                    <a:lnL>
                      <a:noFill/>
                    </a:lnL>
                    <a:lnR>
                      <a:noFill/>
                    </a:lnR>
                    <a:lnT>
                      <a:noFill/>
                    </a:lnT>
                    <a:lnB>
                      <a:noFill/>
                    </a:lnB>
                  </a:tcPr>
                </a:tc>
                <a:extLst>
                  <a:ext uri="{0D108BD9-81ED-4DB2-BD59-A6C34878D82A}">
                    <a16:rowId xmlns:a16="http://schemas.microsoft.com/office/drawing/2014/main" val="2011867951"/>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Do they have a previous </a:t>
                      </a:r>
                      <a:r>
                        <a:rPr lang="en-US" sz="1000" b="0" i="0" u="none" strike="noStrike">
                          <a:solidFill>
                            <a:srgbClr val="0070C0"/>
                          </a:solidFill>
                          <a:effectLst/>
                          <a:latin typeface="Arial" panose="020B0604020202020204" pitchFamily="34" charset="0"/>
                        </a:rPr>
                        <a:t>experience</a:t>
                      </a:r>
                      <a:r>
                        <a:rPr lang="en-US" sz="1000" b="0" i="0" u="none" strike="noStrike">
                          <a:effectLst/>
                          <a:latin typeface="Arial" panose="020B0604020202020204" pitchFamily="34" charset="0"/>
                        </a:rPr>
                        <a:t> w the licensed product, or need to gain and be trained?</a:t>
                      </a:r>
                    </a:p>
                  </a:txBody>
                  <a:tcPr marL="0" marR="0" marT="0" marB="0" anchor="ctr">
                    <a:lnL>
                      <a:noFill/>
                    </a:lnL>
                    <a:lnR>
                      <a:noFill/>
                    </a:lnR>
                    <a:lnT>
                      <a:noFill/>
                    </a:lnT>
                    <a:lnB>
                      <a:noFill/>
                    </a:lnB>
                  </a:tcPr>
                </a:tc>
                <a:extLst>
                  <a:ext uri="{0D108BD9-81ED-4DB2-BD59-A6C34878D82A}">
                    <a16:rowId xmlns:a16="http://schemas.microsoft.com/office/drawing/2014/main" val="675316035"/>
                  </a:ext>
                </a:extLst>
              </a:tr>
              <a:tr h="165100">
                <a:tc>
                  <a:txBody>
                    <a:bodyPr/>
                    <a:lstStyle/>
                    <a:p>
                      <a:pPr algn="ctr" fontAlgn="ctr"/>
                      <a:endParaRPr lang="en-US" sz="1000" b="1"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Is there a dedicated transition leader/</a:t>
                      </a:r>
                      <a:r>
                        <a:rPr lang="en-US" sz="1000" b="0" i="0" u="none" strike="noStrike">
                          <a:solidFill>
                            <a:srgbClr val="0070C0"/>
                          </a:solidFill>
                          <a:effectLst/>
                          <a:latin typeface="Arial" panose="020B0604020202020204" pitchFamily="34" charset="0"/>
                        </a:rPr>
                        <a:t>team</a:t>
                      </a:r>
                      <a:r>
                        <a:rPr lang="en-US" sz="1000" b="0" i="0" u="none" strike="noStrike">
                          <a:effectLst/>
                          <a:latin typeface="Arial" panose="020B0604020202020204" pitchFamily="34" charset="0"/>
                        </a:rPr>
                        <a:t>? With what experience?</a:t>
                      </a:r>
                    </a:p>
                  </a:txBody>
                  <a:tcPr marL="0" marR="0" marT="0" marB="0" anchor="ctr">
                    <a:lnL>
                      <a:noFill/>
                    </a:lnL>
                    <a:lnR>
                      <a:noFill/>
                    </a:lnR>
                    <a:lnT>
                      <a:noFill/>
                    </a:lnT>
                    <a:lnB>
                      <a:noFill/>
                    </a:lnB>
                  </a:tcPr>
                </a:tc>
                <a:extLst>
                  <a:ext uri="{0D108BD9-81ED-4DB2-BD59-A6C34878D82A}">
                    <a16:rowId xmlns:a16="http://schemas.microsoft.com/office/drawing/2014/main" val="2554065735"/>
                  </a:ext>
                </a:extLst>
              </a:tr>
            </a:tbl>
          </a:graphicData>
        </a:graphic>
      </p:graphicFrame>
      <p:graphicFrame>
        <p:nvGraphicFramePr>
          <p:cNvPr id="8" name="Table 7">
            <a:extLst>
              <a:ext uri="{FF2B5EF4-FFF2-40B4-BE49-F238E27FC236}">
                <a16:creationId xmlns:a16="http://schemas.microsoft.com/office/drawing/2014/main" id="{05416FD4-CAF7-5191-6505-4AED9414BA84}"/>
              </a:ext>
            </a:extLst>
          </p:cNvPr>
          <p:cNvGraphicFramePr>
            <a:graphicFrameLocks noGrp="1"/>
          </p:cNvGraphicFramePr>
          <p:nvPr/>
        </p:nvGraphicFramePr>
        <p:xfrm>
          <a:off x="213360" y="2455872"/>
          <a:ext cx="5867400" cy="1911350"/>
        </p:xfrm>
        <a:graphic>
          <a:graphicData uri="http://schemas.openxmlformats.org/drawingml/2006/table">
            <a:tbl>
              <a:tblPr/>
              <a:tblGrid>
                <a:gridCol w="279400">
                  <a:extLst>
                    <a:ext uri="{9D8B030D-6E8A-4147-A177-3AD203B41FA5}">
                      <a16:colId xmlns:a16="http://schemas.microsoft.com/office/drawing/2014/main" val="54394298"/>
                    </a:ext>
                  </a:extLst>
                </a:gridCol>
                <a:gridCol w="5588000">
                  <a:extLst>
                    <a:ext uri="{9D8B030D-6E8A-4147-A177-3AD203B41FA5}">
                      <a16:colId xmlns:a16="http://schemas.microsoft.com/office/drawing/2014/main" val="2612439275"/>
                    </a:ext>
                  </a:extLst>
                </a:gridCol>
              </a:tblGrid>
              <a:tr h="165100">
                <a:tc>
                  <a:txBody>
                    <a:bodyPr/>
                    <a:lstStyle/>
                    <a:p>
                      <a:pPr algn="ctr" fontAlgn="ctr"/>
                      <a:r>
                        <a:rPr lang="en-US" sz="1000" b="1" i="0" u="none" strike="noStrike">
                          <a:effectLst/>
                          <a:latin typeface="Arial" panose="020B0604020202020204" pitchFamily="34" charset="0"/>
                        </a:rPr>
                        <a:t>1.1</a:t>
                      </a:r>
                    </a:p>
                  </a:txBody>
                  <a:tcPr marL="0" marR="0" marT="0" marB="0" anchor="ctr">
                    <a:lnL>
                      <a:noFill/>
                    </a:lnL>
                    <a:lnR>
                      <a:noFill/>
                    </a:lnR>
                    <a:lnT>
                      <a:noFill/>
                    </a:lnT>
                    <a:lnB>
                      <a:noFill/>
                    </a:lnB>
                  </a:tcPr>
                </a:tc>
                <a:tc>
                  <a:txBody>
                    <a:bodyPr/>
                    <a:lstStyle/>
                    <a:p>
                      <a:pPr algn="l" fontAlgn="ctr"/>
                      <a:r>
                        <a:rPr lang="en-US" sz="1000" b="1" i="0" u="none" strike="noStrike">
                          <a:effectLst/>
                          <a:latin typeface="Arial" panose="020B0604020202020204" pitchFamily="34" charset="0"/>
                        </a:rPr>
                        <a:t>Impact to key customers</a:t>
                      </a:r>
                    </a:p>
                  </a:txBody>
                  <a:tcPr marL="0" marR="0" marT="0" marB="0" anchor="ctr">
                    <a:lnL>
                      <a:noFill/>
                    </a:lnL>
                    <a:lnR>
                      <a:noFill/>
                    </a:lnR>
                    <a:lnT>
                      <a:noFill/>
                    </a:lnT>
                    <a:lnB>
                      <a:noFill/>
                    </a:lnB>
                  </a:tcPr>
                </a:tc>
                <a:extLst>
                  <a:ext uri="{0D108BD9-81ED-4DB2-BD59-A6C34878D82A}">
                    <a16:rowId xmlns:a16="http://schemas.microsoft.com/office/drawing/2014/main" val="2159951103"/>
                  </a:ext>
                </a:extLst>
              </a:tr>
              <a:tr h="15875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ich </a:t>
                      </a:r>
                      <a:r>
                        <a:rPr lang="en-US" sz="1000" b="0" i="0" u="none" strike="noStrike">
                          <a:solidFill>
                            <a:srgbClr val="0070C0"/>
                          </a:solidFill>
                          <a:effectLst/>
                          <a:latin typeface="Arial" panose="020B0604020202020204" pitchFamily="34" charset="0"/>
                        </a:rPr>
                        <a:t>customers</a:t>
                      </a:r>
                      <a:r>
                        <a:rPr lang="en-US" sz="1000" b="0" i="0" u="none" strike="noStrike">
                          <a:effectLst/>
                          <a:latin typeface="Arial" panose="020B0604020202020204" pitchFamily="34" charset="0"/>
                        </a:rPr>
                        <a:t> are potentially impacted (</a:t>
                      </a:r>
                      <a:r>
                        <a:rPr lang="en-US" sz="1000" b="0" i="0" u="none" strike="noStrike" err="1">
                          <a:effectLst/>
                          <a:latin typeface="Arial" panose="020B0604020202020204" pitchFamily="34" charset="0"/>
                        </a:rPr>
                        <a:t>rev+vol</a:t>
                      </a:r>
                      <a:r>
                        <a:rPr lang="en-US" sz="1000" b="0" i="0" u="none" strike="noStrike">
                          <a:effectLst/>
                          <a:latin typeface="Arial" panose="020B0604020202020204" pitchFamily="34" charset="0"/>
                        </a:rPr>
                        <a:t>.)? Any of them requires special attention/plan?</a:t>
                      </a:r>
                    </a:p>
                  </a:txBody>
                  <a:tcPr marL="0" marR="0" marT="0" marB="0" anchor="ctr">
                    <a:lnL>
                      <a:noFill/>
                    </a:lnL>
                    <a:lnR>
                      <a:noFill/>
                    </a:lnR>
                    <a:lnT>
                      <a:noFill/>
                    </a:lnT>
                    <a:lnB>
                      <a:noFill/>
                    </a:lnB>
                  </a:tcPr>
                </a:tc>
                <a:extLst>
                  <a:ext uri="{0D108BD9-81ED-4DB2-BD59-A6C34878D82A}">
                    <a16:rowId xmlns:a16="http://schemas.microsoft.com/office/drawing/2014/main" val="3250817462"/>
                  </a:ext>
                </a:extLst>
              </a:tr>
              <a:tr h="15875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ich customers are on the </a:t>
                      </a:r>
                      <a:r>
                        <a:rPr lang="en-US" sz="1000" b="0" i="0" u="none" strike="noStrike">
                          <a:solidFill>
                            <a:srgbClr val="0070C0"/>
                          </a:solidFill>
                          <a:effectLst/>
                          <a:latin typeface="Arial" panose="020B0604020202020204" pitchFamily="34" charset="0"/>
                        </a:rPr>
                        <a:t>consent</a:t>
                      </a:r>
                      <a:r>
                        <a:rPr lang="en-US" sz="1000" b="0" i="0" u="none" strike="noStrike">
                          <a:effectLst/>
                          <a:latin typeface="Arial" panose="020B0604020202020204" pitchFamily="34" charset="0"/>
                        </a:rPr>
                        <a:t> list? On </a:t>
                      </a:r>
                      <a:r>
                        <a:rPr lang="en-US" sz="1000" b="0" i="0" u="none" strike="noStrike">
                          <a:solidFill>
                            <a:srgbClr val="0070C0"/>
                          </a:solidFill>
                          <a:effectLst/>
                          <a:latin typeface="Arial" panose="020B0604020202020204" pitchFamily="34" charset="0"/>
                        </a:rPr>
                        <a:t>MSA/MSP</a:t>
                      </a:r>
                      <a:r>
                        <a:rPr lang="en-US" sz="1000" b="0" i="0" u="none" strike="noStrike">
                          <a:effectLst/>
                          <a:latin typeface="Arial" panose="020B0604020202020204" pitchFamily="34" charset="0"/>
                        </a:rPr>
                        <a:t> list? Any potential risks or issues?</a:t>
                      </a:r>
                    </a:p>
                  </a:txBody>
                  <a:tcPr marL="0" marR="0" marT="0" marB="0" anchor="ctr">
                    <a:lnL>
                      <a:noFill/>
                    </a:lnL>
                    <a:lnR>
                      <a:noFill/>
                    </a:lnR>
                    <a:lnT>
                      <a:noFill/>
                    </a:lnT>
                    <a:lnB>
                      <a:noFill/>
                    </a:lnB>
                  </a:tcPr>
                </a:tc>
                <a:extLst>
                  <a:ext uri="{0D108BD9-81ED-4DB2-BD59-A6C34878D82A}">
                    <a16:rowId xmlns:a16="http://schemas.microsoft.com/office/drawing/2014/main" val="81515112"/>
                  </a:ext>
                </a:extLst>
              </a:tr>
              <a:tr h="15875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If the licensee is </a:t>
                      </a:r>
                      <a:r>
                        <a:rPr lang="en-US" sz="1000" b="0" i="0" u="none" strike="noStrike">
                          <a:solidFill>
                            <a:srgbClr val="0070C0"/>
                          </a:solidFill>
                          <a:effectLst/>
                          <a:latin typeface="Arial" panose="020B0604020202020204" pitchFamily="34" charset="0"/>
                        </a:rPr>
                        <a:t>not authorized</a:t>
                      </a:r>
                      <a:r>
                        <a:rPr lang="en-US" sz="1000" b="0" i="0" u="none" strike="noStrike">
                          <a:effectLst/>
                          <a:latin typeface="Arial" panose="020B0604020202020204" pitchFamily="34" charset="0"/>
                        </a:rPr>
                        <a:t> by certain customers (esp. OE), any challenge to get authorized?</a:t>
                      </a:r>
                    </a:p>
                  </a:txBody>
                  <a:tcPr marL="0" marR="0" marT="0" marB="0" anchor="ctr">
                    <a:lnL>
                      <a:noFill/>
                    </a:lnL>
                    <a:lnR>
                      <a:noFill/>
                    </a:lnR>
                    <a:lnT>
                      <a:noFill/>
                    </a:lnT>
                    <a:lnB>
                      <a:noFill/>
                    </a:lnB>
                  </a:tcPr>
                </a:tc>
                <a:extLst>
                  <a:ext uri="{0D108BD9-81ED-4DB2-BD59-A6C34878D82A}">
                    <a16:rowId xmlns:a16="http://schemas.microsoft.com/office/drawing/2014/main" val="3226049373"/>
                  </a:ext>
                </a:extLst>
              </a:tr>
              <a:tr h="15875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ich customers have high </a:t>
                      </a:r>
                      <a:r>
                        <a:rPr lang="en-US" sz="1000" b="0" i="0" u="none" strike="noStrike">
                          <a:solidFill>
                            <a:srgbClr val="0070C0"/>
                          </a:solidFill>
                          <a:effectLst/>
                          <a:latin typeface="Arial" panose="020B0604020202020204" pitchFamily="34" charset="0"/>
                        </a:rPr>
                        <a:t>AOG</a:t>
                      </a:r>
                      <a:r>
                        <a:rPr lang="en-US" sz="1000" b="0" i="0" u="none" strike="noStrike">
                          <a:effectLst/>
                          <a:latin typeface="Arial" panose="020B0604020202020204" pitchFamily="34" charset="0"/>
                        </a:rPr>
                        <a:t> demand in past 3 years against what PNs?</a:t>
                      </a:r>
                    </a:p>
                  </a:txBody>
                  <a:tcPr marL="0" marR="0" marT="0" marB="0" anchor="ctr">
                    <a:lnL>
                      <a:noFill/>
                    </a:lnL>
                    <a:lnR>
                      <a:noFill/>
                    </a:lnR>
                    <a:lnT>
                      <a:noFill/>
                    </a:lnT>
                    <a:lnB>
                      <a:noFill/>
                    </a:lnB>
                  </a:tcPr>
                </a:tc>
                <a:extLst>
                  <a:ext uri="{0D108BD9-81ED-4DB2-BD59-A6C34878D82A}">
                    <a16:rowId xmlns:a16="http://schemas.microsoft.com/office/drawing/2014/main" val="2717034196"/>
                  </a:ext>
                </a:extLst>
              </a:tr>
              <a:tr h="15875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effectLst/>
                          <a:latin typeface="Arial" panose="020B0604020202020204" pitchFamily="34" charset="0"/>
                        </a:rPr>
                        <a:t> - What is HON's obligations under </a:t>
                      </a:r>
                      <a:r>
                        <a:rPr lang="en-US" sz="1000" b="0" i="0" u="none" strike="noStrike">
                          <a:solidFill>
                            <a:srgbClr val="0070C0"/>
                          </a:solidFill>
                          <a:effectLst/>
                          <a:latin typeface="Arial" panose="020B0604020202020204" pitchFamily="34" charset="0"/>
                        </a:rPr>
                        <a:t>PSAA/SSC</a:t>
                      </a:r>
                      <a:r>
                        <a:rPr lang="en-US" sz="1000" b="0" i="0" u="none" strike="noStrike">
                          <a:effectLst/>
                          <a:latin typeface="Arial" panose="020B0604020202020204" pitchFamily="34" charset="0"/>
                        </a:rPr>
                        <a:t> for the affected products?</a:t>
                      </a:r>
                    </a:p>
                  </a:txBody>
                  <a:tcPr marL="0" marR="0" marT="0" marB="0" anchor="ctr">
                    <a:lnL>
                      <a:noFill/>
                    </a:lnL>
                    <a:lnR>
                      <a:noFill/>
                    </a:lnR>
                    <a:lnT>
                      <a:noFill/>
                    </a:lnT>
                    <a:lnB>
                      <a:noFill/>
                    </a:lnB>
                  </a:tcPr>
                </a:tc>
                <a:extLst>
                  <a:ext uri="{0D108BD9-81ED-4DB2-BD59-A6C34878D82A}">
                    <a16:rowId xmlns:a16="http://schemas.microsoft.com/office/drawing/2014/main" val="3745606383"/>
                  </a:ext>
                </a:extLst>
              </a:tr>
              <a:tr h="317500">
                <a:tc>
                  <a:txBody>
                    <a:bodyPr/>
                    <a:lstStyle/>
                    <a:p>
                      <a:pPr algn="ctr" fontAlgn="ctr"/>
                      <a:endParaRPr lang="en-US" sz="1000" b="0" i="0" u="none" strike="noStrike">
                        <a:effectLst/>
                        <a:latin typeface="Arial" panose="020B0604020202020204" pitchFamily="34" charset="0"/>
                      </a:endParaRPr>
                    </a:p>
                  </a:txBody>
                  <a:tcPr marL="0" marR="0" marT="0" marB="0" anchor="ctr">
                    <a:lnL>
                      <a:noFill/>
                    </a:lnL>
                    <a:lnR>
                      <a:noFill/>
                    </a:lnR>
                    <a:lnT>
                      <a:noFill/>
                    </a:lnT>
                    <a:lnB>
                      <a:noFill/>
                    </a:lnB>
                  </a:tcPr>
                </a:tc>
                <a:tc>
                  <a:txBody>
                    <a:bodyPr/>
                    <a:lstStyle/>
                    <a:p>
                      <a:pPr algn="l" fontAlgn="ctr"/>
                      <a:r>
                        <a:rPr lang="en-US" sz="1000" b="0" i="0" u="none" strike="noStrike">
                          <a:solidFill>
                            <a:srgbClr val="000000"/>
                          </a:solidFill>
                          <a:effectLst/>
                          <a:latin typeface="Arial" panose="020B0604020202020204" pitchFamily="34" charset="0"/>
                        </a:rPr>
                        <a:t> - How to transfer customers under </a:t>
                      </a:r>
                      <a:r>
                        <a:rPr lang="en-US" sz="1000" b="0" i="0" u="none" strike="noStrike">
                          <a:solidFill>
                            <a:srgbClr val="0070C0"/>
                          </a:solidFill>
                          <a:effectLst/>
                          <a:latin typeface="Arial" panose="020B0604020202020204" pitchFamily="34" charset="0"/>
                        </a:rPr>
                        <a:t>MSA</a:t>
                      </a:r>
                      <a:r>
                        <a:rPr lang="en-US" sz="1000" b="0" i="0" u="none" strike="noStrike">
                          <a:solidFill>
                            <a:srgbClr val="000000"/>
                          </a:solidFill>
                          <a:effectLst/>
                          <a:latin typeface="Arial" panose="020B0604020202020204" pitchFamily="34" charset="0"/>
                        </a:rPr>
                        <a:t>? To amend contracts and adjust rate? Or no contract change but just do a rev reconciliation w licensee?</a:t>
                      </a:r>
                    </a:p>
                  </a:txBody>
                  <a:tcPr marL="0" marR="0" marT="0" marB="0" anchor="ctr">
                    <a:lnL>
                      <a:noFill/>
                    </a:lnL>
                    <a:lnR>
                      <a:noFill/>
                    </a:lnR>
                    <a:lnT>
                      <a:noFill/>
                    </a:lnT>
                    <a:lnB>
                      <a:noFill/>
                    </a:lnB>
                  </a:tcPr>
                </a:tc>
                <a:extLst>
                  <a:ext uri="{0D108BD9-81ED-4DB2-BD59-A6C34878D82A}">
                    <a16:rowId xmlns:a16="http://schemas.microsoft.com/office/drawing/2014/main" val="1864982616"/>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ctr"/>
                      <a:r>
                        <a:rPr lang="en-US" sz="1000" b="0" i="0" u="none" strike="noStrike">
                          <a:solidFill>
                            <a:srgbClr val="000000"/>
                          </a:solidFill>
                          <a:effectLst/>
                          <a:latin typeface="Arial" panose="020B0604020202020204" pitchFamily="34" charset="0"/>
                        </a:rPr>
                        <a:t> - Any impact to existing/new </a:t>
                      </a:r>
                      <a:r>
                        <a:rPr lang="en-US" sz="1000" b="0" i="0" u="none" strike="noStrike">
                          <a:solidFill>
                            <a:srgbClr val="0070C0"/>
                          </a:solidFill>
                          <a:effectLst/>
                          <a:latin typeface="Arial" panose="020B0604020202020204" pitchFamily="34" charset="0"/>
                        </a:rPr>
                        <a:t>contracts</a:t>
                      </a:r>
                      <a:r>
                        <a:rPr lang="en-US" sz="1000" b="0" i="0" u="none" strike="noStrike">
                          <a:solidFill>
                            <a:srgbClr val="000000"/>
                          </a:solidFill>
                          <a:effectLst/>
                          <a:latin typeface="Arial" panose="020B0604020202020204" pitchFamily="34" charset="0"/>
                        </a:rPr>
                        <a:t> under negotiation, e.g. renewal, expansion?</a:t>
                      </a:r>
                    </a:p>
                  </a:txBody>
                  <a:tcPr marL="0" marR="0" marT="0" marB="0" anchor="ctr">
                    <a:lnL>
                      <a:noFill/>
                    </a:lnL>
                    <a:lnR>
                      <a:noFill/>
                    </a:lnR>
                    <a:lnT>
                      <a:noFill/>
                    </a:lnT>
                    <a:lnB>
                      <a:noFill/>
                    </a:lnB>
                  </a:tcPr>
                </a:tc>
                <a:extLst>
                  <a:ext uri="{0D108BD9-81ED-4DB2-BD59-A6C34878D82A}">
                    <a16:rowId xmlns:a16="http://schemas.microsoft.com/office/drawing/2014/main" val="2352426072"/>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ctr"/>
                      <a:r>
                        <a:rPr lang="en-US" sz="1000" b="0" i="0" u="none" strike="noStrike">
                          <a:solidFill>
                            <a:srgbClr val="000000"/>
                          </a:solidFill>
                          <a:effectLst/>
                          <a:latin typeface="Arial" panose="020B0604020202020204" pitchFamily="34" charset="0"/>
                        </a:rPr>
                        <a:t> - Any production </a:t>
                      </a:r>
                      <a:r>
                        <a:rPr lang="en-US" sz="1000" b="0" i="0" u="none" strike="noStrike">
                          <a:solidFill>
                            <a:srgbClr val="0070C0"/>
                          </a:solidFill>
                          <a:effectLst/>
                          <a:latin typeface="Arial" panose="020B0604020202020204" pitchFamily="34" charset="0"/>
                        </a:rPr>
                        <a:t>backlog</a:t>
                      </a:r>
                      <a:r>
                        <a:rPr lang="en-US" sz="1000" b="0" i="0" u="none" strike="noStrike">
                          <a:solidFill>
                            <a:srgbClr val="000000"/>
                          </a:solidFill>
                          <a:effectLst/>
                          <a:latin typeface="Arial" panose="020B0604020202020204" pitchFamily="34" charset="0"/>
                        </a:rPr>
                        <a:t> existing for key customers?</a:t>
                      </a:r>
                    </a:p>
                  </a:txBody>
                  <a:tcPr marL="0" marR="0" marT="0" marB="0" anchor="ctr">
                    <a:lnL>
                      <a:noFill/>
                    </a:lnL>
                    <a:lnR>
                      <a:noFill/>
                    </a:lnR>
                    <a:lnT>
                      <a:noFill/>
                    </a:lnT>
                    <a:lnB>
                      <a:noFill/>
                    </a:lnB>
                  </a:tcPr>
                </a:tc>
                <a:extLst>
                  <a:ext uri="{0D108BD9-81ED-4DB2-BD59-A6C34878D82A}">
                    <a16:rowId xmlns:a16="http://schemas.microsoft.com/office/drawing/2014/main" val="2088852970"/>
                  </a:ext>
                </a:extLst>
              </a:tr>
              <a:tr h="31750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ctr"/>
                      <a:r>
                        <a:rPr lang="en-US" sz="1000" b="0" i="0" u="none" strike="noStrike">
                          <a:solidFill>
                            <a:srgbClr val="000000"/>
                          </a:solidFill>
                          <a:effectLst/>
                          <a:latin typeface="Arial" panose="020B0604020202020204" pitchFamily="34" charset="0"/>
                        </a:rPr>
                        <a:t> - Are any PNs applicable for </a:t>
                      </a:r>
                      <a:r>
                        <a:rPr lang="en-US" sz="1000" b="0" i="0" u="none" strike="noStrike">
                          <a:solidFill>
                            <a:srgbClr val="0070C0"/>
                          </a:solidFill>
                          <a:effectLst/>
                          <a:latin typeface="Arial" panose="020B0604020202020204" pitchFamily="34" charset="0"/>
                        </a:rPr>
                        <a:t>NG A/C</a:t>
                      </a:r>
                      <a:r>
                        <a:rPr lang="en-US" sz="1000" b="0" i="0" u="none" strike="noStrike">
                          <a:solidFill>
                            <a:srgbClr val="000000"/>
                          </a:solidFill>
                          <a:effectLst/>
                          <a:latin typeface="Arial" panose="020B0604020202020204" pitchFamily="34" charset="0"/>
                        </a:rPr>
                        <a:t> (e.g. 4091900-941 display still in 777 production)? Is it considered 'legacy'? What's the potential impact to customers and HON?</a:t>
                      </a:r>
                    </a:p>
                  </a:txBody>
                  <a:tcPr marL="0" marR="0" marT="0" marB="0" anchor="ctr">
                    <a:lnL>
                      <a:noFill/>
                    </a:lnL>
                    <a:lnR>
                      <a:noFill/>
                    </a:lnR>
                    <a:lnT>
                      <a:noFill/>
                    </a:lnT>
                    <a:lnB>
                      <a:noFill/>
                    </a:lnB>
                  </a:tcPr>
                </a:tc>
                <a:extLst>
                  <a:ext uri="{0D108BD9-81ED-4DB2-BD59-A6C34878D82A}">
                    <a16:rowId xmlns:a16="http://schemas.microsoft.com/office/drawing/2014/main" val="1968059386"/>
                  </a:ext>
                </a:extLst>
              </a:tr>
            </a:tbl>
          </a:graphicData>
        </a:graphic>
      </p:graphicFrame>
    </p:spTree>
    <p:extLst>
      <p:ext uri="{BB962C8B-B14F-4D97-AF65-F5344CB8AC3E}">
        <p14:creationId xmlns:p14="http://schemas.microsoft.com/office/powerpoint/2010/main" val="3819394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1C5C69-1116-4D06-B098-F73657EFA66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C71C5C69-1116-4D06-B098-F73657EFA667}"/>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B96A37C-71C7-4D7A-A1A6-5D68340393DE}"/>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16" name="Rectangle 15">
            <a:extLst>
              <a:ext uri="{FF2B5EF4-FFF2-40B4-BE49-F238E27FC236}">
                <a16:creationId xmlns:a16="http://schemas.microsoft.com/office/drawing/2014/main" id="{8029C040-5EFA-4138-AD5F-B21BEEE78995}"/>
              </a:ext>
            </a:extLst>
          </p:cNvPr>
          <p:cNvSpPr/>
          <p:nvPr/>
        </p:nvSpPr>
        <p:spPr>
          <a:xfrm>
            <a:off x="186791" y="1056695"/>
            <a:ext cx="1377019" cy="838883"/>
          </a:xfrm>
          <a:prstGeom prst="rect">
            <a:avLst/>
          </a:prstGeom>
          <a:solidFill>
            <a:srgbClr val="DC2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10000"/>
              </a:lnSpc>
              <a:spcBef>
                <a:spcPct val="5000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SimSun" pitchFamily="2" charset="-122"/>
                <a:cs typeface="Calibri" panose="020F0502020204030204" pitchFamily="34" charset="0"/>
              </a:rPr>
              <a:t>Process </a:t>
            </a:r>
          </a:p>
        </p:txBody>
      </p:sp>
      <p:sp>
        <p:nvSpPr>
          <p:cNvPr id="42" name="Rectangle: Rounded Corners 41">
            <a:extLst>
              <a:ext uri="{FF2B5EF4-FFF2-40B4-BE49-F238E27FC236}">
                <a16:creationId xmlns:a16="http://schemas.microsoft.com/office/drawing/2014/main" id="{7FB26397-03C8-403C-95D9-AE01259E1A65}"/>
              </a:ext>
            </a:extLst>
          </p:cNvPr>
          <p:cNvSpPr/>
          <p:nvPr/>
        </p:nvSpPr>
        <p:spPr>
          <a:xfrm>
            <a:off x="3092509" y="1049155"/>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0 </a:t>
            </a:r>
            <a:r>
              <a:rPr kumimoji="0" lang="en-US" sz="1200" b="0" i="0" u="none" strike="noStrike" kern="1200" cap="none" spc="0" normalizeH="0" baseline="0" noProof="0">
                <a:ln>
                  <a:noFill/>
                </a:ln>
                <a:solidFill>
                  <a:prstClr val="black"/>
                </a:solidFill>
                <a:effectLst/>
                <a:uLnTx/>
                <a:uFillTx/>
                <a:latin typeface="Arial"/>
                <a:ea typeface="+mn-ea"/>
                <a:cs typeface="+mn-cs"/>
              </a:rPr>
              <a:t>Go/No-Go</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id="{06A6458C-6CFC-4DED-A697-6C19A841E09D}"/>
              </a:ext>
            </a:extLst>
          </p:cNvPr>
          <p:cNvSpPr/>
          <p:nvPr/>
        </p:nvSpPr>
        <p:spPr>
          <a:xfrm>
            <a:off x="4547379" y="1049155"/>
            <a:ext cx="1377019" cy="86071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ue Diligence </a:t>
            </a:r>
          </a:p>
        </p:txBody>
      </p:sp>
      <p:sp>
        <p:nvSpPr>
          <p:cNvPr id="44" name="Rectangle: Rounded Corners 43">
            <a:extLst>
              <a:ext uri="{FF2B5EF4-FFF2-40B4-BE49-F238E27FC236}">
                <a16:creationId xmlns:a16="http://schemas.microsoft.com/office/drawing/2014/main" id="{CEC24FFC-0A55-4502-8BEC-BD1B919DC395}"/>
              </a:ext>
            </a:extLst>
          </p:cNvPr>
          <p:cNvSpPr/>
          <p:nvPr/>
        </p:nvSpPr>
        <p:spPr>
          <a:xfrm>
            <a:off x="1634846" y="1053807"/>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ipeline Generation</a:t>
            </a:r>
          </a:p>
        </p:txBody>
      </p:sp>
      <p:sp>
        <p:nvSpPr>
          <p:cNvPr id="45" name="Rectangle: Rounded Corners 44">
            <a:extLst>
              <a:ext uri="{FF2B5EF4-FFF2-40B4-BE49-F238E27FC236}">
                <a16:creationId xmlns:a16="http://schemas.microsoft.com/office/drawing/2014/main" id="{C924668A-0A6D-42F7-855B-9A06ECB9C646}"/>
              </a:ext>
            </a:extLst>
          </p:cNvPr>
          <p:cNvSpPr/>
          <p:nvPr/>
        </p:nvSpPr>
        <p:spPr>
          <a:xfrm>
            <a:off x="6002249" y="1053807"/>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2 </a:t>
            </a:r>
            <a:r>
              <a:rPr kumimoji="0" lang="en-US" sz="1200" b="0" i="0" u="none" strike="noStrike" kern="1200" cap="none" spc="0" normalizeH="0" baseline="0" noProof="0">
                <a:ln>
                  <a:noFill/>
                </a:ln>
                <a:solidFill>
                  <a:prstClr val="black"/>
                </a:solidFill>
                <a:effectLst/>
                <a:uLnTx/>
                <a:uFillTx/>
                <a:latin typeface="Arial"/>
                <a:ea typeface="+mn-ea"/>
                <a:cs typeface="+mn-cs"/>
              </a:rPr>
              <a:t>Offers, Agreement, Approvals</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6" name="Rectangle: Rounded Corners 45">
            <a:extLst>
              <a:ext uri="{FF2B5EF4-FFF2-40B4-BE49-F238E27FC236}">
                <a16:creationId xmlns:a16="http://schemas.microsoft.com/office/drawing/2014/main" id="{39CE5C2C-1D65-4836-998C-A68EC359E465}"/>
              </a:ext>
            </a:extLst>
          </p:cNvPr>
          <p:cNvSpPr/>
          <p:nvPr/>
        </p:nvSpPr>
        <p:spPr>
          <a:xfrm>
            <a:off x="7449620" y="1056696"/>
            <a:ext cx="1377019" cy="86071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e-Integration Planning</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Rounded Corners 46">
            <a:extLst>
              <a:ext uri="{FF2B5EF4-FFF2-40B4-BE49-F238E27FC236}">
                <a16:creationId xmlns:a16="http://schemas.microsoft.com/office/drawing/2014/main" id="{1CB8443F-DEE1-42B8-9DC4-EDB225FAD05E}"/>
              </a:ext>
            </a:extLst>
          </p:cNvPr>
          <p:cNvSpPr/>
          <p:nvPr/>
        </p:nvSpPr>
        <p:spPr>
          <a:xfrm>
            <a:off x="8910444" y="1056696"/>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De-Integration Execution </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48" name="Rectangle: Rounded Corners 47">
            <a:extLst>
              <a:ext uri="{FF2B5EF4-FFF2-40B4-BE49-F238E27FC236}">
                <a16:creationId xmlns:a16="http://schemas.microsoft.com/office/drawing/2014/main" id="{5AF8ECD1-5CFE-4457-B268-64638DCA7DC0}"/>
              </a:ext>
            </a:extLst>
          </p:cNvPr>
          <p:cNvSpPr/>
          <p:nvPr/>
        </p:nvSpPr>
        <p:spPr>
          <a:xfrm>
            <a:off x="10368153" y="1061582"/>
            <a:ext cx="1377019" cy="86071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Phase 5 </a:t>
            </a:r>
            <a:r>
              <a:rPr kumimoji="0" lang="en-US" sz="1200" b="0" i="0" u="none" strike="noStrike" kern="1200" cap="none" spc="0" normalizeH="0" baseline="0" noProof="0">
                <a:ln>
                  <a:noFill/>
                </a:ln>
                <a:solidFill>
                  <a:prstClr val="black"/>
                </a:solidFill>
                <a:effectLst/>
                <a:uLnTx/>
                <a:uFillTx/>
                <a:latin typeface="Arial"/>
                <a:ea typeface="+mn-ea"/>
                <a:cs typeface="+mn-cs"/>
              </a:rPr>
              <a:t>Close-Out</a:t>
            </a:r>
            <a:endParaRPr kumimoji="0" lang="en-US" sz="1400" b="0" i="0" u="none" strike="noStrike" kern="1200" cap="none" spc="0" normalizeH="0" baseline="0" noProof="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9EB827DD-87E7-34E6-9AB8-5B9A37EED84A}"/>
              </a:ext>
            </a:extLst>
          </p:cNvPr>
          <p:cNvSpPr txBox="1"/>
          <p:nvPr/>
        </p:nvSpPr>
        <p:spPr>
          <a:xfrm>
            <a:off x="7555568" y="758735"/>
            <a:ext cx="3514157" cy="255002"/>
          </a:xfrm>
          <a:prstGeom prst="rect">
            <a:avLst/>
          </a:prstGeom>
          <a:noFill/>
        </p:spPr>
        <p:txBody>
          <a:bodyPr wrap="none" lIns="0" tIns="0" rIns="0" bIns="0" rtlCol="0">
            <a:noAutofit/>
          </a:bodyPr>
          <a:lstStyle/>
          <a:p>
            <a:pPr algn="l">
              <a:spcAft>
                <a:spcPts val="600"/>
              </a:spcAft>
            </a:pPr>
            <a:r>
              <a:rPr lang="en-US" sz="1600" b="1" i="1">
                <a:solidFill>
                  <a:srgbClr val="C00000"/>
                </a:solidFill>
              </a:rPr>
              <a:t>(Post-Deal) CPP Checklist focusing on CX</a:t>
            </a:r>
          </a:p>
        </p:txBody>
      </p:sp>
      <p:sp>
        <p:nvSpPr>
          <p:cNvPr id="10" name="TextBox 9">
            <a:extLst>
              <a:ext uri="{FF2B5EF4-FFF2-40B4-BE49-F238E27FC236}">
                <a16:creationId xmlns:a16="http://schemas.microsoft.com/office/drawing/2014/main" id="{19FB2B13-92A5-DCB1-0DB5-2417E0E80AD7}"/>
              </a:ext>
            </a:extLst>
          </p:cNvPr>
          <p:cNvSpPr txBox="1"/>
          <p:nvPr/>
        </p:nvSpPr>
        <p:spPr>
          <a:xfrm>
            <a:off x="2181948" y="758735"/>
            <a:ext cx="4169188" cy="278980"/>
          </a:xfrm>
          <a:prstGeom prst="rect">
            <a:avLst/>
          </a:prstGeom>
          <a:noFill/>
        </p:spPr>
        <p:txBody>
          <a:bodyPr wrap="none" lIns="0" tIns="0" rIns="0" bIns="0" rtlCol="0">
            <a:noAutofit/>
          </a:bodyPr>
          <a:lstStyle/>
          <a:p>
            <a:pPr algn="l">
              <a:spcAft>
                <a:spcPts val="600"/>
              </a:spcAft>
            </a:pPr>
            <a:r>
              <a:rPr lang="en-US" sz="1600" b="1" i="1">
                <a:solidFill>
                  <a:srgbClr val="C00000"/>
                </a:solidFill>
              </a:rPr>
              <a:t>(Pre-Deal) CPP Checklist focusing on Risk Migration</a:t>
            </a:r>
          </a:p>
        </p:txBody>
      </p:sp>
      <p:cxnSp>
        <p:nvCxnSpPr>
          <p:cNvPr id="4" name="Straight Connector 3">
            <a:extLst>
              <a:ext uri="{FF2B5EF4-FFF2-40B4-BE49-F238E27FC236}">
                <a16:creationId xmlns:a16="http://schemas.microsoft.com/office/drawing/2014/main" id="{57E1A529-90DA-AE86-1DEF-F05C6E2FF461}"/>
              </a:ext>
            </a:extLst>
          </p:cNvPr>
          <p:cNvCxnSpPr>
            <a:cxnSpLocks/>
          </p:cNvCxnSpPr>
          <p:nvPr/>
        </p:nvCxnSpPr>
        <p:spPr>
          <a:xfrm>
            <a:off x="7402491" y="911535"/>
            <a:ext cx="0" cy="101886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7B3BB5A-4721-7210-3921-5F1D00EC8AA4}"/>
              </a:ext>
            </a:extLst>
          </p:cNvPr>
          <p:cNvSpPr txBox="1"/>
          <p:nvPr/>
        </p:nvSpPr>
        <p:spPr>
          <a:xfrm>
            <a:off x="977484" y="6449061"/>
            <a:ext cx="10237031" cy="327572"/>
          </a:xfrm>
          <a:prstGeom prst="rect">
            <a:avLst/>
          </a:prstGeom>
          <a:solidFill>
            <a:srgbClr val="FFFFFF"/>
          </a:solidFill>
        </p:spPr>
        <p:txBody>
          <a:bodyPr wrap="none" lIns="0" tIns="0" rIns="0" bIns="0" rtlCol="0">
            <a:noAutofit/>
          </a:bodyPr>
          <a:lstStyle/>
          <a:p>
            <a:pPr algn="ctr">
              <a:spcAft>
                <a:spcPts val="600"/>
              </a:spcAft>
            </a:pPr>
            <a:r>
              <a:rPr lang="en-US" sz="2000" b="1" i="1">
                <a:solidFill>
                  <a:srgbClr val="C00000"/>
                </a:solidFill>
              </a:rPr>
              <a:t>C&amp;PS will support the de-integration process and test customer order flow</a:t>
            </a:r>
          </a:p>
        </p:txBody>
      </p:sp>
      <p:graphicFrame>
        <p:nvGraphicFramePr>
          <p:cNvPr id="7" name="Table 6">
            <a:extLst>
              <a:ext uri="{FF2B5EF4-FFF2-40B4-BE49-F238E27FC236}">
                <a16:creationId xmlns:a16="http://schemas.microsoft.com/office/drawing/2014/main" id="{ADEEE0F7-7C9D-82F6-3D46-BBFA6C3371D4}"/>
              </a:ext>
            </a:extLst>
          </p:cNvPr>
          <p:cNvGraphicFramePr>
            <a:graphicFrameLocks noGrp="1"/>
          </p:cNvGraphicFramePr>
          <p:nvPr/>
        </p:nvGraphicFramePr>
        <p:xfrm>
          <a:off x="530860" y="1980247"/>
          <a:ext cx="5867400" cy="4413250"/>
        </p:xfrm>
        <a:graphic>
          <a:graphicData uri="http://schemas.openxmlformats.org/drawingml/2006/table">
            <a:tbl>
              <a:tblPr/>
              <a:tblGrid>
                <a:gridCol w="279400">
                  <a:extLst>
                    <a:ext uri="{9D8B030D-6E8A-4147-A177-3AD203B41FA5}">
                      <a16:colId xmlns:a16="http://schemas.microsoft.com/office/drawing/2014/main" val="3027232534"/>
                    </a:ext>
                  </a:extLst>
                </a:gridCol>
                <a:gridCol w="5588000">
                  <a:extLst>
                    <a:ext uri="{9D8B030D-6E8A-4147-A177-3AD203B41FA5}">
                      <a16:colId xmlns:a16="http://schemas.microsoft.com/office/drawing/2014/main" val="2507085525"/>
                    </a:ext>
                  </a:extLst>
                </a:gridCol>
              </a:tblGrid>
              <a:tr h="165100">
                <a:tc>
                  <a:txBody>
                    <a:bodyPr/>
                    <a:lstStyle/>
                    <a:p>
                      <a:pPr algn="l" fontAlgn="b"/>
                      <a:endParaRPr lang="en-US" sz="1000" b="0" i="1"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1" u="none" strike="noStrike">
                          <a:solidFill>
                            <a:srgbClr val="C00000"/>
                          </a:solidFill>
                          <a:effectLst/>
                          <a:latin typeface="Arial" panose="020B0604020202020204" pitchFamily="34" charset="0"/>
                        </a:rPr>
                        <a:t>(Refer to Phase 1 Due Diligent checklist)</a:t>
                      </a:r>
                    </a:p>
                  </a:txBody>
                  <a:tcPr marL="0" marR="0" marT="0" marB="0" anchor="b">
                    <a:lnL>
                      <a:noFill/>
                    </a:lnL>
                    <a:lnR>
                      <a:noFill/>
                    </a:lnR>
                    <a:lnT>
                      <a:noFill/>
                    </a:lnT>
                    <a:lnB>
                      <a:noFill/>
                    </a:lnB>
                  </a:tcPr>
                </a:tc>
                <a:extLst>
                  <a:ext uri="{0D108BD9-81ED-4DB2-BD59-A6C34878D82A}">
                    <a16:rowId xmlns:a16="http://schemas.microsoft.com/office/drawing/2014/main" val="1168546701"/>
                  </a:ext>
                </a:extLst>
              </a:tr>
              <a:tr h="165100">
                <a:tc>
                  <a:txBody>
                    <a:bodyPr/>
                    <a:lstStyle/>
                    <a:p>
                      <a:pPr algn="ctr" fontAlgn="b"/>
                      <a:r>
                        <a:rPr lang="en-US" sz="1000" b="1" i="0" u="none" strike="noStrike">
                          <a:solidFill>
                            <a:srgbClr val="0070C0"/>
                          </a:solidFill>
                          <a:effectLst/>
                          <a:latin typeface="Arial" panose="020B0604020202020204" pitchFamily="34" charset="0"/>
                        </a:rPr>
                        <a:t>3.1</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Communications</a:t>
                      </a:r>
                    </a:p>
                  </a:txBody>
                  <a:tcPr marL="0" marR="0" marT="0" marB="0" anchor="b">
                    <a:lnL>
                      <a:noFill/>
                    </a:lnL>
                    <a:lnR>
                      <a:noFill/>
                    </a:lnR>
                    <a:lnT>
                      <a:noFill/>
                    </a:lnT>
                    <a:lnB>
                      <a:noFill/>
                    </a:lnB>
                  </a:tcPr>
                </a:tc>
                <a:extLst>
                  <a:ext uri="{0D108BD9-81ED-4DB2-BD59-A6C34878D82A}">
                    <a16:rowId xmlns:a16="http://schemas.microsoft.com/office/drawing/2014/main" val="2699417063"/>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Internal/external general communications (OE/AM)</a:t>
                      </a:r>
                    </a:p>
                  </a:txBody>
                  <a:tcPr marL="0" marR="0" marT="0" marB="0" anchor="b">
                    <a:lnL>
                      <a:noFill/>
                    </a:lnL>
                    <a:lnR>
                      <a:noFill/>
                    </a:lnR>
                    <a:lnT>
                      <a:noFill/>
                    </a:lnT>
                    <a:lnB>
                      <a:noFill/>
                    </a:lnB>
                  </a:tcPr>
                </a:tc>
                <a:extLst>
                  <a:ext uri="{0D108BD9-81ED-4DB2-BD59-A6C34878D82A}">
                    <a16:rowId xmlns:a16="http://schemas.microsoft.com/office/drawing/2014/main" val="1950632915"/>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Targeted communication plan for key customers</a:t>
                      </a:r>
                    </a:p>
                  </a:txBody>
                  <a:tcPr marL="0" marR="0" marT="0" marB="0" anchor="b">
                    <a:lnL>
                      <a:noFill/>
                    </a:lnL>
                    <a:lnR>
                      <a:noFill/>
                    </a:lnR>
                    <a:lnT>
                      <a:noFill/>
                    </a:lnT>
                    <a:lnB>
                      <a:noFill/>
                    </a:lnB>
                  </a:tcPr>
                </a:tc>
                <a:extLst>
                  <a:ext uri="{0D108BD9-81ED-4DB2-BD59-A6C34878D82A}">
                    <a16:rowId xmlns:a16="http://schemas.microsoft.com/office/drawing/2014/main" val="229874645"/>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fr-FR" sz="1000" b="0" i="0" u="none" strike="noStrike">
                          <a:effectLst/>
                          <a:latin typeface="Arial" panose="020B0604020202020204" pitchFamily="34" charset="0"/>
                        </a:rPr>
                        <a:t>Supplier communication, MSP-operator/dealer communications, etc.</a:t>
                      </a:r>
                    </a:p>
                  </a:txBody>
                  <a:tcPr marL="0" marR="0" marT="0" marB="0" anchor="b">
                    <a:lnL>
                      <a:noFill/>
                    </a:lnL>
                    <a:lnR>
                      <a:noFill/>
                    </a:lnR>
                    <a:lnT>
                      <a:noFill/>
                    </a:lnT>
                    <a:lnB>
                      <a:noFill/>
                    </a:lnB>
                  </a:tcPr>
                </a:tc>
                <a:extLst>
                  <a:ext uri="{0D108BD9-81ED-4DB2-BD59-A6C34878D82A}">
                    <a16:rowId xmlns:a16="http://schemas.microsoft.com/office/drawing/2014/main" val="3321042905"/>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Consent, Notification, License agreement notifications</a:t>
                      </a:r>
                    </a:p>
                  </a:txBody>
                  <a:tcPr marL="0" marR="0" marT="0" marB="0" anchor="b">
                    <a:lnL>
                      <a:noFill/>
                    </a:lnL>
                    <a:lnR>
                      <a:noFill/>
                    </a:lnR>
                    <a:lnT>
                      <a:noFill/>
                    </a:lnT>
                    <a:lnB>
                      <a:noFill/>
                    </a:lnB>
                  </a:tcPr>
                </a:tc>
                <a:extLst>
                  <a:ext uri="{0D108BD9-81ED-4DB2-BD59-A6C34878D82A}">
                    <a16:rowId xmlns:a16="http://schemas.microsoft.com/office/drawing/2014/main" val="3635176580"/>
                  </a:ext>
                </a:extLst>
              </a:tr>
              <a:tr h="165100">
                <a:tc>
                  <a:txBody>
                    <a:bodyPr/>
                    <a:lstStyle/>
                    <a:p>
                      <a:pPr algn="ctr" fontAlgn="b"/>
                      <a:r>
                        <a:rPr lang="en-US" sz="1000" b="1" i="0" u="none" strike="noStrike">
                          <a:solidFill>
                            <a:srgbClr val="0070C0"/>
                          </a:solidFill>
                          <a:effectLst/>
                          <a:latin typeface="Arial" panose="020B0604020202020204" pitchFamily="34" charset="0"/>
                        </a:rPr>
                        <a:t>3.2</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Licensee's Customer Support Capability in general</a:t>
                      </a:r>
                    </a:p>
                  </a:txBody>
                  <a:tcPr marL="0" marR="0" marT="0" marB="0" anchor="b">
                    <a:lnL>
                      <a:noFill/>
                    </a:lnL>
                    <a:lnR>
                      <a:noFill/>
                    </a:lnR>
                    <a:lnT>
                      <a:noFill/>
                    </a:lnT>
                    <a:lnB>
                      <a:noFill/>
                    </a:lnB>
                  </a:tcPr>
                </a:tc>
                <a:extLst>
                  <a:ext uri="{0D108BD9-81ED-4DB2-BD59-A6C34878D82A}">
                    <a16:rowId xmlns:a16="http://schemas.microsoft.com/office/drawing/2014/main" val="1931837389"/>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Authorization by OE and key customers. If not, plan to be authorized</a:t>
                      </a:r>
                    </a:p>
                  </a:txBody>
                  <a:tcPr marL="0" marR="0" marT="0" marB="0" anchor="b">
                    <a:lnL>
                      <a:noFill/>
                    </a:lnL>
                    <a:lnR>
                      <a:noFill/>
                    </a:lnR>
                    <a:lnT>
                      <a:noFill/>
                    </a:lnT>
                    <a:lnB>
                      <a:noFill/>
                    </a:lnB>
                  </a:tcPr>
                </a:tc>
                <a:extLst>
                  <a:ext uri="{0D108BD9-81ED-4DB2-BD59-A6C34878D82A}">
                    <a16:rowId xmlns:a16="http://schemas.microsoft.com/office/drawing/2014/main" val="1665278759"/>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Team structure, skills, hours, shifts, regions, escalation</a:t>
                      </a:r>
                    </a:p>
                  </a:txBody>
                  <a:tcPr marL="0" marR="0" marT="0" marB="0" anchor="b">
                    <a:lnL>
                      <a:noFill/>
                    </a:lnL>
                    <a:lnR>
                      <a:noFill/>
                    </a:lnR>
                    <a:lnT>
                      <a:noFill/>
                    </a:lnT>
                    <a:lnB>
                      <a:noFill/>
                    </a:lnB>
                  </a:tcPr>
                </a:tc>
                <a:extLst>
                  <a:ext uri="{0D108BD9-81ED-4DB2-BD59-A6C34878D82A}">
                    <a16:rowId xmlns:a16="http://schemas.microsoft.com/office/drawing/2014/main" val="1306912515"/>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Customer engagement approach (phone, email, portal, EDI, etc.)</a:t>
                      </a:r>
                    </a:p>
                  </a:txBody>
                  <a:tcPr marL="0" marR="0" marT="0" marB="0" anchor="b">
                    <a:lnL>
                      <a:noFill/>
                    </a:lnL>
                    <a:lnR>
                      <a:noFill/>
                    </a:lnR>
                    <a:lnT>
                      <a:noFill/>
                    </a:lnT>
                    <a:lnB>
                      <a:noFill/>
                    </a:lnB>
                  </a:tcPr>
                </a:tc>
                <a:extLst>
                  <a:ext uri="{0D108BD9-81ED-4DB2-BD59-A6C34878D82A}">
                    <a16:rowId xmlns:a16="http://schemas.microsoft.com/office/drawing/2014/main" val="659479535"/>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Order fulfillment Current and To-Be Processes due to the transition </a:t>
                      </a:r>
                    </a:p>
                  </a:txBody>
                  <a:tcPr marL="0" marR="0" marT="0" marB="0" anchor="b">
                    <a:lnL>
                      <a:noFill/>
                    </a:lnL>
                    <a:lnR>
                      <a:noFill/>
                    </a:lnR>
                    <a:lnT>
                      <a:noFill/>
                    </a:lnT>
                    <a:lnB>
                      <a:noFill/>
                    </a:lnB>
                  </a:tcPr>
                </a:tc>
                <a:extLst>
                  <a:ext uri="{0D108BD9-81ED-4DB2-BD59-A6C34878D82A}">
                    <a16:rowId xmlns:a16="http://schemas.microsoft.com/office/drawing/2014/main" val="2708385055"/>
                  </a:ext>
                </a:extLst>
              </a:tr>
              <a:tr h="165100">
                <a:tc>
                  <a:txBody>
                    <a:bodyPr/>
                    <a:lstStyle/>
                    <a:p>
                      <a:pPr algn="ctr" fontAlgn="b"/>
                      <a:r>
                        <a:rPr lang="en-US" sz="1000" b="1" i="0" u="none" strike="noStrike">
                          <a:solidFill>
                            <a:srgbClr val="0070C0"/>
                          </a:solidFill>
                          <a:effectLst/>
                          <a:latin typeface="Arial" panose="020B0604020202020204" pitchFamily="34" charset="0"/>
                        </a:rPr>
                        <a:t>3.3</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Contract</a:t>
                      </a:r>
                    </a:p>
                  </a:txBody>
                  <a:tcPr marL="0" marR="0" marT="0" marB="0" anchor="b">
                    <a:lnL>
                      <a:noFill/>
                    </a:lnL>
                    <a:lnR>
                      <a:noFill/>
                    </a:lnR>
                    <a:lnT>
                      <a:noFill/>
                    </a:lnT>
                    <a:lnB>
                      <a:noFill/>
                    </a:lnB>
                  </a:tcPr>
                </a:tc>
                <a:extLst>
                  <a:ext uri="{0D108BD9-81ED-4DB2-BD59-A6C34878D82A}">
                    <a16:rowId xmlns:a16="http://schemas.microsoft.com/office/drawing/2014/main" val="3373548202"/>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Consent MOS</a:t>
                      </a:r>
                    </a:p>
                  </a:txBody>
                  <a:tcPr marL="0" marR="0" marT="0" marB="0" anchor="b">
                    <a:lnL>
                      <a:noFill/>
                    </a:lnL>
                    <a:lnR>
                      <a:noFill/>
                    </a:lnR>
                    <a:lnT>
                      <a:noFill/>
                    </a:lnT>
                    <a:lnB>
                      <a:noFill/>
                    </a:lnB>
                  </a:tcPr>
                </a:tc>
                <a:extLst>
                  <a:ext uri="{0D108BD9-81ED-4DB2-BD59-A6C34878D82A}">
                    <a16:rowId xmlns:a16="http://schemas.microsoft.com/office/drawing/2014/main" val="1560895182"/>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Assigned contracts (OE, MSA, MSP…) review and planning (e.g. expiring, renewal)</a:t>
                      </a:r>
                    </a:p>
                  </a:txBody>
                  <a:tcPr marL="0" marR="0" marT="0" marB="0" anchor="b">
                    <a:lnL>
                      <a:noFill/>
                    </a:lnL>
                    <a:lnR>
                      <a:noFill/>
                    </a:lnR>
                    <a:lnT>
                      <a:noFill/>
                    </a:lnT>
                    <a:lnB>
                      <a:noFill/>
                    </a:lnB>
                  </a:tcPr>
                </a:tc>
                <a:extLst>
                  <a:ext uri="{0D108BD9-81ED-4DB2-BD59-A6C34878D82A}">
                    <a16:rowId xmlns:a16="http://schemas.microsoft.com/office/drawing/2014/main" val="3480890518"/>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MSP instruction/plan, communication to CBT</a:t>
                      </a:r>
                    </a:p>
                  </a:txBody>
                  <a:tcPr marL="0" marR="0" marT="0" marB="0" anchor="b">
                    <a:lnL>
                      <a:noFill/>
                    </a:lnL>
                    <a:lnR>
                      <a:noFill/>
                    </a:lnR>
                    <a:lnT>
                      <a:noFill/>
                    </a:lnT>
                    <a:lnB>
                      <a:noFill/>
                    </a:lnB>
                  </a:tcPr>
                </a:tc>
                <a:extLst>
                  <a:ext uri="{0D108BD9-81ED-4DB2-BD59-A6C34878D82A}">
                    <a16:rowId xmlns:a16="http://schemas.microsoft.com/office/drawing/2014/main" val="3226557054"/>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PSAA/SSC obligations by HON and licensee, guidance, talking points</a:t>
                      </a:r>
                    </a:p>
                  </a:txBody>
                  <a:tcPr marL="0" marR="0" marT="0" marB="0" anchor="b">
                    <a:lnL>
                      <a:noFill/>
                    </a:lnL>
                    <a:lnR>
                      <a:noFill/>
                    </a:lnR>
                    <a:lnT>
                      <a:noFill/>
                    </a:lnT>
                    <a:lnB>
                      <a:noFill/>
                    </a:lnB>
                  </a:tcPr>
                </a:tc>
                <a:extLst>
                  <a:ext uri="{0D108BD9-81ED-4DB2-BD59-A6C34878D82A}">
                    <a16:rowId xmlns:a16="http://schemas.microsoft.com/office/drawing/2014/main" val="3508382664"/>
                  </a:ext>
                </a:extLst>
              </a:tr>
              <a:tr h="165100">
                <a:tc>
                  <a:txBody>
                    <a:bodyPr/>
                    <a:lstStyle/>
                    <a:p>
                      <a:pPr algn="ctr" fontAlgn="b"/>
                      <a:r>
                        <a:rPr lang="en-US" sz="1000" b="1" i="0" u="none" strike="noStrike">
                          <a:solidFill>
                            <a:srgbClr val="0070C0"/>
                          </a:solidFill>
                          <a:effectLst/>
                          <a:latin typeface="Arial" panose="020B0604020202020204" pitchFamily="34" charset="0"/>
                        </a:rPr>
                        <a:t>3.4</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AOG</a:t>
                      </a:r>
                    </a:p>
                  </a:txBody>
                  <a:tcPr marL="0" marR="0" marT="0" marB="0" anchor="b">
                    <a:lnL>
                      <a:noFill/>
                    </a:lnL>
                    <a:lnR>
                      <a:noFill/>
                    </a:lnR>
                    <a:lnT>
                      <a:noFill/>
                    </a:lnT>
                    <a:lnB>
                      <a:noFill/>
                    </a:lnB>
                  </a:tcPr>
                </a:tc>
                <a:extLst>
                  <a:ext uri="{0D108BD9-81ED-4DB2-BD59-A6C34878D82A}">
                    <a16:rowId xmlns:a16="http://schemas.microsoft.com/office/drawing/2014/main" val="2974989970"/>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AOG team, hours of operation, true 24/7?, how to engage customer, MOS of AOG mgmt</a:t>
                      </a:r>
                    </a:p>
                  </a:txBody>
                  <a:tcPr marL="0" marR="0" marT="0" marB="0" anchor="b">
                    <a:lnL>
                      <a:noFill/>
                    </a:lnL>
                    <a:lnR>
                      <a:noFill/>
                    </a:lnR>
                    <a:lnT>
                      <a:noFill/>
                    </a:lnT>
                    <a:lnB>
                      <a:noFill/>
                    </a:lnB>
                  </a:tcPr>
                </a:tc>
                <a:extLst>
                  <a:ext uri="{0D108BD9-81ED-4DB2-BD59-A6C34878D82A}">
                    <a16:rowId xmlns:a16="http://schemas.microsoft.com/office/drawing/2014/main" val="566318860"/>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HON AOG/exchange analysis, history/forecast, risk mitigation plan incl. safety stock</a:t>
                      </a:r>
                    </a:p>
                  </a:txBody>
                  <a:tcPr marL="0" marR="0" marT="0" marB="0" anchor="b">
                    <a:lnL>
                      <a:noFill/>
                    </a:lnL>
                    <a:lnR>
                      <a:noFill/>
                    </a:lnR>
                    <a:lnT>
                      <a:noFill/>
                    </a:lnT>
                    <a:lnB>
                      <a:noFill/>
                    </a:lnB>
                  </a:tcPr>
                </a:tc>
                <a:extLst>
                  <a:ext uri="{0D108BD9-81ED-4DB2-BD59-A6C34878D82A}">
                    <a16:rowId xmlns:a16="http://schemas.microsoft.com/office/drawing/2014/main" val="2076736044"/>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HAT support as needed for part availability (detail parts and LRUs)</a:t>
                      </a:r>
                    </a:p>
                  </a:txBody>
                  <a:tcPr marL="0" marR="0" marT="0" marB="0" anchor="b">
                    <a:lnL>
                      <a:noFill/>
                    </a:lnL>
                    <a:lnR>
                      <a:noFill/>
                    </a:lnR>
                    <a:lnT>
                      <a:noFill/>
                    </a:lnT>
                    <a:lnB>
                      <a:noFill/>
                    </a:lnB>
                  </a:tcPr>
                </a:tc>
                <a:extLst>
                  <a:ext uri="{0D108BD9-81ED-4DB2-BD59-A6C34878D82A}">
                    <a16:rowId xmlns:a16="http://schemas.microsoft.com/office/drawing/2014/main" val="1267945981"/>
                  </a:ext>
                </a:extLst>
              </a:tr>
              <a:tr h="165100">
                <a:tc>
                  <a:txBody>
                    <a:bodyPr/>
                    <a:lstStyle/>
                    <a:p>
                      <a:pPr algn="ctr" fontAlgn="b"/>
                      <a:r>
                        <a:rPr lang="en-US" sz="1000" b="1" i="0" u="none" strike="noStrike">
                          <a:solidFill>
                            <a:srgbClr val="0070C0"/>
                          </a:solidFill>
                          <a:effectLst/>
                          <a:latin typeface="Arial" panose="020B0604020202020204" pitchFamily="34" charset="0"/>
                        </a:rPr>
                        <a:t>3.5</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R&amp;O</a:t>
                      </a:r>
                    </a:p>
                  </a:txBody>
                  <a:tcPr marL="0" marR="0" marT="0" marB="0" anchor="b">
                    <a:lnL>
                      <a:noFill/>
                    </a:lnL>
                    <a:lnR>
                      <a:noFill/>
                    </a:lnR>
                    <a:lnT>
                      <a:noFill/>
                    </a:lnT>
                    <a:lnB>
                      <a:noFill/>
                    </a:lnB>
                  </a:tcPr>
                </a:tc>
                <a:extLst>
                  <a:ext uri="{0D108BD9-81ED-4DB2-BD59-A6C34878D82A}">
                    <a16:rowId xmlns:a16="http://schemas.microsoft.com/office/drawing/2014/main" val="4216861700"/>
                  </a:ext>
                </a:extLst>
              </a:tr>
              <a:tr h="165100">
                <a:tc>
                  <a:txBody>
                    <a:bodyPr/>
                    <a:lstStyle/>
                    <a:p>
                      <a:pPr algn="ctr" fontAlgn="b"/>
                      <a:endParaRPr lang="en-US" sz="1000" b="1"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Licensee's current certs. If no certs, plan to obtain</a:t>
                      </a:r>
                    </a:p>
                  </a:txBody>
                  <a:tcPr marL="0" marR="0" marT="0" marB="0" anchor="b">
                    <a:lnL>
                      <a:noFill/>
                    </a:lnL>
                    <a:lnR>
                      <a:noFill/>
                    </a:lnR>
                    <a:lnT>
                      <a:noFill/>
                    </a:lnT>
                    <a:lnB>
                      <a:noFill/>
                    </a:lnB>
                  </a:tcPr>
                </a:tc>
                <a:extLst>
                  <a:ext uri="{0D108BD9-81ED-4DB2-BD59-A6C34878D82A}">
                    <a16:rowId xmlns:a16="http://schemas.microsoft.com/office/drawing/2014/main" val="3305499433"/>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Licensee's current capability (equipment, tooling, skill, location) If no capability, plan to establish</a:t>
                      </a:r>
                    </a:p>
                  </a:txBody>
                  <a:tcPr marL="0" marR="0" marT="0" marB="0" anchor="b">
                    <a:lnL>
                      <a:noFill/>
                    </a:lnL>
                    <a:lnR>
                      <a:noFill/>
                    </a:lnR>
                    <a:lnT>
                      <a:noFill/>
                    </a:lnT>
                    <a:lnB>
                      <a:noFill/>
                    </a:lnB>
                  </a:tcPr>
                </a:tc>
                <a:extLst>
                  <a:ext uri="{0D108BD9-81ED-4DB2-BD59-A6C34878D82A}">
                    <a16:rowId xmlns:a16="http://schemas.microsoft.com/office/drawing/2014/main" val="3832036937"/>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TE/tooling transfer, phased approach to keep capability available</a:t>
                      </a:r>
                    </a:p>
                  </a:txBody>
                  <a:tcPr marL="0" marR="0" marT="0" marB="0" anchor="b">
                    <a:lnL>
                      <a:noFill/>
                    </a:lnL>
                    <a:lnR>
                      <a:noFill/>
                    </a:lnR>
                    <a:lnT>
                      <a:noFill/>
                    </a:lnT>
                    <a:lnB>
                      <a:noFill/>
                    </a:lnB>
                  </a:tcPr>
                </a:tc>
                <a:extLst>
                  <a:ext uri="{0D108BD9-81ED-4DB2-BD59-A6C34878D82A}">
                    <a16:rowId xmlns:a16="http://schemas.microsoft.com/office/drawing/2014/main" val="1047206155"/>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Top LRU/piece part analysis to identify critical PNs</a:t>
                      </a:r>
                    </a:p>
                  </a:txBody>
                  <a:tcPr marL="0" marR="0" marT="0" marB="0" anchor="b">
                    <a:lnL>
                      <a:noFill/>
                    </a:lnL>
                    <a:lnR>
                      <a:noFill/>
                    </a:lnR>
                    <a:lnT>
                      <a:noFill/>
                    </a:lnT>
                    <a:lnB>
                      <a:noFill/>
                    </a:lnB>
                  </a:tcPr>
                </a:tc>
                <a:extLst>
                  <a:ext uri="{0D108BD9-81ED-4DB2-BD59-A6C34878D82A}">
                    <a16:rowId xmlns:a16="http://schemas.microsoft.com/office/drawing/2014/main" val="2359596409"/>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Piece part inventory transfer plan (phased approach if needed)</a:t>
                      </a:r>
                    </a:p>
                  </a:txBody>
                  <a:tcPr marL="0" marR="0" marT="0" marB="0" anchor="b">
                    <a:lnL>
                      <a:noFill/>
                    </a:lnL>
                    <a:lnR>
                      <a:noFill/>
                    </a:lnR>
                    <a:lnT>
                      <a:noFill/>
                    </a:lnT>
                    <a:lnB>
                      <a:noFill/>
                    </a:lnB>
                  </a:tcPr>
                </a:tc>
                <a:extLst>
                  <a:ext uri="{0D108BD9-81ED-4DB2-BD59-A6C34878D82A}">
                    <a16:rowId xmlns:a16="http://schemas.microsoft.com/office/drawing/2014/main" val="1552612371"/>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Phased TE/tooling transfer plan (phased approach if needed)</a:t>
                      </a:r>
                    </a:p>
                  </a:txBody>
                  <a:tcPr marL="0" marR="0" marT="0" marB="0" anchor="b">
                    <a:lnL>
                      <a:noFill/>
                    </a:lnL>
                    <a:lnR>
                      <a:noFill/>
                    </a:lnR>
                    <a:lnT>
                      <a:noFill/>
                    </a:lnT>
                    <a:lnB>
                      <a:noFill/>
                    </a:lnB>
                  </a:tcPr>
                </a:tc>
                <a:extLst>
                  <a:ext uri="{0D108BD9-81ED-4DB2-BD59-A6C34878D82A}">
                    <a16:rowId xmlns:a16="http://schemas.microsoft.com/office/drawing/2014/main" val="2173908843"/>
                  </a:ext>
                </a:extLst>
              </a:tr>
            </a:tbl>
          </a:graphicData>
        </a:graphic>
      </p:graphicFrame>
      <p:graphicFrame>
        <p:nvGraphicFramePr>
          <p:cNvPr id="8" name="Table 7">
            <a:extLst>
              <a:ext uri="{FF2B5EF4-FFF2-40B4-BE49-F238E27FC236}">
                <a16:creationId xmlns:a16="http://schemas.microsoft.com/office/drawing/2014/main" id="{8AD98320-42FE-D7AC-CEA5-E2C53DCF8E3D}"/>
              </a:ext>
            </a:extLst>
          </p:cNvPr>
          <p:cNvGraphicFramePr>
            <a:graphicFrameLocks noGrp="1"/>
          </p:cNvGraphicFramePr>
          <p:nvPr/>
        </p:nvGraphicFramePr>
        <p:xfrm>
          <a:off x="6340846" y="2280684"/>
          <a:ext cx="5851152" cy="4178300"/>
        </p:xfrm>
        <a:graphic>
          <a:graphicData uri="http://schemas.openxmlformats.org/drawingml/2006/table">
            <a:tbl>
              <a:tblPr/>
              <a:tblGrid>
                <a:gridCol w="350069">
                  <a:extLst>
                    <a:ext uri="{9D8B030D-6E8A-4147-A177-3AD203B41FA5}">
                      <a16:colId xmlns:a16="http://schemas.microsoft.com/office/drawing/2014/main" val="2312241651"/>
                    </a:ext>
                  </a:extLst>
                </a:gridCol>
                <a:gridCol w="5501083">
                  <a:extLst>
                    <a:ext uri="{9D8B030D-6E8A-4147-A177-3AD203B41FA5}">
                      <a16:colId xmlns:a16="http://schemas.microsoft.com/office/drawing/2014/main" val="785591494"/>
                    </a:ext>
                  </a:extLst>
                </a:gridCol>
              </a:tblGrid>
              <a:tr h="165100">
                <a:tc>
                  <a:txBody>
                    <a:bodyPr/>
                    <a:lstStyle/>
                    <a:p>
                      <a:pPr algn="ctr" fontAlgn="b"/>
                      <a:r>
                        <a:rPr lang="en-US" sz="1000" b="1" i="0" u="none" strike="noStrike">
                          <a:solidFill>
                            <a:srgbClr val="0070C0"/>
                          </a:solidFill>
                          <a:effectLst/>
                          <a:latin typeface="Arial" panose="020B0604020202020204" pitchFamily="34" charset="0"/>
                        </a:rPr>
                        <a:t>3.6</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Build-ahead</a:t>
                      </a:r>
                    </a:p>
                  </a:txBody>
                  <a:tcPr marL="0" marR="0" marT="0" marB="0" anchor="b">
                    <a:lnL>
                      <a:noFill/>
                    </a:lnL>
                    <a:lnR>
                      <a:noFill/>
                    </a:lnR>
                    <a:lnT>
                      <a:noFill/>
                    </a:lnT>
                    <a:lnB>
                      <a:noFill/>
                    </a:lnB>
                  </a:tcPr>
                </a:tc>
                <a:extLst>
                  <a:ext uri="{0D108BD9-81ED-4DB2-BD59-A6C34878D82A}">
                    <a16:rowId xmlns:a16="http://schemas.microsoft.com/office/drawing/2014/main" val="1702231997"/>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Build Ahead requirement (OE+spares, &gt;1 mth shelf stock, new+repaired)</a:t>
                      </a:r>
                    </a:p>
                  </a:txBody>
                  <a:tcPr marL="0" marR="0" marT="0" marB="0" anchor="b">
                    <a:lnL>
                      <a:noFill/>
                    </a:lnL>
                    <a:lnR>
                      <a:noFill/>
                    </a:lnR>
                    <a:lnT>
                      <a:noFill/>
                    </a:lnT>
                    <a:lnB>
                      <a:noFill/>
                    </a:lnB>
                  </a:tcPr>
                </a:tc>
                <a:extLst>
                  <a:ext uri="{0D108BD9-81ED-4DB2-BD59-A6C34878D82A}">
                    <a16:rowId xmlns:a16="http://schemas.microsoft.com/office/drawing/2014/main" val="431969159"/>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Demand forecast, plan for backlog burn down </a:t>
                      </a:r>
                    </a:p>
                  </a:txBody>
                  <a:tcPr marL="0" marR="0" marT="0" marB="0" anchor="b">
                    <a:lnL>
                      <a:noFill/>
                    </a:lnL>
                    <a:lnR>
                      <a:noFill/>
                    </a:lnR>
                    <a:lnT>
                      <a:noFill/>
                    </a:lnT>
                    <a:lnB>
                      <a:noFill/>
                    </a:lnB>
                  </a:tcPr>
                </a:tc>
                <a:extLst>
                  <a:ext uri="{0D108BD9-81ED-4DB2-BD59-A6C34878D82A}">
                    <a16:rowId xmlns:a16="http://schemas.microsoft.com/office/drawing/2014/main" val="3415943285"/>
                  </a:ext>
                </a:extLst>
              </a:tr>
              <a:tr h="165100">
                <a:tc>
                  <a:txBody>
                    <a:bodyPr/>
                    <a:lstStyle/>
                    <a:p>
                      <a:pPr algn="ctr" fontAlgn="b"/>
                      <a:r>
                        <a:rPr lang="en-US" sz="1000" b="1" i="0" u="none" strike="noStrike">
                          <a:solidFill>
                            <a:srgbClr val="0070C0"/>
                          </a:solidFill>
                          <a:effectLst/>
                          <a:latin typeface="Arial" panose="020B0604020202020204" pitchFamily="34" charset="0"/>
                        </a:rPr>
                        <a:t>3.7</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Order Management</a:t>
                      </a:r>
                    </a:p>
                  </a:txBody>
                  <a:tcPr marL="0" marR="0" marT="0" marB="0" anchor="b">
                    <a:lnL>
                      <a:noFill/>
                    </a:lnL>
                    <a:lnR>
                      <a:noFill/>
                    </a:lnR>
                    <a:lnT>
                      <a:noFill/>
                    </a:lnT>
                    <a:lnB>
                      <a:noFill/>
                    </a:lnB>
                  </a:tcPr>
                </a:tc>
                <a:extLst>
                  <a:ext uri="{0D108BD9-81ED-4DB2-BD59-A6C34878D82A}">
                    <a16:rowId xmlns:a16="http://schemas.microsoft.com/office/drawing/2014/main" val="1010599867"/>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HON-Licensee order transfer resource/process in place. If no, plan to establish</a:t>
                      </a:r>
                    </a:p>
                  </a:txBody>
                  <a:tcPr marL="0" marR="0" marT="0" marB="0" anchor="b">
                    <a:lnL>
                      <a:noFill/>
                    </a:lnL>
                    <a:lnR>
                      <a:noFill/>
                    </a:lnR>
                    <a:lnT>
                      <a:noFill/>
                    </a:lnT>
                    <a:lnB>
                      <a:noFill/>
                    </a:lnB>
                  </a:tcPr>
                </a:tc>
                <a:extLst>
                  <a:ext uri="{0D108BD9-81ED-4DB2-BD59-A6C34878D82A}">
                    <a16:rowId xmlns:a16="http://schemas.microsoft.com/office/drawing/2014/main" val="3285631466"/>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Plan for open orders </a:t>
                      </a:r>
                    </a:p>
                  </a:txBody>
                  <a:tcPr marL="0" marR="0" marT="0" marB="0" anchor="b">
                    <a:lnL>
                      <a:noFill/>
                    </a:lnL>
                    <a:lnR>
                      <a:noFill/>
                    </a:lnR>
                    <a:lnT>
                      <a:noFill/>
                    </a:lnT>
                    <a:lnB>
                      <a:noFill/>
                    </a:lnB>
                  </a:tcPr>
                </a:tc>
                <a:extLst>
                  <a:ext uri="{0D108BD9-81ED-4DB2-BD59-A6C34878D82A}">
                    <a16:rowId xmlns:a16="http://schemas.microsoft.com/office/drawing/2014/main" val="4099253461"/>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Service Level Agreement (SLAs) to support order entry</a:t>
                      </a:r>
                    </a:p>
                  </a:txBody>
                  <a:tcPr marL="0" marR="0" marT="0" marB="0" anchor="b">
                    <a:lnL>
                      <a:noFill/>
                    </a:lnL>
                    <a:lnR>
                      <a:noFill/>
                    </a:lnR>
                    <a:lnT>
                      <a:noFill/>
                    </a:lnT>
                    <a:lnB>
                      <a:noFill/>
                    </a:lnB>
                  </a:tcPr>
                </a:tc>
                <a:extLst>
                  <a:ext uri="{0D108BD9-81ED-4DB2-BD59-A6C34878D82A}">
                    <a16:rowId xmlns:a16="http://schemas.microsoft.com/office/drawing/2014/main" val="2609618422"/>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RMA process / policy</a:t>
                      </a:r>
                    </a:p>
                  </a:txBody>
                  <a:tcPr marL="0" marR="0" marT="0" marB="0" anchor="b">
                    <a:lnL>
                      <a:noFill/>
                    </a:lnL>
                    <a:lnR>
                      <a:noFill/>
                    </a:lnR>
                    <a:lnT>
                      <a:noFill/>
                    </a:lnT>
                    <a:lnB>
                      <a:noFill/>
                    </a:lnB>
                  </a:tcPr>
                </a:tc>
                <a:extLst>
                  <a:ext uri="{0D108BD9-81ED-4DB2-BD59-A6C34878D82A}">
                    <a16:rowId xmlns:a16="http://schemas.microsoft.com/office/drawing/2014/main" val="2367347438"/>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Dispute process / policy</a:t>
                      </a:r>
                    </a:p>
                  </a:txBody>
                  <a:tcPr marL="0" marR="0" marT="0" marB="0" anchor="b">
                    <a:lnL>
                      <a:noFill/>
                    </a:lnL>
                    <a:lnR>
                      <a:noFill/>
                    </a:lnR>
                    <a:lnT>
                      <a:noFill/>
                    </a:lnT>
                    <a:lnB>
                      <a:noFill/>
                    </a:lnB>
                  </a:tcPr>
                </a:tc>
                <a:extLst>
                  <a:ext uri="{0D108BD9-81ED-4DB2-BD59-A6C34878D82A}">
                    <a16:rowId xmlns:a16="http://schemas.microsoft.com/office/drawing/2014/main" val="38197954"/>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M2M capability/maturity (AEX, b2b Aero, EDI…). If none, plan to establish</a:t>
                      </a:r>
                    </a:p>
                  </a:txBody>
                  <a:tcPr marL="0" marR="0" marT="0" marB="0" anchor="b">
                    <a:lnL>
                      <a:noFill/>
                    </a:lnL>
                    <a:lnR>
                      <a:noFill/>
                    </a:lnR>
                    <a:lnT>
                      <a:noFill/>
                    </a:lnT>
                    <a:lnB>
                      <a:noFill/>
                    </a:lnB>
                  </a:tcPr>
                </a:tc>
                <a:extLst>
                  <a:ext uri="{0D108BD9-81ED-4DB2-BD59-A6C34878D82A}">
                    <a16:rowId xmlns:a16="http://schemas.microsoft.com/office/drawing/2014/main" val="3236686294"/>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Training requirement for HON products/PO process (allocation of support hours as needed)</a:t>
                      </a:r>
                    </a:p>
                  </a:txBody>
                  <a:tcPr marL="0" marR="0" marT="0" marB="0" anchor="b">
                    <a:lnL>
                      <a:noFill/>
                    </a:lnL>
                    <a:lnR>
                      <a:noFill/>
                    </a:lnR>
                    <a:lnT>
                      <a:noFill/>
                    </a:lnT>
                    <a:lnB>
                      <a:noFill/>
                    </a:lnB>
                  </a:tcPr>
                </a:tc>
                <a:extLst>
                  <a:ext uri="{0D108BD9-81ED-4DB2-BD59-A6C34878D82A}">
                    <a16:rowId xmlns:a16="http://schemas.microsoft.com/office/drawing/2014/main" val="3481839928"/>
                  </a:ext>
                </a:extLst>
              </a:tr>
              <a:tr h="165100">
                <a:tc>
                  <a:txBody>
                    <a:bodyPr/>
                    <a:lstStyle/>
                    <a:p>
                      <a:pPr algn="ctr" fontAlgn="b"/>
                      <a:r>
                        <a:rPr lang="en-US" sz="1000" b="1" i="0" u="none" strike="noStrike">
                          <a:solidFill>
                            <a:srgbClr val="0070C0"/>
                          </a:solidFill>
                          <a:effectLst/>
                          <a:latin typeface="Arial" panose="020B0604020202020204" pitchFamily="34" charset="0"/>
                        </a:rPr>
                        <a:t>3.8</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Technical Support</a:t>
                      </a:r>
                    </a:p>
                  </a:txBody>
                  <a:tcPr marL="0" marR="0" marT="0" marB="0" anchor="b">
                    <a:lnL>
                      <a:noFill/>
                    </a:lnL>
                    <a:lnR>
                      <a:noFill/>
                    </a:lnR>
                    <a:lnT>
                      <a:noFill/>
                    </a:lnT>
                    <a:lnB>
                      <a:noFill/>
                    </a:lnB>
                  </a:tcPr>
                </a:tc>
                <a:extLst>
                  <a:ext uri="{0D108BD9-81ED-4DB2-BD59-A6C34878D82A}">
                    <a16:rowId xmlns:a16="http://schemas.microsoft.com/office/drawing/2014/main" val="2261820663"/>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Technical support model </a:t>
                      </a:r>
                    </a:p>
                  </a:txBody>
                  <a:tcPr marL="0" marR="0" marT="0" marB="0" anchor="b">
                    <a:lnL>
                      <a:noFill/>
                    </a:lnL>
                    <a:lnR>
                      <a:noFill/>
                    </a:lnR>
                    <a:lnT>
                      <a:noFill/>
                    </a:lnT>
                    <a:lnB>
                      <a:noFill/>
                    </a:lnB>
                  </a:tcPr>
                </a:tc>
                <a:extLst>
                  <a:ext uri="{0D108BD9-81ED-4DB2-BD59-A6C34878D82A}">
                    <a16:rowId xmlns:a16="http://schemas.microsoft.com/office/drawing/2014/main" val="1867401903"/>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Technical documentation maintaining</a:t>
                      </a:r>
                    </a:p>
                  </a:txBody>
                  <a:tcPr marL="0" marR="0" marT="0" marB="0" anchor="b">
                    <a:lnL>
                      <a:noFill/>
                    </a:lnL>
                    <a:lnR>
                      <a:noFill/>
                    </a:lnR>
                    <a:lnT>
                      <a:noFill/>
                    </a:lnT>
                    <a:lnB>
                      <a:noFill/>
                    </a:lnB>
                  </a:tcPr>
                </a:tc>
                <a:extLst>
                  <a:ext uri="{0D108BD9-81ED-4DB2-BD59-A6C34878D82A}">
                    <a16:rowId xmlns:a16="http://schemas.microsoft.com/office/drawing/2014/main" val="3033800576"/>
                  </a:ext>
                </a:extLst>
              </a:tr>
              <a:tr h="165100">
                <a:tc>
                  <a:txBody>
                    <a:bodyPr/>
                    <a:lstStyle/>
                    <a:p>
                      <a:pPr algn="ctr" fontAlgn="b"/>
                      <a:endParaRPr lang="en-US" sz="1000" b="1"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000000"/>
                          </a:solidFill>
                          <a:effectLst/>
                          <a:latin typeface="Arial" panose="020B0604020202020204" pitchFamily="34" charset="0"/>
                        </a:rPr>
                        <a:t>Field service structure</a:t>
                      </a:r>
                    </a:p>
                    <a:p>
                      <a:pPr algn="l" fontAlgn="b"/>
                      <a:r>
                        <a:rPr lang="en-US" sz="1000" b="0" i="0" u="none" strike="noStrike">
                          <a:solidFill>
                            <a:srgbClr val="000000"/>
                          </a:solidFill>
                          <a:effectLst/>
                          <a:latin typeface="Arial" panose="020B0604020202020204" pitchFamily="34" charset="0"/>
                        </a:rPr>
                        <a:t>Ground support equipment</a:t>
                      </a:r>
                    </a:p>
                  </a:txBody>
                  <a:tcPr marL="0" marR="0" marT="0" marB="0" anchor="b">
                    <a:lnL>
                      <a:noFill/>
                    </a:lnL>
                    <a:lnR>
                      <a:noFill/>
                    </a:lnR>
                    <a:lnT>
                      <a:noFill/>
                    </a:lnT>
                    <a:lnB>
                      <a:noFill/>
                    </a:lnB>
                  </a:tcPr>
                </a:tc>
                <a:extLst>
                  <a:ext uri="{0D108BD9-81ED-4DB2-BD59-A6C34878D82A}">
                    <a16:rowId xmlns:a16="http://schemas.microsoft.com/office/drawing/2014/main" val="1528854489"/>
                  </a:ext>
                </a:extLst>
              </a:tr>
              <a:tr h="158750">
                <a:tc>
                  <a:txBody>
                    <a:bodyPr/>
                    <a:lstStyle/>
                    <a:p>
                      <a:pPr algn="ctr" fontAlgn="b"/>
                      <a:endParaRPr lang="en-US" sz="1000" b="0" i="0" u="none" strike="noStrike">
                        <a:solidFill>
                          <a:srgbClr val="0070C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solidFill>
                            <a:srgbClr val="262626"/>
                          </a:solidFill>
                          <a:effectLst/>
                          <a:latin typeface="Arial" panose="020B0604020202020204" pitchFamily="34" charset="0"/>
                        </a:rPr>
                        <a:t>Knowledge sustaining </a:t>
                      </a:r>
                    </a:p>
                    <a:p>
                      <a:pPr algn="l" fontAlgn="b"/>
                      <a:r>
                        <a:rPr lang="en-US" sz="1000" b="0" i="0" u="none" strike="noStrike">
                          <a:solidFill>
                            <a:srgbClr val="262626"/>
                          </a:solidFill>
                          <a:effectLst/>
                          <a:latin typeface="Arial" panose="020B0604020202020204" pitchFamily="34" charset="0"/>
                        </a:rPr>
                        <a:t>SRD capability and process</a:t>
                      </a:r>
                    </a:p>
                  </a:txBody>
                  <a:tcPr marL="0" marR="0" marT="0" marB="0" anchor="b">
                    <a:lnL>
                      <a:noFill/>
                    </a:lnL>
                    <a:lnR>
                      <a:noFill/>
                    </a:lnR>
                    <a:lnT>
                      <a:noFill/>
                    </a:lnT>
                    <a:lnB>
                      <a:noFill/>
                    </a:lnB>
                  </a:tcPr>
                </a:tc>
                <a:extLst>
                  <a:ext uri="{0D108BD9-81ED-4DB2-BD59-A6C34878D82A}">
                    <a16:rowId xmlns:a16="http://schemas.microsoft.com/office/drawing/2014/main" val="3163305461"/>
                  </a:ext>
                </a:extLst>
              </a:tr>
              <a:tr h="165100">
                <a:tc>
                  <a:txBody>
                    <a:bodyPr/>
                    <a:lstStyle/>
                    <a:p>
                      <a:pPr algn="ctr" fontAlgn="b"/>
                      <a:r>
                        <a:rPr lang="en-US" sz="1000" b="1" i="0" u="none" strike="noStrike">
                          <a:solidFill>
                            <a:srgbClr val="0070C0"/>
                          </a:solidFill>
                          <a:effectLst/>
                          <a:latin typeface="Arial" panose="020B0604020202020204" pitchFamily="34" charset="0"/>
                        </a:rPr>
                        <a:t>3.9</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Business Policy / Practice</a:t>
                      </a:r>
                    </a:p>
                  </a:txBody>
                  <a:tcPr marL="0" marR="0" marT="0" marB="0" anchor="b">
                    <a:lnL>
                      <a:noFill/>
                    </a:lnL>
                    <a:lnR>
                      <a:noFill/>
                    </a:lnR>
                    <a:lnT>
                      <a:noFill/>
                    </a:lnT>
                    <a:lnB>
                      <a:noFill/>
                    </a:lnB>
                  </a:tcPr>
                </a:tc>
                <a:extLst>
                  <a:ext uri="{0D108BD9-81ED-4DB2-BD59-A6C34878D82A}">
                    <a16:rowId xmlns:a16="http://schemas.microsoft.com/office/drawing/2014/main" val="2869104478"/>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Spare/repair annual pricing process (to ensure compliance with PSA obligations)</a:t>
                      </a:r>
                    </a:p>
                  </a:txBody>
                  <a:tcPr marL="0" marR="0" marT="0" marB="0" anchor="b">
                    <a:lnL>
                      <a:noFill/>
                    </a:lnL>
                    <a:lnR>
                      <a:noFill/>
                    </a:lnR>
                    <a:lnT>
                      <a:noFill/>
                    </a:lnT>
                    <a:lnB>
                      <a:noFill/>
                    </a:lnB>
                  </a:tcPr>
                </a:tc>
                <a:extLst>
                  <a:ext uri="{0D108BD9-81ED-4DB2-BD59-A6C34878D82A}">
                    <a16:rowId xmlns:a16="http://schemas.microsoft.com/office/drawing/2014/main" val="600441213"/>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Surcharge to customers (e.g. testing, exchange)</a:t>
                      </a:r>
                    </a:p>
                  </a:txBody>
                  <a:tcPr marL="0" marR="0" marT="0" marB="0" anchor="b">
                    <a:lnL>
                      <a:noFill/>
                    </a:lnL>
                    <a:lnR>
                      <a:noFill/>
                    </a:lnR>
                    <a:lnT>
                      <a:noFill/>
                    </a:lnT>
                    <a:lnB>
                      <a:noFill/>
                    </a:lnB>
                  </a:tcPr>
                </a:tc>
                <a:extLst>
                  <a:ext uri="{0D108BD9-81ED-4DB2-BD59-A6C34878D82A}">
                    <a16:rowId xmlns:a16="http://schemas.microsoft.com/office/drawing/2014/main" val="2299533673"/>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MOS btw HON and Licensee for transition oversight. Leadership review</a:t>
                      </a:r>
                    </a:p>
                  </a:txBody>
                  <a:tcPr marL="0" marR="0" marT="0" marB="0" anchor="b">
                    <a:lnL>
                      <a:noFill/>
                    </a:lnL>
                    <a:lnR>
                      <a:noFill/>
                    </a:lnR>
                    <a:lnT>
                      <a:noFill/>
                    </a:lnT>
                    <a:lnB>
                      <a:noFill/>
                    </a:lnB>
                  </a:tcPr>
                </a:tc>
                <a:extLst>
                  <a:ext uri="{0D108BD9-81ED-4DB2-BD59-A6C34878D82A}">
                    <a16:rowId xmlns:a16="http://schemas.microsoft.com/office/drawing/2014/main" val="1722198052"/>
                  </a:ext>
                </a:extLst>
              </a:tr>
              <a:tr h="165100">
                <a:tc>
                  <a:txBody>
                    <a:bodyPr/>
                    <a:lstStyle/>
                    <a:p>
                      <a:pPr algn="ctr" fontAlgn="b"/>
                      <a:r>
                        <a:rPr lang="en-US" sz="1000" b="1" i="0" u="none" strike="noStrike">
                          <a:solidFill>
                            <a:srgbClr val="0070C0"/>
                          </a:solidFill>
                          <a:effectLst/>
                          <a:latin typeface="Arial" panose="020B0604020202020204" pitchFamily="34" charset="0"/>
                        </a:rPr>
                        <a:t>3.10</a:t>
                      </a:r>
                    </a:p>
                  </a:txBody>
                  <a:tcPr marL="0" marR="0" marT="0" marB="0" anchor="b">
                    <a:lnL>
                      <a:noFill/>
                    </a:lnL>
                    <a:lnR>
                      <a:noFill/>
                    </a:lnR>
                    <a:lnT>
                      <a:noFill/>
                    </a:lnT>
                    <a:lnB>
                      <a:noFill/>
                    </a:lnB>
                  </a:tcPr>
                </a:tc>
                <a:tc>
                  <a:txBody>
                    <a:bodyPr/>
                    <a:lstStyle/>
                    <a:p>
                      <a:pPr algn="l" fontAlgn="b"/>
                      <a:r>
                        <a:rPr lang="en-US" sz="1000" b="1" i="0" u="none" strike="noStrike">
                          <a:solidFill>
                            <a:srgbClr val="0070C0"/>
                          </a:solidFill>
                          <a:effectLst/>
                          <a:latin typeface="Arial" panose="020B0604020202020204" pitchFamily="34" charset="0"/>
                        </a:rPr>
                        <a:t>Plan before Closeout</a:t>
                      </a:r>
                    </a:p>
                  </a:txBody>
                  <a:tcPr marL="0" marR="0" marT="0" marB="0" anchor="b">
                    <a:lnL>
                      <a:noFill/>
                    </a:lnL>
                    <a:lnR>
                      <a:noFill/>
                    </a:lnR>
                    <a:lnT>
                      <a:noFill/>
                    </a:lnT>
                    <a:lnB>
                      <a:noFill/>
                    </a:lnB>
                  </a:tcPr>
                </a:tc>
                <a:extLst>
                  <a:ext uri="{0D108BD9-81ED-4DB2-BD59-A6C34878D82A}">
                    <a16:rowId xmlns:a16="http://schemas.microsoft.com/office/drawing/2014/main" val="2648815247"/>
                  </a:ext>
                </a:extLst>
              </a:tr>
              <a:tr h="165100">
                <a:tc>
                  <a:txBody>
                    <a:bodyPr/>
                    <a:lstStyle/>
                    <a:p>
                      <a:pPr algn="ctr" fontAlgn="b"/>
                      <a:endParaRPr lang="en-US" sz="1000" b="1"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HON's oversight during the entire transition (e.g. Licensee Readiness Assessment by C&amp;PS)</a:t>
                      </a:r>
                    </a:p>
                  </a:txBody>
                  <a:tcPr marL="0" marR="0" marT="0" marB="0" anchor="b">
                    <a:lnL>
                      <a:noFill/>
                    </a:lnL>
                    <a:lnR>
                      <a:noFill/>
                    </a:lnR>
                    <a:lnT>
                      <a:noFill/>
                    </a:lnT>
                    <a:lnB>
                      <a:noFill/>
                    </a:lnB>
                  </a:tcPr>
                </a:tc>
                <a:extLst>
                  <a:ext uri="{0D108BD9-81ED-4DB2-BD59-A6C34878D82A}">
                    <a16:rowId xmlns:a16="http://schemas.microsoft.com/office/drawing/2014/main" val="426477788"/>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HON system updates (SAP, ROCAP, Portal, SIL, Catalog…)</a:t>
                      </a:r>
                    </a:p>
                  </a:txBody>
                  <a:tcPr marL="0" marR="0" marT="0" marB="0" anchor="b">
                    <a:lnL>
                      <a:noFill/>
                    </a:lnL>
                    <a:lnR>
                      <a:noFill/>
                    </a:lnR>
                    <a:lnT>
                      <a:noFill/>
                    </a:lnT>
                    <a:lnB>
                      <a:noFill/>
                    </a:lnB>
                  </a:tcPr>
                </a:tc>
                <a:extLst>
                  <a:ext uri="{0D108BD9-81ED-4DB2-BD59-A6C34878D82A}">
                    <a16:rowId xmlns:a16="http://schemas.microsoft.com/office/drawing/2014/main" val="99924248"/>
                  </a:ext>
                </a:extLst>
              </a:tr>
              <a:tr h="158750">
                <a:tc>
                  <a:txBody>
                    <a:bodyPr/>
                    <a:lstStyle/>
                    <a:p>
                      <a:pPr algn="ctr" fontAlgn="b"/>
                      <a:endParaRPr lang="en-US" sz="1000" b="0" i="0" u="none" strike="noStrike">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000" b="0" i="0" u="none" strike="noStrike">
                          <a:effectLst/>
                          <a:latin typeface="Arial" panose="020B0604020202020204" pitchFamily="34" charset="0"/>
                        </a:rPr>
                        <a:t>Plan of HON-licensee co-testing customer order flow before closeout</a:t>
                      </a:r>
                    </a:p>
                  </a:txBody>
                  <a:tcPr marL="0" marR="0" marT="0" marB="0" anchor="b">
                    <a:lnL>
                      <a:noFill/>
                    </a:lnL>
                    <a:lnR>
                      <a:noFill/>
                    </a:lnR>
                    <a:lnT>
                      <a:noFill/>
                    </a:lnT>
                    <a:lnB>
                      <a:noFill/>
                    </a:lnB>
                  </a:tcPr>
                </a:tc>
                <a:extLst>
                  <a:ext uri="{0D108BD9-81ED-4DB2-BD59-A6C34878D82A}">
                    <a16:rowId xmlns:a16="http://schemas.microsoft.com/office/drawing/2014/main" val="900920108"/>
                  </a:ext>
                </a:extLst>
              </a:tr>
            </a:tbl>
          </a:graphicData>
        </a:graphic>
      </p:graphicFrame>
      <p:sp>
        <p:nvSpPr>
          <p:cNvPr id="11" name="TextBox 10">
            <a:extLst>
              <a:ext uri="{FF2B5EF4-FFF2-40B4-BE49-F238E27FC236}">
                <a16:creationId xmlns:a16="http://schemas.microsoft.com/office/drawing/2014/main" id="{0D0974E5-B80C-5A13-7344-30277EC96C2B}"/>
              </a:ext>
            </a:extLst>
          </p:cNvPr>
          <p:cNvSpPr txBox="1"/>
          <p:nvPr/>
        </p:nvSpPr>
        <p:spPr>
          <a:xfrm>
            <a:off x="7876353" y="1933724"/>
            <a:ext cx="1605311" cy="486891"/>
          </a:xfrm>
          <a:prstGeom prst="rect">
            <a:avLst/>
          </a:prstGeom>
          <a:noFill/>
        </p:spPr>
        <p:txBody>
          <a:bodyPr wrap="none" lIns="0" tIns="0" rIns="0" bIns="0" rtlCol="0">
            <a:noAutofit/>
          </a:bodyPr>
          <a:lstStyle/>
          <a:p>
            <a:pPr algn="l"/>
            <a:r>
              <a:rPr lang="en-US" sz="1200" i="1">
                <a:solidFill>
                  <a:srgbClr val="C00000"/>
                </a:solidFill>
              </a:rPr>
              <a:t>Licensee Readiness </a:t>
            </a:r>
          </a:p>
          <a:p>
            <a:pPr algn="l"/>
            <a:r>
              <a:rPr lang="en-US" sz="1200" i="1">
                <a:solidFill>
                  <a:srgbClr val="C00000"/>
                </a:solidFill>
              </a:rPr>
              <a:t>Assessment Audit #1 </a:t>
            </a:r>
          </a:p>
        </p:txBody>
      </p:sp>
      <p:sp>
        <p:nvSpPr>
          <p:cNvPr id="12" name="Isosceles Triangle 11">
            <a:extLst>
              <a:ext uri="{FF2B5EF4-FFF2-40B4-BE49-F238E27FC236}">
                <a16:creationId xmlns:a16="http://schemas.microsoft.com/office/drawing/2014/main" id="{C4A2B26E-A854-C09A-224E-7DB81D72FE44}"/>
              </a:ext>
            </a:extLst>
          </p:cNvPr>
          <p:cNvSpPr/>
          <p:nvPr/>
        </p:nvSpPr>
        <p:spPr>
          <a:xfrm>
            <a:off x="8722823" y="1736040"/>
            <a:ext cx="197657" cy="177010"/>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3" name="Isosceles Triangle 12">
            <a:extLst>
              <a:ext uri="{FF2B5EF4-FFF2-40B4-BE49-F238E27FC236}">
                <a16:creationId xmlns:a16="http://schemas.microsoft.com/office/drawing/2014/main" id="{7D8945C5-BEAA-BA63-AFE5-1C37C9ED6C21}"/>
              </a:ext>
            </a:extLst>
          </p:cNvPr>
          <p:cNvSpPr/>
          <p:nvPr/>
        </p:nvSpPr>
        <p:spPr>
          <a:xfrm>
            <a:off x="10124903" y="1756360"/>
            <a:ext cx="197657" cy="177010"/>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4" name="TextBox 13">
            <a:extLst>
              <a:ext uri="{FF2B5EF4-FFF2-40B4-BE49-F238E27FC236}">
                <a16:creationId xmlns:a16="http://schemas.microsoft.com/office/drawing/2014/main" id="{6F132716-0FE3-96C0-7E4E-DECFA7516518}"/>
              </a:ext>
            </a:extLst>
          </p:cNvPr>
          <p:cNvSpPr txBox="1"/>
          <p:nvPr/>
        </p:nvSpPr>
        <p:spPr>
          <a:xfrm>
            <a:off x="9816914" y="1943496"/>
            <a:ext cx="551240" cy="279485"/>
          </a:xfrm>
          <a:prstGeom prst="rect">
            <a:avLst/>
          </a:prstGeom>
          <a:noFill/>
        </p:spPr>
        <p:txBody>
          <a:bodyPr wrap="none" lIns="0" tIns="0" rIns="0" bIns="0" rtlCol="0">
            <a:noAutofit/>
          </a:bodyPr>
          <a:lstStyle/>
          <a:p>
            <a:pPr algn="l"/>
            <a:r>
              <a:rPr lang="en-US" sz="1200" i="1">
                <a:solidFill>
                  <a:srgbClr val="C00000"/>
                </a:solidFill>
              </a:rPr>
              <a:t>Audit #2.</a:t>
            </a:r>
          </a:p>
          <a:p>
            <a:pPr algn="l"/>
            <a:r>
              <a:rPr lang="en-US" sz="1200" i="1">
                <a:solidFill>
                  <a:srgbClr val="C00000"/>
                </a:solidFill>
              </a:rPr>
              <a:t>Test of Order Flow </a:t>
            </a:r>
          </a:p>
        </p:txBody>
      </p:sp>
      <p:sp>
        <p:nvSpPr>
          <p:cNvPr id="18" name="Title 1">
            <a:extLst>
              <a:ext uri="{FF2B5EF4-FFF2-40B4-BE49-F238E27FC236}">
                <a16:creationId xmlns:a16="http://schemas.microsoft.com/office/drawing/2014/main" id="{8F88E79C-A925-746C-74F0-4848B2D16CFC}"/>
              </a:ext>
            </a:extLst>
          </p:cNvPr>
          <p:cNvSpPr>
            <a:spLocks noGrp="1"/>
          </p:cNvSpPr>
          <p:nvPr>
            <p:ph type="title"/>
          </p:nvPr>
        </p:nvSpPr>
        <p:spPr>
          <a:xfrm>
            <a:off x="7621" y="344706"/>
            <a:ext cx="12184379" cy="411592"/>
          </a:xfrm>
        </p:spPr>
        <p:txBody>
          <a:bodyPr/>
          <a:lstStyle/>
          <a:p>
            <a:r>
              <a:rPr lang="en-US" sz="2700"/>
              <a:t>Customer Protection Plan checklist in Transition</a:t>
            </a:r>
          </a:p>
        </p:txBody>
      </p:sp>
    </p:spTree>
    <p:extLst>
      <p:ext uri="{BB962C8B-B14F-4D97-AF65-F5344CB8AC3E}">
        <p14:creationId xmlns:p14="http://schemas.microsoft.com/office/powerpoint/2010/main" val="3322086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8CE9B9-08C0-B936-3665-E64BFEA52F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D03D3A-84CD-4BD1-5DEB-B30DBF0F9A6C}"/>
              </a:ext>
            </a:extLst>
          </p:cNvPr>
          <p:cNvSpPr>
            <a:spLocks noGrp="1"/>
          </p:cNvSpPr>
          <p:nvPr>
            <p:ph type="title"/>
          </p:nvPr>
        </p:nvSpPr>
        <p:spPr>
          <a:xfrm>
            <a:off x="301451" y="385346"/>
            <a:ext cx="11201401" cy="411592"/>
          </a:xfrm>
        </p:spPr>
        <p:txBody>
          <a:bodyPr/>
          <a:lstStyle/>
          <a:p>
            <a:r>
              <a:rPr lang="en-US" dirty="0"/>
              <a:t>Active engagement, listening, benchmarking</a:t>
            </a:r>
          </a:p>
        </p:txBody>
      </p:sp>
      <p:sp>
        <p:nvSpPr>
          <p:cNvPr id="3" name="Slide Number Placeholder 2">
            <a:extLst>
              <a:ext uri="{FF2B5EF4-FFF2-40B4-BE49-F238E27FC236}">
                <a16:creationId xmlns:a16="http://schemas.microsoft.com/office/drawing/2014/main" id="{2926C69A-9DB7-B623-0CFD-DB7D994DDAEA}"/>
              </a:ext>
            </a:extLst>
          </p:cNvPr>
          <p:cNvSpPr>
            <a:spLocks noGrp="1"/>
          </p:cNvSpPr>
          <p:nvPr>
            <p:ph type="sldNum" sz="quarter" idx="12"/>
          </p:nvPr>
        </p:nvSpPr>
        <p:spPr>
          <a:xfrm>
            <a:off x="11199757" y="6480166"/>
            <a:ext cx="496945" cy="237617"/>
          </a:xfrm>
        </p:spPr>
        <p:txBody>
          <a:bodyPr/>
          <a:lstStyle/>
          <a:p>
            <a:pPr lvl="0"/>
            <a:fld id="{7B94EC18-1D2B-4535-B738-0E53AFE26620}" type="slidenum">
              <a:rPr lang="en-US" noProof="0" smtClean="0"/>
              <a:pPr lvl="0"/>
              <a:t>16</a:t>
            </a:fld>
            <a:endParaRPr lang="en-US" noProof="0"/>
          </a:p>
        </p:txBody>
      </p:sp>
      <p:sp>
        <p:nvSpPr>
          <p:cNvPr id="9" name="Text Placeholder 8">
            <a:extLst>
              <a:ext uri="{FF2B5EF4-FFF2-40B4-BE49-F238E27FC236}">
                <a16:creationId xmlns:a16="http://schemas.microsoft.com/office/drawing/2014/main" id="{9F2C50A2-72B4-D783-92FD-D96DB3DE96D0}"/>
              </a:ext>
            </a:extLst>
          </p:cNvPr>
          <p:cNvSpPr>
            <a:spLocks noGrp="1"/>
          </p:cNvSpPr>
          <p:nvPr>
            <p:ph type="body" sz="quarter" idx="16"/>
          </p:nvPr>
        </p:nvSpPr>
        <p:spPr/>
        <p:txBody>
          <a:bodyPr/>
          <a:lstStyle/>
          <a:p>
            <a:r>
              <a:rPr lang="en-US" dirty="0"/>
              <a:t>Active Engagement to Improve Customer Experience</a:t>
            </a:r>
          </a:p>
        </p:txBody>
      </p:sp>
      <p:sp>
        <p:nvSpPr>
          <p:cNvPr id="5" name="Text Placeholder 4">
            <a:extLst>
              <a:ext uri="{FF2B5EF4-FFF2-40B4-BE49-F238E27FC236}">
                <a16:creationId xmlns:a16="http://schemas.microsoft.com/office/drawing/2014/main" id="{19CB304C-0960-F2FE-1BFA-3DAB70B3343D}"/>
              </a:ext>
            </a:extLst>
          </p:cNvPr>
          <p:cNvSpPr>
            <a:spLocks noGrp="1"/>
          </p:cNvSpPr>
          <p:nvPr>
            <p:ph type="body" sz="quarter" idx="17"/>
          </p:nvPr>
        </p:nvSpPr>
        <p:spPr>
          <a:xfrm>
            <a:off x="301451" y="1181100"/>
            <a:ext cx="11395249" cy="4663440"/>
          </a:xfrm>
        </p:spPr>
        <p:txBody>
          <a:bodyPr vert="horz" lIns="0" tIns="0" rIns="0" bIns="0" rtlCol="0" anchor="t">
            <a:normAutofit/>
          </a:bodyPr>
          <a:lstStyle/>
          <a:p>
            <a:r>
              <a:rPr lang="en-US" dirty="0"/>
              <a:t>OEM Alignment</a:t>
            </a:r>
          </a:p>
          <a:p>
            <a:pPr marL="342900" indent="-342900">
              <a:buFont typeface="Arial" panose="020B0604020202020204" pitchFamily="34" charset="0"/>
              <a:buChar char="•"/>
            </a:pPr>
            <a:r>
              <a:rPr lang="en-US" dirty="0"/>
              <a:t>Senior leadership participation in OEM advisory boards</a:t>
            </a:r>
          </a:p>
          <a:p>
            <a:pPr marL="342900" indent="-342900">
              <a:buFont typeface="Arial" panose="020B0604020202020204" pitchFamily="34" charset="0"/>
              <a:buChar char="•"/>
            </a:pPr>
            <a:r>
              <a:rPr lang="en-US" dirty="0"/>
              <a:t>CX lab conducted with Dassault focused on service centers</a:t>
            </a:r>
          </a:p>
          <a:p>
            <a:pPr marL="342900" indent="-342900">
              <a:buFont typeface="Arial" panose="020B0604020202020204" pitchFamily="34" charset="0"/>
              <a:buChar char="•"/>
            </a:pPr>
            <a:r>
              <a:rPr lang="en-US" dirty="0"/>
              <a:t>AOG customer experience lab conducted with Gulfstream</a:t>
            </a:r>
          </a:p>
          <a:p>
            <a:pPr marL="342900" indent="-342900">
              <a:buFont typeface="Arial" panose="020B0604020202020204" pitchFamily="34" charset="0"/>
              <a:buChar char="•"/>
            </a:pPr>
            <a:r>
              <a:rPr lang="en-US" dirty="0"/>
              <a:t>AOG customer experience lab planned with Bombardier on November 21st</a:t>
            </a:r>
            <a:endParaRPr lang="en-US" dirty="0">
              <a:cs typeface="Arial"/>
            </a:endParaRPr>
          </a:p>
          <a:p>
            <a:pPr marL="342900" indent="-342900">
              <a:buFont typeface="Arial" panose="020B0604020202020204" pitchFamily="34" charset="0"/>
              <a:buChar char="•"/>
            </a:pPr>
            <a:r>
              <a:rPr lang="en-US" dirty="0">
                <a:cs typeface="Arial"/>
              </a:rPr>
              <a:t>Benchmarking Bombardier CX Improvement in the AIN survey results </a:t>
            </a:r>
          </a:p>
          <a:p>
            <a:pPr marL="342900" indent="-342900">
              <a:buFont typeface="Arial" panose="020B0604020202020204" pitchFamily="34" charset="0"/>
              <a:buChar char="•"/>
            </a:pPr>
            <a:endParaRPr lang="en-US" dirty="0">
              <a:cs typeface="Arial"/>
            </a:endParaRPr>
          </a:p>
          <a:p>
            <a:r>
              <a:rPr lang="en-US" dirty="0">
                <a:cs typeface="Arial"/>
              </a:rPr>
              <a:t>Operator Alignment</a:t>
            </a:r>
          </a:p>
          <a:p>
            <a:pPr marL="342900" indent="-342900">
              <a:buFont typeface="Arial" panose="020B0604020202020204" pitchFamily="34" charset="0"/>
              <a:buChar char="•"/>
            </a:pPr>
            <a:r>
              <a:rPr lang="en-US" dirty="0">
                <a:cs typeface="Arial"/>
              </a:rPr>
              <a:t>Director of Maintenance peer group visiting PHX on Nov. 19</a:t>
            </a:r>
          </a:p>
          <a:p>
            <a:pPr marL="342900" indent="-342900">
              <a:buFont typeface="Arial" panose="020B0604020202020204" pitchFamily="34" charset="0"/>
              <a:buChar char="•"/>
            </a:pPr>
            <a:r>
              <a:rPr lang="en-US" dirty="0">
                <a:cs typeface="Arial"/>
              </a:rPr>
              <a:t>CX labs with customer flight departments</a:t>
            </a:r>
          </a:p>
        </p:txBody>
      </p:sp>
    </p:spTree>
    <p:extLst>
      <p:ext uri="{BB962C8B-B14F-4D97-AF65-F5344CB8AC3E}">
        <p14:creationId xmlns:p14="http://schemas.microsoft.com/office/powerpoint/2010/main" val="1207704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92922-BA47-C69A-33C5-29AB9FB7EDC5}"/>
              </a:ext>
            </a:extLst>
          </p:cNvPr>
          <p:cNvSpPr>
            <a:spLocks noGrp="1"/>
          </p:cNvSpPr>
          <p:nvPr>
            <p:ph type="title"/>
          </p:nvPr>
        </p:nvSpPr>
        <p:spPr>
          <a:xfrm>
            <a:off x="495301" y="385346"/>
            <a:ext cx="11201401" cy="411592"/>
          </a:xfrm>
        </p:spPr>
        <p:txBody>
          <a:bodyPr anchor="t">
            <a:normAutofit/>
          </a:bodyPr>
          <a:lstStyle/>
          <a:p>
            <a:r>
              <a:rPr lang="en-US" dirty="0"/>
              <a:t>Key improvements in 2024</a:t>
            </a:r>
          </a:p>
        </p:txBody>
      </p:sp>
      <p:sp>
        <p:nvSpPr>
          <p:cNvPr id="5" name="Text Placeholder 4">
            <a:extLst>
              <a:ext uri="{FF2B5EF4-FFF2-40B4-BE49-F238E27FC236}">
                <a16:creationId xmlns:a16="http://schemas.microsoft.com/office/drawing/2014/main" id="{EAFBC0A0-794B-9203-0D84-BBBFDB0AC998}"/>
              </a:ext>
            </a:extLst>
          </p:cNvPr>
          <p:cNvSpPr>
            <a:spLocks noGrp="1"/>
          </p:cNvSpPr>
          <p:nvPr>
            <p:ph idx="1"/>
          </p:nvPr>
        </p:nvSpPr>
        <p:spPr>
          <a:xfrm>
            <a:off x="495299" y="1409701"/>
            <a:ext cx="6645859" cy="4297680"/>
          </a:xfrm>
        </p:spPr>
        <p:txBody>
          <a:bodyPr>
            <a:normAutofit lnSpcReduction="10000"/>
          </a:bodyPr>
          <a:lstStyle/>
          <a:p>
            <a:pPr>
              <a:lnSpc>
                <a:spcPct val="90000"/>
              </a:lnSpc>
            </a:pPr>
            <a:r>
              <a:rPr lang="en-US" sz="1400" dirty="0"/>
              <a:t>AOG</a:t>
            </a:r>
          </a:p>
          <a:p>
            <a:pPr marL="573088" lvl="1" indent="-342900">
              <a:lnSpc>
                <a:spcPct val="90000"/>
              </a:lnSpc>
            </a:pPr>
            <a:r>
              <a:rPr lang="en-US" sz="1400" dirty="0"/>
              <a:t>Staff increased by 12 to 36</a:t>
            </a:r>
          </a:p>
          <a:p>
            <a:pPr marL="573088" lvl="1" indent="-342900">
              <a:lnSpc>
                <a:spcPct val="90000"/>
              </a:lnSpc>
            </a:pPr>
            <a:r>
              <a:rPr lang="en-US" sz="1400" dirty="0"/>
              <a:t>38% reduction in open AOG case backlog</a:t>
            </a:r>
          </a:p>
          <a:p>
            <a:pPr marL="573088" lvl="1" indent="-342900">
              <a:lnSpc>
                <a:spcPct val="90000"/>
              </a:lnSpc>
            </a:pPr>
            <a:r>
              <a:rPr lang="en-US" sz="1400" dirty="0"/>
              <a:t>Automation &amp; AI based tools supporting AOG decisions</a:t>
            </a:r>
          </a:p>
          <a:p>
            <a:pPr marL="342900" indent="-342900">
              <a:lnSpc>
                <a:spcPct val="90000"/>
              </a:lnSpc>
            </a:pPr>
            <a:r>
              <a:rPr lang="en-US" sz="1400" dirty="0"/>
              <a:t>ISC</a:t>
            </a:r>
          </a:p>
          <a:p>
            <a:pPr marL="573088" lvl="1" indent="-342900">
              <a:lnSpc>
                <a:spcPct val="90000"/>
              </a:lnSpc>
            </a:pPr>
            <a:r>
              <a:rPr lang="en-US" sz="1400" dirty="0"/>
              <a:t>Output up 19% in 2024, planning to increase another 18% in 2025</a:t>
            </a:r>
          </a:p>
          <a:p>
            <a:pPr marL="573088" lvl="1" indent="-342900">
              <a:lnSpc>
                <a:spcPct val="90000"/>
              </a:lnSpc>
            </a:pPr>
            <a:r>
              <a:rPr lang="en-US" sz="1400" dirty="0"/>
              <a:t>Dual/Multisource parts: +1298 in 2023, +1273 in 2024</a:t>
            </a:r>
          </a:p>
          <a:p>
            <a:pPr marL="342900" indent="-342900">
              <a:lnSpc>
                <a:spcPct val="90000"/>
              </a:lnSpc>
            </a:pPr>
            <a:r>
              <a:rPr lang="en-US" sz="1400" dirty="0"/>
              <a:t>R&amp;O</a:t>
            </a:r>
          </a:p>
          <a:p>
            <a:pPr marL="573088" lvl="1" indent="-342900">
              <a:lnSpc>
                <a:spcPct val="90000"/>
              </a:lnSpc>
            </a:pPr>
            <a:r>
              <a:rPr lang="en-US" sz="1400" dirty="0"/>
              <a:t>$10M capital investment, 200 direct labor resources added</a:t>
            </a:r>
          </a:p>
          <a:p>
            <a:pPr marL="573088" lvl="1" indent="-342900">
              <a:lnSpc>
                <a:spcPct val="90000"/>
              </a:lnSpc>
            </a:pPr>
            <a:r>
              <a:rPr lang="en-US" sz="1400" dirty="0"/>
              <a:t>GROE repair development relieving pressure on new supply (e.g. repair of 23,000 bearings)</a:t>
            </a:r>
          </a:p>
          <a:p>
            <a:pPr marL="342900" indent="-342900">
              <a:lnSpc>
                <a:spcPct val="90000"/>
              </a:lnSpc>
            </a:pPr>
            <a:r>
              <a:rPr lang="en-US" sz="1400" dirty="0"/>
              <a:t>SPEX</a:t>
            </a:r>
          </a:p>
          <a:p>
            <a:pPr marL="573088" lvl="1" indent="-342900">
              <a:lnSpc>
                <a:spcPct val="90000"/>
              </a:lnSpc>
            </a:pPr>
            <a:r>
              <a:rPr lang="en-US" sz="1400" dirty="0"/>
              <a:t>$38M on order to increase pool capacity, $23M received YTD</a:t>
            </a:r>
          </a:p>
          <a:p>
            <a:pPr marL="573088" lvl="1" indent="-342900">
              <a:lnSpc>
                <a:spcPct val="90000"/>
              </a:lnSpc>
            </a:pPr>
            <a:r>
              <a:rPr lang="en-US" sz="1400" dirty="0"/>
              <a:t>Red bins reduced by more than 30% in 2024</a:t>
            </a:r>
          </a:p>
          <a:p>
            <a:pPr marL="342900" indent="-342900">
              <a:lnSpc>
                <a:spcPct val="90000"/>
              </a:lnSpc>
            </a:pPr>
            <a:r>
              <a:rPr lang="en-US" sz="1400" dirty="0"/>
              <a:t>ERB</a:t>
            </a:r>
          </a:p>
          <a:p>
            <a:pPr marL="573088" lvl="1" indent="-342900">
              <a:lnSpc>
                <a:spcPct val="90000"/>
              </a:lnSpc>
            </a:pPr>
            <a:r>
              <a:rPr lang="en-US" sz="1400" dirty="0"/>
              <a:t>$32M in engines added in 2024</a:t>
            </a:r>
          </a:p>
          <a:p>
            <a:pPr marL="573088" lvl="1" indent="-342900">
              <a:lnSpc>
                <a:spcPct val="90000"/>
              </a:lnSpc>
            </a:pPr>
            <a:r>
              <a:rPr lang="en-US" sz="1400" dirty="0"/>
              <a:t>Expanding capacity by partnering and use of 3</a:t>
            </a:r>
            <a:r>
              <a:rPr lang="en-US" sz="1400" baseline="30000" dirty="0"/>
              <a:t>rd</a:t>
            </a:r>
            <a:r>
              <a:rPr lang="en-US" sz="1400" dirty="0"/>
              <a:t> party</a:t>
            </a:r>
          </a:p>
        </p:txBody>
      </p:sp>
      <p:sp>
        <p:nvSpPr>
          <p:cNvPr id="3" name="Slide Number Placeholder 2">
            <a:extLst>
              <a:ext uri="{FF2B5EF4-FFF2-40B4-BE49-F238E27FC236}">
                <a16:creationId xmlns:a16="http://schemas.microsoft.com/office/drawing/2014/main" id="{D60AFD3B-1810-4AF6-0785-2C47475EF0B9}"/>
              </a:ext>
            </a:extLst>
          </p:cNvPr>
          <p:cNvSpPr>
            <a:spLocks noGrp="1"/>
          </p:cNvSpPr>
          <p:nvPr>
            <p:ph type="sldNum" sz="quarter" idx="12"/>
          </p:nvPr>
        </p:nvSpPr>
        <p:spPr>
          <a:xfrm>
            <a:off x="11199757" y="6480166"/>
            <a:ext cx="496945" cy="237617"/>
          </a:xfrm>
        </p:spPr>
        <p:txBody>
          <a:bodyPr anchor="b">
            <a:normAutofit/>
          </a:bodyPr>
          <a:lstStyle/>
          <a:p>
            <a:pPr>
              <a:spcAft>
                <a:spcPts val="600"/>
              </a:spcAft>
            </a:pPr>
            <a:fld id="{7B94EC18-1D2B-4535-B738-0E53AFE26620}" type="slidenum">
              <a:rPr lang="en-US" smtClean="0"/>
              <a:pPr>
                <a:spcAft>
                  <a:spcPts val="600"/>
                </a:spcAft>
              </a:pPr>
              <a:t>17</a:t>
            </a:fld>
            <a:endParaRPr lang="en-US"/>
          </a:p>
        </p:txBody>
      </p:sp>
      <p:pic>
        <p:nvPicPr>
          <p:cNvPr id="7" name="Picture 6">
            <a:extLst>
              <a:ext uri="{FF2B5EF4-FFF2-40B4-BE49-F238E27FC236}">
                <a16:creationId xmlns:a16="http://schemas.microsoft.com/office/drawing/2014/main" id="{1FDD4607-111B-BF53-D016-8796BCF58A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1159" y="1409701"/>
            <a:ext cx="3738981" cy="4297680"/>
          </a:xfrm>
          <a:prstGeom prst="rect">
            <a:avLst/>
          </a:prstGeom>
          <a:noFill/>
        </p:spPr>
      </p:pic>
      <p:sp>
        <p:nvSpPr>
          <p:cNvPr id="4" name="Text Placeholder 3">
            <a:extLst>
              <a:ext uri="{FF2B5EF4-FFF2-40B4-BE49-F238E27FC236}">
                <a16:creationId xmlns:a16="http://schemas.microsoft.com/office/drawing/2014/main" id="{3F0E5E02-6212-C711-08FC-CAD8E319224D}"/>
              </a:ext>
            </a:extLst>
          </p:cNvPr>
          <p:cNvSpPr>
            <a:spLocks noGrp="1"/>
          </p:cNvSpPr>
          <p:nvPr>
            <p:ph type="body" sz="quarter" idx="16"/>
          </p:nvPr>
        </p:nvSpPr>
        <p:spPr>
          <a:xfrm>
            <a:off x="-1" y="5867400"/>
            <a:ext cx="12192000" cy="495299"/>
          </a:xfrm>
        </p:spPr>
        <p:txBody>
          <a:bodyPr anchor="ctr">
            <a:normAutofit/>
          </a:bodyPr>
          <a:lstStyle/>
          <a:p>
            <a:pPr>
              <a:spcAft>
                <a:spcPts val="600"/>
              </a:spcAft>
            </a:pPr>
            <a:r>
              <a:rPr lang="en-US" dirty="0"/>
              <a:t>Tangible progress in 2024…..will continue driving in 2025</a:t>
            </a:r>
            <a:endParaRPr lang="en-US"/>
          </a:p>
        </p:txBody>
      </p:sp>
    </p:spTree>
    <p:extLst>
      <p:ext uri="{BB962C8B-B14F-4D97-AF65-F5344CB8AC3E}">
        <p14:creationId xmlns:p14="http://schemas.microsoft.com/office/powerpoint/2010/main" val="25649524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E6EF50-3069-BE2C-5A85-159005E4DB2E}"/>
              </a:ext>
            </a:extLst>
          </p:cNvPr>
          <p:cNvSpPr>
            <a:spLocks noGrp="1"/>
          </p:cNvSpPr>
          <p:nvPr>
            <p:ph type="title"/>
          </p:nvPr>
        </p:nvSpPr>
        <p:spPr/>
        <p:txBody>
          <a:bodyPr/>
          <a:lstStyle/>
          <a:p>
            <a:r>
              <a:rPr lang="en-US" dirty="0"/>
              <a:t>SPEX Performance</a:t>
            </a:r>
          </a:p>
        </p:txBody>
      </p:sp>
      <p:sp>
        <p:nvSpPr>
          <p:cNvPr id="3" name="Slide Number Placeholder 2">
            <a:extLst>
              <a:ext uri="{FF2B5EF4-FFF2-40B4-BE49-F238E27FC236}">
                <a16:creationId xmlns:a16="http://schemas.microsoft.com/office/drawing/2014/main" id="{3FA949C2-E082-86F8-9A5B-461615FE67A9}"/>
              </a:ext>
            </a:extLst>
          </p:cNvPr>
          <p:cNvSpPr>
            <a:spLocks noGrp="1"/>
          </p:cNvSpPr>
          <p:nvPr>
            <p:ph type="sldNum" sz="quarter" idx="12"/>
          </p:nvPr>
        </p:nvSpPr>
        <p:spPr/>
        <p:txBody>
          <a:bodyPr/>
          <a:lstStyle/>
          <a:p>
            <a:fld id="{7B94EC18-1D2B-4535-B738-0E53AFE26620}" type="slidenum">
              <a:rPr lang="en-US" smtClean="0"/>
              <a:t>18</a:t>
            </a:fld>
            <a:endParaRPr lang="en-US"/>
          </a:p>
        </p:txBody>
      </p:sp>
      <p:sp>
        <p:nvSpPr>
          <p:cNvPr id="9" name="Text Placeholder 8">
            <a:extLst>
              <a:ext uri="{FF2B5EF4-FFF2-40B4-BE49-F238E27FC236}">
                <a16:creationId xmlns:a16="http://schemas.microsoft.com/office/drawing/2014/main" id="{EA3EDD51-4D2D-5C8B-D729-7259B19F7185}"/>
              </a:ext>
            </a:extLst>
          </p:cNvPr>
          <p:cNvSpPr>
            <a:spLocks noGrp="1"/>
          </p:cNvSpPr>
          <p:nvPr>
            <p:ph type="body" sz="quarter" idx="17"/>
          </p:nvPr>
        </p:nvSpPr>
        <p:spPr>
          <a:xfrm>
            <a:off x="495300" y="982176"/>
            <a:ext cx="11201400" cy="4812934"/>
          </a:xfrm>
        </p:spPr>
        <p:txBody>
          <a:bodyPr>
            <a:normAutofit/>
          </a:bodyPr>
          <a:lstStyle/>
          <a:p>
            <a:pPr marL="342900" indent="-342900">
              <a:buFont typeface="Arial" panose="020B0604020202020204" pitchFamily="34" charset="0"/>
              <a:buChar char="•"/>
            </a:pPr>
            <a:r>
              <a:rPr lang="en-US" sz="2000" dirty="0"/>
              <a:t>Past due SPEX orders reduced by 12%</a:t>
            </a:r>
          </a:p>
          <a:p>
            <a:pPr marL="342900" indent="-342900">
              <a:buFont typeface="Arial" panose="020B0604020202020204" pitchFamily="34" charset="0"/>
              <a:buChar char="•"/>
            </a:pPr>
            <a:r>
              <a:rPr lang="en-US" sz="2000" dirty="0"/>
              <a:t>On time to request increased by 10%</a:t>
            </a:r>
          </a:p>
          <a:p>
            <a:pPr marL="342900" indent="-342900">
              <a:buFont typeface="Arial" panose="020B0604020202020204" pitchFamily="34" charset="0"/>
              <a:buChar char="•"/>
            </a:pPr>
            <a:r>
              <a:rPr lang="en-US" sz="2000" dirty="0"/>
              <a:t>Red bins reduced by &gt;30%</a:t>
            </a:r>
          </a:p>
          <a:p>
            <a:pPr marL="342900" lvl="1" indent="-342900">
              <a:buFont typeface="Arial" panose="020B0604020202020204" pitchFamily="34" charset="0"/>
              <a:buChar char="•"/>
            </a:pPr>
            <a:r>
              <a:rPr lang="en-US" b="1" dirty="0"/>
              <a:t>Organizational realignment under customer facing team</a:t>
            </a:r>
          </a:p>
          <a:p>
            <a:pPr marL="571500" lvl="2" indent="-342900"/>
            <a:r>
              <a:rPr lang="en-US" sz="1600" b="1" dirty="0"/>
              <a:t>Resource hired on-site at Olathe to drive red bin recovery</a:t>
            </a:r>
            <a:endParaRPr lang="en-US" sz="1600" b="1" dirty="0">
              <a:cs typeface="Arial"/>
            </a:endParaRPr>
          </a:p>
          <a:p>
            <a:pPr marL="342900" indent="-342900">
              <a:buFont typeface="Arial" panose="020B0604020202020204" pitchFamily="34" charset="0"/>
              <a:buChar char="•"/>
            </a:pPr>
            <a:endParaRPr lang="en-US" sz="1800" dirty="0"/>
          </a:p>
        </p:txBody>
      </p:sp>
      <p:pic>
        <p:nvPicPr>
          <p:cNvPr id="5" name="Picture 4">
            <a:extLst>
              <a:ext uri="{FF2B5EF4-FFF2-40B4-BE49-F238E27FC236}">
                <a16:creationId xmlns:a16="http://schemas.microsoft.com/office/drawing/2014/main" id="{0A904601-9337-7364-ACCD-2847F0A99A7A}"/>
              </a:ext>
            </a:extLst>
          </p:cNvPr>
          <p:cNvPicPr>
            <a:picLocks noChangeAspect="1"/>
          </p:cNvPicPr>
          <p:nvPr/>
        </p:nvPicPr>
        <p:blipFill>
          <a:blip r:embed="rId3"/>
          <a:stretch>
            <a:fillRect/>
          </a:stretch>
        </p:blipFill>
        <p:spPr>
          <a:xfrm>
            <a:off x="9574935" y="1961732"/>
            <a:ext cx="2617064" cy="716894"/>
          </a:xfrm>
          <a:prstGeom prst="rect">
            <a:avLst/>
          </a:prstGeom>
        </p:spPr>
      </p:pic>
      <p:graphicFrame>
        <p:nvGraphicFramePr>
          <p:cNvPr id="2" name="Chart 1">
            <a:extLst>
              <a:ext uri="{FF2B5EF4-FFF2-40B4-BE49-F238E27FC236}">
                <a16:creationId xmlns:a16="http://schemas.microsoft.com/office/drawing/2014/main" id="{76D62C6A-D7D9-A806-6B15-1A540434BB68}"/>
              </a:ext>
            </a:extLst>
          </p:cNvPr>
          <p:cNvGraphicFramePr>
            <a:graphicFrameLocks/>
          </p:cNvGraphicFramePr>
          <p:nvPr>
            <p:extLst>
              <p:ext uri="{D42A27DB-BD31-4B8C-83A1-F6EECF244321}">
                <p14:modId xmlns:p14="http://schemas.microsoft.com/office/powerpoint/2010/main" val="1464766424"/>
              </p:ext>
            </p:extLst>
          </p:nvPr>
        </p:nvGraphicFramePr>
        <p:xfrm>
          <a:off x="283339" y="2851509"/>
          <a:ext cx="11201399" cy="39064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3BEC10DF-026C-E1E3-51CD-BA8C17397FA5}"/>
              </a:ext>
            </a:extLst>
          </p:cNvPr>
          <p:cNvGraphicFramePr/>
          <p:nvPr/>
        </p:nvGraphicFramePr>
        <p:xfrm>
          <a:off x="9234535" y="38269"/>
          <a:ext cx="2821662" cy="20983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76873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CCCBFFB-5E8B-7712-E4D1-3A7F697314DB}"/>
              </a:ext>
            </a:extLst>
          </p:cNvPr>
          <p:cNvSpPr>
            <a:spLocks noGrp="1"/>
          </p:cNvSpPr>
          <p:nvPr>
            <p:ph type="body" sz="quarter" idx="17"/>
          </p:nvPr>
        </p:nvSpPr>
        <p:spPr/>
        <p:txBody>
          <a:bodyPr>
            <a:normAutofit fontScale="85000" lnSpcReduction="10000"/>
          </a:bodyPr>
          <a:lstStyle/>
          <a:p>
            <a:r>
              <a:rPr lang="en-US" dirty="0"/>
              <a:t>Consistent Themes:							Owners:</a:t>
            </a:r>
          </a:p>
          <a:p>
            <a:pPr marL="342900" indent="-342900">
              <a:buFont typeface="Arial" panose="020B0604020202020204" pitchFamily="34" charset="0"/>
              <a:buChar char="•"/>
            </a:pPr>
            <a:r>
              <a:rPr lang="en-US" b="0" dirty="0"/>
              <a:t>Parts Availability							ISC, Repair &amp; Overhaul</a:t>
            </a:r>
          </a:p>
          <a:p>
            <a:pPr marL="342900" indent="-342900">
              <a:buFont typeface="Arial" panose="020B0604020202020204" pitchFamily="34" charset="0"/>
              <a:buChar char="•"/>
            </a:pPr>
            <a:r>
              <a:rPr lang="en-US" b="0" dirty="0"/>
              <a:t>Price Increases (Parts &amp; MSP)					Aftermarket Americas CBT &amp; Pricing</a:t>
            </a:r>
          </a:p>
          <a:p>
            <a:pPr marL="342900" indent="-342900">
              <a:buFont typeface="Arial" panose="020B0604020202020204" pitchFamily="34" charset="0"/>
              <a:buChar char="•"/>
            </a:pPr>
            <a:r>
              <a:rPr lang="en-US" b="0" dirty="0"/>
              <a:t>Customer Support							Customer &amp; Product Support</a:t>
            </a:r>
          </a:p>
          <a:p>
            <a:pPr marL="342900" indent="-342900">
              <a:buFont typeface="Arial" panose="020B0604020202020204" pitchFamily="34" charset="0"/>
              <a:buChar char="•"/>
            </a:pPr>
            <a:r>
              <a:rPr lang="en-US" b="0" dirty="0"/>
              <a:t>Rental Assets (Engines &amp; SPEX availability) 			Customer &amp; Product Support</a:t>
            </a:r>
          </a:p>
          <a:p>
            <a:pPr marL="342900" indent="-342900">
              <a:buFont typeface="Arial" panose="020B0604020202020204" pitchFamily="34" charset="0"/>
              <a:buChar char="•"/>
            </a:pPr>
            <a:r>
              <a:rPr lang="en-US" b="0" dirty="0"/>
              <a:t>Portal Issues								Global Marketing Services</a:t>
            </a:r>
          </a:p>
          <a:p>
            <a:pPr marL="342900" indent="-342900">
              <a:buFont typeface="Arial" panose="020B0604020202020204" pitchFamily="34" charset="0"/>
              <a:buChar char="•"/>
            </a:pPr>
            <a:r>
              <a:rPr lang="en-US" b="0" dirty="0"/>
              <a:t>Promise Dates								ISC, Repair &amp; Overhaul</a:t>
            </a:r>
          </a:p>
          <a:p>
            <a:endParaRPr lang="en-US" b="0" dirty="0"/>
          </a:p>
          <a:p>
            <a:r>
              <a:rPr lang="en-US" dirty="0"/>
              <a:t>Comments:</a:t>
            </a:r>
          </a:p>
          <a:p>
            <a:pPr marL="342900" indent="-342900">
              <a:buFont typeface="Arial" panose="020B0604020202020204" pitchFamily="34" charset="0"/>
              <a:buChar char="•"/>
            </a:pPr>
            <a:r>
              <a:rPr lang="en-US" b="0" dirty="0"/>
              <a:t>Feels like HW is not specifically addressing parts availability. </a:t>
            </a:r>
          </a:p>
          <a:p>
            <a:pPr marL="342900" indent="-342900">
              <a:buFont typeface="Arial" panose="020B0604020202020204" pitchFamily="34" charset="0"/>
              <a:buChar char="•"/>
            </a:pPr>
            <a:r>
              <a:rPr lang="en-US" b="0" dirty="0"/>
              <a:t>GCC expects more than the typical response.  </a:t>
            </a:r>
          </a:p>
          <a:p>
            <a:pPr marL="342900" indent="-342900">
              <a:buFont typeface="Arial" panose="020B0604020202020204" pitchFamily="34" charset="0"/>
              <a:buChar char="•"/>
            </a:pPr>
            <a:r>
              <a:rPr lang="en-US" b="0" dirty="0"/>
              <a:t>Need more Sr. Leadership to be “in the room”.</a:t>
            </a:r>
          </a:p>
          <a:p>
            <a:pPr marL="342900" indent="-342900">
              <a:buFont typeface="Arial" panose="020B0604020202020204" pitchFamily="34" charset="0"/>
              <a:buChar char="•"/>
            </a:pPr>
            <a:r>
              <a:rPr lang="en-US" b="0" dirty="0"/>
              <a:t>What is the clear path to fix the issues….don’t see this getting better</a:t>
            </a:r>
          </a:p>
          <a:p>
            <a:endParaRPr lang="en-US" dirty="0"/>
          </a:p>
        </p:txBody>
      </p:sp>
      <p:sp>
        <p:nvSpPr>
          <p:cNvPr id="2" name="Title 1">
            <a:extLst>
              <a:ext uri="{FF2B5EF4-FFF2-40B4-BE49-F238E27FC236}">
                <a16:creationId xmlns:a16="http://schemas.microsoft.com/office/drawing/2014/main" id="{B3C017F2-D9E4-8AA7-C7E6-9BE450C6E2C5}"/>
              </a:ext>
            </a:extLst>
          </p:cNvPr>
          <p:cNvSpPr>
            <a:spLocks noGrp="1"/>
          </p:cNvSpPr>
          <p:nvPr>
            <p:ph type="title"/>
          </p:nvPr>
        </p:nvSpPr>
        <p:spPr/>
        <p:txBody>
          <a:bodyPr/>
          <a:lstStyle/>
          <a:p>
            <a:r>
              <a:rPr lang="en-US"/>
              <a:t>Top 5 pain points Survey</a:t>
            </a:r>
            <a:br>
              <a:rPr lang="en-US"/>
            </a:br>
            <a:endParaRPr lang="en-US"/>
          </a:p>
        </p:txBody>
      </p:sp>
      <p:sp>
        <p:nvSpPr>
          <p:cNvPr id="11" name="Text Placeholder 10">
            <a:extLst>
              <a:ext uri="{FF2B5EF4-FFF2-40B4-BE49-F238E27FC236}">
                <a16:creationId xmlns:a16="http://schemas.microsoft.com/office/drawing/2014/main" id="{FDDC0615-DC5C-061A-0DD8-BCF552485FE8}"/>
              </a:ext>
            </a:extLst>
          </p:cNvPr>
          <p:cNvSpPr>
            <a:spLocks noGrp="1"/>
          </p:cNvSpPr>
          <p:nvPr>
            <p:ph type="body" sz="quarter" idx="16"/>
          </p:nvPr>
        </p:nvSpPr>
        <p:spPr/>
        <p:txBody>
          <a:bodyPr/>
          <a:lstStyle/>
          <a:p>
            <a:r>
              <a:rPr lang="en-US" dirty="0"/>
              <a:t>Seeking Continuous feedback from </a:t>
            </a:r>
            <a:r>
              <a:rPr lang="en-US"/>
              <a:t>Customer and Advisory </a:t>
            </a:r>
            <a:r>
              <a:rPr lang="en-US" dirty="0"/>
              <a:t>Input</a:t>
            </a:r>
          </a:p>
        </p:txBody>
      </p:sp>
    </p:spTree>
    <p:extLst>
      <p:ext uri="{BB962C8B-B14F-4D97-AF65-F5344CB8AC3E}">
        <p14:creationId xmlns:p14="http://schemas.microsoft.com/office/powerpoint/2010/main" val="2123385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4" name="Rectangle 10"/>
          <p:cNvSpPr>
            <a:spLocks noGrp="1" noChangeArrowheads="1"/>
          </p:cNvSpPr>
          <p:nvPr>
            <p:ph type="title"/>
          </p:nvPr>
        </p:nvSpPr>
        <p:spPr>
          <a:xfrm>
            <a:off x="2044291" y="741631"/>
            <a:ext cx="7772400" cy="658812"/>
          </a:xfrm>
        </p:spPr>
        <p:txBody>
          <a:bodyPr/>
          <a:lstStyle/>
          <a:p>
            <a:pPr algn="ctr"/>
            <a:r>
              <a:rPr lang="en-US" b="1">
                <a:latin typeface="+mn-lt"/>
                <a:ea typeface="Verdana" panose="020B0604030504040204" pitchFamily="34" charset="0"/>
                <a:cs typeface="Verdana" panose="020B0604030504040204" pitchFamily="34" charset="0"/>
              </a:rPr>
              <a:t>Meeting Ground Rules</a:t>
            </a:r>
          </a:p>
        </p:txBody>
      </p:sp>
      <p:pic>
        <p:nvPicPr>
          <p:cNvPr id="8" name="Picture 7">
            <a:extLst>
              <a:ext uri="{FF2B5EF4-FFF2-40B4-BE49-F238E27FC236}">
                <a16:creationId xmlns:a16="http://schemas.microsoft.com/office/drawing/2014/main" id="{88D65473-7912-4891-9DEC-73AA77A79801}"/>
              </a:ext>
            </a:extLst>
          </p:cNvPr>
          <p:cNvPicPr>
            <a:picLocks noChangeAspect="1"/>
          </p:cNvPicPr>
          <p:nvPr/>
        </p:nvPicPr>
        <p:blipFill>
          <a:blip r:embed="rId3"/>
          <a:stretch>
            <a:fillRect/>
          </a:stretch>
        </p:blipFill>
        <p:spPr>
          <a:xfrm>
            <a:off x="1654799" y="115558"/>
            <a:ext cx="4075433" cy="237268"/>
          </a:xfrm>
          <a:prstGeom prst="rect">
            <a:avLst/>
          </a:prstGeom>
        </p:spPr>
      </p:pic>
      <p:sp>
        <p:nvSpPr>
          <p:cNvPr id="4" name="Rectangle 3">
            <a:extLst>
              <a:ext uri="{FF2B5EF4-FFF2-40B4-BE49-F238E27FC236}">
                <a16:creationId xmlns:a16="http://schemas.microsoft.com/office/drawing/2014/main" id="{C68D7549-544B-46E3-B567-9F1F705B4E2C}"/>
              </a:ext>
            </a:extLst>
          </p:cNvPr>
          <p:cNvSpPr/>
          <p:nvPr/>
        </p:nvSpPr>
        <p:spPr>
          <a:xfrm>
            <a:off x="1268361" y="1533175"/>
            <a:ext cx="9645445" cy="2677656"/>
          </a:xfrm>
          <a:prstGeom prst="rect">
            <a:avLst/>
          </a:prstGeom>
        </p:spPr>
        <p:txBody>
          <a:bodyPr wrap="square" lIns="91440" tIns="45720" rIns="91440" bIns="45720" anchor="t">
            <a:spAutoFit/>
          </a:bodyPr>
          <a:lstStyle/>
          <a:p>
            <a:pPr marL="513715" marR="0" lvl="0" indent="-513715" algn="l" defTabSz="914400" rtl="0" eaLnBrk="0" fontAlgn="base" latinLnBrk="0" hangingPunct="0">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Phones silenced</a:t>
            </a:r>
            <a:endParaRPr lang="en-US">
              <a:cs typeface="+mn-cs"/>
            </a:endParaRPr>
          </a:p>
          <a:p>
            <a:pPr marL="513715" marR="0" lvl="0" indent="-513715" algn="l" defTabSz="914400" rtl="0" eaLnBrk="0" fontAlgn="base" latinLnBrk="0" hangingPunct="0">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Mute for those remote not actively in discussion</a:t>
            </a:r>
            <a:endParaRPr lang="en-US" sz="28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L="513715" indent="-513715">
              <a:spcBef>
                <a:spcPts val="0"/>
              </a:spcBef>
              <a:spcAft>
                <a:spcPts val="0"/>
              </a:spcAft>
              <a:buFont typeface="+mj-lt"/>
              <a:buAutoNum type="arabicPeriod"/>
              <a:defRPr/>
            </a:pP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Remote questions – Use Teams </a:t>
            </a:r>
            <a:r>
              <a:rPr lang="en-US" sz="2800" dirty="0">
                <a:solidFill>
                  <a:srgbClr val="000000"/>
                </a:solidFill>
                <a:latin typeface="Arial"/>
                <a:ea typeface="Times New Roman" panose="02020603050405020304" pitchFamily="18" charset="0"/>
              </a:rPr>
              <a:t>Chat </a:t>
            </a: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function.</a:t>
            </a:r>
            <a:endParaRPr lang="en-US" sz="28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endParaRPr>
          </a:p>
          <a:p>
            <a:pPr marL="513715" marR="0" lvl="0" indent="-513715" algn="l" defTabSz="914400" rtl="0" eaLnBrk="0" fontAlgn="base" latinLnBrk="0" hangingPunct="0">
              <a:lnSpc>
                <a:spcPct val="100000"/>
              </a:lnSpc>
              <a:spcBef>
                <a:spcPts val="0"/>
              </a:spcBef>
              <a:spcAft>
                <a:spcPts val="0"/>
              </a:spcAft>
              <a:buClrTx/>
              <a:buSzTx/>
              <a:buFont typeface="+mj-lt"/>
              <a:buAutoNum type="arabicPeriod"/>
              <a:tabLst/>
              <a:defRPr/>
            </a:pP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Technical difficulties</a:t>
            </a:r>
            <a:endParaRPr lang="en-US" sz="28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L="970915" marR="0" lvl="1" indent="-513715" algn="l" defTabSz="914400" rtl="0" eaLnBrk="0" fontAlgn="base" latinLnBrk="0" hangingPunct="0">
              <a:lnSpc>
                <a:spcPct val="100000"/>
              </a:lnSpc>
              <a:spcBef>
                <a:spcPts val="0"/>
              </a:spcBef>
              <a:spcAft>
                <a:spcPts val="0"/>
              </a:spcAft>
              <a:buClrTx/>
              <a:buSzTx/>
              <a:buFont typeface="+mj-lt"/>
              <a:buAutoNum type="alphaLcPeriod"/>
              <a:tabLst/>
              <a:defRPr/>
            </a:pPr>
            <a:r>
              <a:rPr lang="en-US" sz="2800">
                <a:solidFill>
                  <a:srgbClr val="000000"/>
                </a:solidFill>
                <a:latin typeface="Arial"/>
                <a:ea typeface="Times New Roman" panose="02020603050405020304" pitchFamily="18" charset="0"/>
              </a:rPr>
              <a:t>Brian Baker </a:t>
            </a: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a:t>
            </a:r>
            <a:r>
              <a:rPr lang="en-US" sz="2800" dirty="0">
                <a:solidFill>
                  <a:srgbClr val="000000"/>
                </a:solidFill>
                <a:latin typeface="Arial"/>
                <a:ea typeface="Times New Roman" panose="02020603050405020304" pitchFamily="18" charset="0"/>
              </a:rPr>
              <a:t>623</a:t>
            </a: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 </a:t>
            </a:r>
            <a:r>
              <a:rPr lang="en-US" sz="2800" dirty="0">
                <a:solidFill>
                  <a:srgbClr val="000000"/>
                </a:solidFill>
                <a:latin typeface="Arial"/>
                <a:ea typeface="Times New Roman" panose="02020603050405020304" pitchFamily="18" charset="0"/>
              </a:rPr>
              <a:t>670-2359</a:t>
            </a:r>
            <a:endParaRPr lang="en-US" sz="28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endParaRPr>
          </a:p>
          <a:p>
            <a:pPr marL="970915" marR="0" lvl="1" indent="-513715" algn="l" defTabSz="914400" rtl="0" eaLnBrk="0" fontAlgn="base" latinLnBrk="0" hangingPunct="0">
              <a:lnSpc>
                <a:spcPct val="100000"/>
              </a:lnSpc>
              <a:spcBef>
                <a:spcPts val="0"/>
              </a:spcBef>
              <a:spcAft>
                <a:spcPts val="0"/>
              </a:spcAft>
              <a:buClrTx/>
              <a:buSzTx/>
              <a:buFont typeface="+mj-lt"/>
              <a:buAutoNum type="alphaLcPeriod"/>
              <a:tabLst/>
              <a:defRPr/>
            </a:pPr>
            <a:r>
              <a:rPr lang="en-US" sz="2800">
                <a:solidFill>
                  <a:srgbClr val="000000"/>
                </a:solidFill>
                <a:latin typeface="Arial"/>
                <a:ea typeface="Times New Roman" panose="02020603050405020304" pitchFamily="18" charset="0"/>
              </a:rPr>
              <a:t>Danielle </a:t>
            </a:r>
            <a:r>
              <a:rPr lang="en-US" sz="2800" dirty="0" err="1">
                <a:solidFill>
                  <a:srgbClr val="000000"/>
                </a:solidFill>
                <a:latin typeface="Arial"/>
                <a:ea typeface="Times New Roman" panose="02020603050405020304" pitchFamily="18" charset="0"/>
              </a:rPr>
              <a:t>Richeti</a:t>
            </a:r>
            <a:r>
              <a:rPr lang="en-US" sz="2800">
                <a:solidFill>
                  <a:srgbClr val="000000"/>
                </a:solidFill>
                <a:latin typeface="Arial"/>
                <a:ea typeface="Times New Roman" panose="02020603050405020304" pitchFamily="18" charset="0"/>
              </a:rPr>
              <a:t> </a:t>
            </a: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a:t>
            </a:r>
            <a:r>
              <a:rPr lang="en-US" sz="2800" dirty="0">
                <a:solidFill>
                  <a:srgbClr val="000000"/>
                </a:solidFill>
                <a:latin typeface="Arial"/>
                <a:ea typeface="Times New Roman" panose="02020603050405020304" pitchFamily="18" charset="0"/>
              </a:rPr>
              <a:t>602</a:t>
            </a:r>
            <a:r>
              <a:rPr kumimoji="0" lang="en-US" sz="2800" b="0" i="0" u="none" strike="noStrike" kern="1200" cap="none" spc="0" normalizeH="0" baseline="0" noProof="0">
                <a:ln>
                  <a:noFill/>
                </a:ln>
                <a:solidFill>
                  <a:srgbClr val="000000"/>
                </a:solidFill>
                <a:effectLst/>
                <a:uLnTx/>
                <a:uFillTx/>
                <a:latin typeface="Arial"/>
                <a:ea typeface="Times New Roman" panose="02020603050405020304" pitchFamily="18" charset="0"/>
                <a:cs typeface="+mn-cs"/>
              </a:rPr>
              <a:t>) </a:t>
            </a:r>
            <a:r>
              <a:rPr lang="en-US" sz="2800" dirty="0">
                <a:solidFill>
                  <a:srgbClr val="000000"/>
                </a:solidFill>
                <a:latin typeface="Arial"/>
                <a:ea typeface="Times New Roman" panose="02020603050405020304" pitchFamily="18" charset="0"/>
              </a:rPr>
              <a:t>989-0489</a:t>
            </a:r>
            <a:endParaRPr lang="en-US" sz="28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endParaRPr>
          </a:p>
        </p:txBody>
      </p:sp>
    </p:spTree>
    <p:extLst>
      <p:ext uri="{BB962C8B-B14F-4D97-AF65-F5344CB8AC3E}">
        <p14:creationId xmlns:p14="http://schemas.microsoft.com/office/powerpoint/2010/main" val="352358073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20132-A116-2175-E9B7-4F5878C8EB6F}"/>
            </a:ext>
          </a:extLst>
        </p:cNvPr>
        <p:cNvGrpSpPr/>
        <p:nvPr/>
      </p:nvGrpSpPr>
      <p:grpSpPr>
        <a:xfrm>
          <a:off x="0" y="0"/>
          <a:ext cx="0" cy="0"/>
          <a:chOff x="0" y="0"/>
          <a:chExt cx="0" cy="0"/>
        </a:xfrm>
      </p:grpSpPr>
      <p:sp>
        <p:nvSpPr>
          <p:cNvPr id="73" name="TextBox 48">
            <a:extLst>
              <a:ext uri="{FF2B5EF4-FFF2-40B4-BE49-F238E27FC236}">
                <a16:creationId xmlns:a16="http://schemas.microsoft.com/office/drawing/2014/main" id="{ED1FB69D-2000-2AE8-3142-9233DD918DC7}"/>
              </a:ext>
            </a:extLst>
          </p:cNvPr>
          <p:cNvSpPr txBox="1"/>
          <p:nvPr/>
        </p:nvSpPr>
        <p:spPr>
          <a:xfrm>
            <a:off x="223998" y="4246030"/>
            <a:ext cx="3978396" cy="1567096"/>
          </a:xfrm>
          <a:prstGeom prst="rect">
            <a:avLst/>
          </a:prstGeom>
          <a:noFill/>
        </p:spPr>
        <p:txBody>
          <a:bodyPr wrap="square" lIns="108000" tIns="45720" rIns="108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000000"/>
                </a:solidFill>
                <a:effectLst/>
                <a:uLnTx/>
                <a:uFillTx/>
                <a:latin typeface="Arial"/>
                <a:ea typeface="+mn-ea"/>
                <a:cs typeface="Arial"/>
              </a:rPr>
              <a:t>Technical Support</a:t>
            </a:r>
          </a:p>
          <a:p>
            <a:pPr marL="171450" lvl="1" indent="-171450">
              <a:spcBef>
                <a:spcPts val="200"/>
              </a:spcBef>
              <a:buFont typeface="Arial" panose="020B0604020202020204" pitchFamily="34" charset="0"/>
              <a:buChar char="•"/>
              <a:defRPr/>
            </a:pPr>
            <a:r>
              <a:rPr lang="en-US" altLang="ko-KR" sz="1050" dirty="0">
                <a:solidFill>
                  <a:prstClr val="black"/>
                </a:solidFill>
                <a:latin typeface="Arial"/>
              </a:rPr>
              <a:t>Proactively investigate negative reliability trends</a:t>
            </a:r>
          </a:p>
          <a:p>
            <a:pPr marL="171450" lvl="1" indent="-171450">
              <a:spcBef>
                <a:spcPts val="200"/>
              </a:spcBef>
              <a:buFont typeface="Arial" panose="020B0604020202020204" pitchFamily="34" charset="0"/>
              <a:buChar char="•"/>
              <a:defRPr/>
            </a:pPr>
            <a:r>
              <a:rPr lang="en-US" altLang="ko-KR" sz="1050" dirty="0">
                <a:solidFill>
                  <a:prstClr val="black"/>
                </a:solidFill>
                <a:latin typeface="Arial"/>
              </a:rPr>
              <a:t>Ensure Stakeholder alignment, urgency, </a:t>
            </a:r>
            <a:br>
              <a:rPr lang="en-US" altLang="ko-KR" sz="1050" dirty="0">
                <a:solidFill>
                  <a:prstClr val="black"/>
                </a:solidFill>
                <a:latin typeface="Arial"/>
              </a:rPr>
            </a:br>
            <a:r>
              <a:rPr lang="en-US" altLang="ko-KR" sz="1050" dirty="0">
                <a:solidFill>
                  <a:prstClr val="black"/>
                </a:solidFill>
                <a:latin typeface="Arial"/>
              </a:rPr>
              <a:t>and communication for in-service reliability</a:t>
            </a:r>
          </a:p>
          <a:p>
            <a:pPr marL="171450" lvl="1" indent="-171450">
              <a:spcBef>
                <a:spcPts val="200"/>
              </a:spcBef>
              <a:buFont typeface="Arial" panose="020B0604020202020204" pitchFamily="34" charset="0"/>
              <a:buChar char="•"/>
              <a:defRPr/>
            </a:pPr>
            <a:r>
              <a:rPr lang="en-US" sz="1050" dirty="0">
                <a:solidFill>
                  <a:prstClr val="black"/>
                </a:solidFill>
                <a:latin typeface="Arial"/>
              </a:rPr>
              <a:t>Improve fix effectiveness &amp; reduce overall</a:t>
            </a:r>
            <a:r>
              <a:rPr lang="en-US" altLang="ko-KR" sz="1050" dirty="0">
                <a:solidFill>
                  <a:prstClr val="black"/>
                </a:solidFill>
                <a:latin typeface="Arial"/>
              </a:rPr>
              <a:t> cycle time </a:t>
            </a:r>
          </a:p>
          <a:p>
            <a:pPr marL="171450" lvl="1" indent="-171450">
              <a:spcBef>
                <a:spcPts val="200"/>
              </a:spcBef>
              <a:buFont typeface="Arial" panose="020B0604020202020204" pitchFamily="34" charset="0"/>
              <a:buChar char="•"/>
              <a:defRPr/>
            </a:pPr>
            <a:r>
              <a:rPr lang="en-US" altLang="ko-KR" sz="1050" dirty="0">
                <a:solidFill>
                  <a:prstClr val="black"/>
                </a:solidFill>
                <a:latin typeface="Arial"/>
              </a:rPr>
              <a:t>Drive adoption for strategic Service Bulletins (SBs)</a:t>
            </a:r>
          </a:p>
          <a:p>
            <a:pPr marL="171450" lvl="1" indent="-171450">
              <a:spcBef>
                <a:spcPts val="200"/>
              </a:spcBef>
              <a:buFont typeface="Arial" panose="020B0604020202020204" pitchFamily="34" charset="0"/>
              <a:buChar char="•"/>
              <a:defRPr/>
            </a:pPr>
            <a:r>
              <a:rPr lang="en-US" sz="1050" dirty="0">
                <a:solidFill>
                  <a:prstClr val="black"/>
                </a:solidFill>
                <a:latin typeface="Arial"/>
              </a:rPr>
              <a:t>Reduce # of products in </a:t>
            </a:r>
            <a:br>
              <a:rPr lang="en-US" sz="1050" dirty="0">
                <a:solidFill>
                  <a:prstClr val="black"/>
                </a:solidFill>
                <a:latin typeface="Arial"/>
              </a:rPr>
            </a:br>
            <a:r>
              <a:rPr lang="en-US" sz="1050" dirty="0">
                <a:solidFill>
                  <a:prstClr val="black"/>
                </a:solidFill>
                <a:latin typeface="Arial"/>
              </a:rPr>
              <a:t>platform Delays &amp; Cancellation (D&amp;C) / removal lists</a:t>
            </a:r>
          </a:p>
        </p:txBody>
      </p:sp>
      <p:sp>
        <p:nvSpPr>
          <p:cNvPr id="42" name="TextBox 41">
            <a:extLst>
              <a:ext uri="{FF2B5EF4-FFF2-40B4-BE49-F238E27FC236}">
                <a16:creationId xmlns:a16="http://schemas.microsoft.com/office/drawing/2014/main" id="{E39265ED-1D94-110F-65E8-42EA7090A370}"/>
              </a:ext>
            </a:extLst>
          </p:cNvPr>
          <p:cNvSpPr txBox="1"/>
          <p:nvPr/>
        </p:nvSpPr>
        <p:spPr>
          <a:xfrm>
            <a:off x="362807" y="646389"/>
            <a:ext cx="3442974" cy="121828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Effective Communication</a:t>
            </a:r>
            <a:endParaRPr kumimoji="0" lang="en-US" altLang="ko-KR" sz="1200" b="0" i="0" u="none" strike="noStrike" kern="1200" cap="none" spc="0" normalizeH="0" baseline="0" noProof="0" dirty="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altLang="ko-KR" sz="1050" i="0" u="none" strike="noStrike" kern="1200" cap="none" spc="0" normalizeH="0" baseline="0" noProof="0" dirty="0">
                <a:ln>
                  <a:noFill/>
                </a:ln>
                <a:solidFill>
                  <a:prstClr val="black"/>
                </a:solidFill>
                <a:effectLst/>
                <a:uLnTx/>
                <a:uFillTx/>
                <a:latin typeface="Arial"/>
                <a:ea typeface="+mn-ea"/>
                <a:cs typeface="+mn-cs"/>
              </a:rPr>
              <a:t>Customer centric &amp; targeted</a:t>
            </a:r>
            <a:endParaRPr kumimoji="0" lang="en-US" altLang="ko-KR" sz="1050" i="0" u="none" strike="noStrike" kern="1200" cap="none" spc="0" normalizeH="0" baseline="0" noProof="0" dirty="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altLang="ko-KR" sz="1050" i="0" u="none" strike="noStrike" kern="1200" cap="none" spc="0" normalizeH="0" baseline="0" noProof="0" dirty="0">
                <a:ln>
                  <a:noFill/>
                </a:ln>
                <a:solidFill>
                  <a:prstClr val="black"/>
                </a:solidFill>
                <a:effectLst/>
                <a:uLnTx/>
                <a:uFillTx/>
                <a:latin typeface="Arial"/>
                <a:ea typeface="+mn-ea"/>
                <a:cs typeface="+mn-cs"/>
              </a:rPr>
              <a:t>Effective internal/external talking points &amp; FAQ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altLang="ko-KR" sz="1050" i="0" u="none" strike="noStrike" kern="1200" cap="none" spc="0" normalizeH="0" baseline="0" noProof="0" dirty="0">
                <a:ln>
                  <a:noFill/>
                </a:ln>
                <a:solidFill>
                  <a:prstClr val="black"/>
                </a:solidFill>
                <a:effectLst/>
                <a:uLnTx/>
                <a:uFillTx/>
                <a:latin typeface="Arial"/>
                <a:ea typeface="+mn-ea"/>
                <a:cs typeface="+mn-cs"/>
              </a:rPr>
              <a:t>Regional newsletters</a:t>
            </a:r>
            <a:endParaRPr kumimoji="0" lang="en-US" sz="1050" i="0" u="none" strike="noStrike" kern="1200" cap="none" spc="0" normalizeH="0" baseline="0" noProof="0" dirty="0">
              <a:ln>
                <a:noFill/>
              </a:ln>
              <a:solidFill>
                <a:prstClr val="black"/>
              </a:solidFill>
              <a:effectLst/>
              <a:uLnTx/>
              <a:uFillTx/>
              <a:latin typeface="Arial"/>
              <a:ea typeface="+mn-ea"/>
              <a:cs typeface="+mn-cs"/>
            </a:endParaRPr>
          </a:p>
          <a:p>
            <a:pPr marL="171450" indent="-171450">
              <a:spcBef>
                <a:spcPts val="200"/>
              </a:spcBef>
              <a:buFont typeface="Arial" panose="020B0604020202020204" pitchFamily="34" charset="0"/>
              <a:buChar char="•"/>
              <a:defRPr/>
            </a:pPr>
            <a:r>
              <a:rPr lang="en-US" altLang="ko-KR" sz="1050" dirty="0">
                <a:solidFill>
                  <a:prstClr val="black"/>
                </a:solidFill>
                <a:latin typeface="Arial"/>
              </a:rPr>
              <a:t>Topic-based – Technical &amp; Delivery Performance  webinars &amp; forums</a:t>
            </a:r>
          </a:p>
        </p:txBody>
      </p:sp>
      <p:grpSp>
        <p:nvGrpSpPr>
          <p:cNvPr id="11" name="그룹 200">
            <a:extLst>
              <a:ext uri="{FF2B5EF4-FFF2-40B4-BE49-F238E27FC236}">
                <a16:creationId xmlns:a16="http://schemas.microsoft.com/office/drawing/2014/main" id="{97C0AB1A-647D-DB50-A6FA-16E0E87A63FE}"/>
              </a:ext>
            </a:extLst>
          </p:cNvPr>
          <p:cNvGrpSpPr/>
          <p:nvPr/>
        </p:nvGrpSpPr>
        <p:grpSpPr>
          <a:xfrm rot="18900000">
            <a:off x="3674937" y="4225292"/>
            <a:ext cx="1620829" cy="936877"/>
            <a:chOff x="3013984" y="3425199"/>
            <a:chExt cx="1620829" cy="936877"/>
          </a:xfrm>
        </p:grpSpPr>
        <p:sp>
          <p:nvSpPr>
            <p:cNvPr id="12" name="Oval 75">
              <a:extLst>
                <a:ext uri="{FF2B5EF4-FFF2-40B4-BE49-F238E27FC236}">
                  <a16:creationId xmlns:a16="http://schemas.microsoft.com/office/drawing/2014/main" id="{29B8EF7E-A88B-A445-A09E-109B6E10B5CE}"/>
                </a:ext>
              </a:extLst>
            </p:cNvPr>
            <p:cNvSpPr/>
            <p:nvPr/>
          </p:nvSpPr>
          <p:spPr>
            <a:xfrm flipH="1">
              <a:off x="3229073" y="3609520"/>
              <a:ext cx="572917" cy="5729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Arc 63">
              <a:extLst>
                <a:ext uri="{FF2B5EF4-FFF2-40B4-BE49-F238E27FC236}">
                  <a16:creationId xmlns:a16="http://schemas.microsoft.com/office/drawing/2014/main" id="{B9A3FE70-4FE1-F144-D6E7-71FDBA9DCC8D}"/>
                </a:ext>
              </a:extLst>
            </p:cNvPr>
            <p:cNvSpPr/>
            <p:nvPr/>
          </p:nvSpPr>
          <p:spPr>
            <a:xfrm rot="8100000" flipH="1">
              <a:off x="3013984" y="3425199"/>
              <a:ext cx="936877" cy="936877"/>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4" name="Straight Connector 95">
              <a:extLst>
                <a:ext uri="{FF2B5EF4-FFF2-40B4-BE49-F238E27FC236}">
                  <a16:creationId xmlns:a16="http://schemas.microsoft.com/office/drawing/2014/main" id="{310838B0-B379-5E9B-6AFA-4331611649FF}"/>
                </a:ext>
              </a:extLst>
            </p:cNvPr>
            <p:cNvCxnSpPr>
              <a:cxnSpLocks/>
            </p:cNvCxnSpPr>
            <p:nvPr/>
          </p:nvCxnSpPr>
          <p:spPr>
            <a:xfrm>
              <a:off x="3914813" y="3905372"/>
              <a:ext cx="720000"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5" name="그룹 204">
            <a:extLst>
              <a:ext uri="{FF2B5EF4-FFF2-40B4-BE49-F238E27FC236}">
                <a16:creationId xmlns:a16="http://schemas.microsoft.com/office/drawing/2014/main" id="{EF7A860E-B0BF-EDA5-9288-B2E0BA852134}"/>
              </a:ext>
            </a:extLst>
          </p:cNvPr>
          <p:cNvGrpSpPr/>
          <p:nvPr/>
        </p:nvGrpSpPr>
        <p:grpSpPr>
          <a:xfrm rot="2700000">
            <a:off x="3192560" y="1607387"/>
            <a:ext cx="1678209" cy="936877"/>
            <a:chOff x="3013984" y="3425199"/>
            <a:chExt cx="1655880" cy="936877"/>
          </a:xfrm>
        </p:grpSpPr>
        <p:sp>
          <p:nvSpPr>
            <p:cNvPr id="16" name="Oval 75">
              <a:extLst>
                <a:ext uri="{FF2B5EF4-FFF2-40B4-BE49-F238E27FC236}">
                  <a16:creationId xmlns:a16="http://schemas.microsoft.com/office/drawing/2014/main" id="{D25654F4-FC44-5EB3-EEA5-23DEA6A203C0}"/>
                </a:ext>
              </a:extLst>
            </p:cNvPr>
            <p:cNvSpPr/>
            <p:nvPr/>
          </p:nvSpPr>
          <p:spPr>
            <a:xfrm flipH="1">
              <a:off x="3291060" y="3545842"/>
              <a:ext cx="572917" cy="5729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Arc 63">
              <a:extLst>
                <a:ext uri="{FF2B5EF4-FFF2-40B4-BE49-F238E27FC236}">
                  <a16:creationId xmlns:a16="http://schemas.microsoft.com/office/drawing/2014/main" id="{470F3EDA-2585-5FDF-10EF-11987964DE90}"/>
                </a:ext>
              </a:extLst>
            </p:cNvPr>
            <p:cNvSpPr/>
            <p:nvPr/>
          </p:nvSpPr>
          <p:spPr>
            <a:xfrm rot="8100000" flipH="1">
              <a:off x="3013984" y="3425199"/>
              <a:ext cx="936877" cy="936877"/>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8" name="Straight Connector 95">
              <a:extLst>
                <a:ext uri="{FF2B5EF4-FFF2-40B4-BE49-F238E27FC236}">
                  <a16:creationId xmlns:a16="http://schemas.microsoft.com/office/drawing/2014/main" id="{7425CA5E-5C7A-659A-6B48-34065B6CE8DE}"/>
                </a:ext>
              </a:extLst>
            </p:cNvPr>
            <p:cNvCxnSpPr>
              <a:cxnSpLocks/>
            </p:cNvCxnSpPr>
            <p:nvPr/>
          </p:nvCxnSpPr>
          <p:spPr>
            <a:xfrm>
              <a:off x="3949864" y="3884057"/>
              <a:ext cx="720000"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73857388-E848-399C-0310-09EC10B6E099}"/>
              </a:ext>
            </a:extLst>
          </p:cNvPr>
          <p:cNvSpPr>
            <a:spLocks noGrp="1"/>
          </p:cNvSpPr>
          <p:nvPr>
            <p:ph type="sldNum" sz="quarter" idx="12"/>
          </p:nvPr>
        </p:nvSpPr>
        <p:spPr>
          <a:xfrm>
            <a:off x="11518973" y="6521355"/>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707070"/>
                </a:solidFill>
                <a:effectLst/>
                <a:uLnTx/>
                <a:uFillTx/>
                <a:latin typeface="Arial"/>
                <a:ea typeface="+mn-ea"/>
                <a:cs typeface="Arial"/>
              </a:rPr>
              <a:t>1</a:t>
            </a:r>
          </a:p>
        </p:txBody>
      </p:sp>
      <p:sp>
        <p:nvSpPr>
          <p:cNvPr id="2" name="Title 1">
            <a:extLst>
              <a:ext uri="{FF2B5EF4-FFF2-40B4-BE49-F238E27FC236}">
                <a16:creationId xmlns:a16="http://schemas.microsoft.com/office/drawing/2014/main" id="{572EFA2E-13F1-BCCF-B2D0-BCE7B56D2684}"/>
              </a:ext>
            </a:extLst>
          </p:cNvPr>
          <p:cNvSpPr>
            <a:spLocks noGrp="1"/>
          </p:cNvSpPr>
          <p:nvPr>
            <p:ph type="title"/>
          </p:nvPr>
        </p:nvSpPr>
        <p:spPr>
          <a:xfrm>
            <a:off x="83962" y="99048"/>
            <a:ext cx="11303148" cy="411592"/>
          </a:xfrm>
        </p:spPr>
        <p:txBody>
          <a:bodyPr/>
          <a:lstStyle/>
          <a:p>
            <a:r>
              <a:rPr lang="en-US"/>
              <a:t>Multi-Channel Feedback </a:t>
            </a:r>
            <a:r>
              <a:rPr lang="en-US">
                <a:solidFill>
                  <a:schemeClr val="bg1">
                    <a:lumMod val="65000"/>
                  </a:schemeClr>
                </a:solidFill>
              </a:rPr>
              <a:t>|</a:t>
            </a:r>
            <a:r>
              <a:rPr lang="en-US"/>
              <a:t> </a:t>
            </a:r>
            <a:r>
              <a:rPr lang="en-US">
                <a:solidFill>
                  <a:schemeClr val="accent1"/>
                </a:solidFill>
              </a:rPr>
              <a:t>Critical projects</a:t>
            </a:r>
          </a:p>
        </p:txBody>
      </p:sp>
      <p:grpSp>
        <p:nvGrpSpPr>
          <p:cNvPr id="31" name="그룹 220">
            <a:extLst>
              <a:ext uri="{FF2B5EF4-FFF2-40B4-BE49-F238E27FC236}">
                <a16:creationId xmlns:a16="http://schemas.microsoft.com/office/drawing/2014/main" id="{5D18BDCA-92F6-3F63-0F1F-9D51E7F1B961}"/>
              </a:ext>
            </a:extLst>
          </p:cNvPr>
          <p:cNvGrpSpPr/>
          <p:nvPr/>
        </p:nvGrpSpPr>
        <p:grpSpPr>
          <a:xfrm flipH="1">
            <a:off x="7663921" y="2742716"/>
            <a:ext cx="1620829" cy="936877"/>
            <a:chOff x="3013984" y="3425199"/>
            <a:chExt cx="1620829" cy="936877"/>
          </a:xfrm>
        </p:grpSpPr>
        <p:sp>
          <p:nvSpPr>
            <p:cNvPr id="32" name="Oval 75">
              <a:extLst>
                <a:ext uri="{FF2B5EF4-FFF2-40B4-BE49-F238E27FC236}">
                  <a16:creationId xmlns:a16="http://schemas.microsoft.com/office/drawing/2014/main" id="{7EED65D9-012F-5D53-F115-D4B1C80882D4}"/>
                </a:ext>
              </a:extLst>
            </p:cNvPr>
            <p:cNvSpPr/>
            <p:nvPr/>
          </p:nvSpPr>
          <p:spPr>
            <a:xfrm flipH="1">
              <a:off x="3229073" y="3614745"/>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Arc 63">
              <a:extLst>
                <a:ext uri="{FF2B5EF4-FFF2-40B4-BE49-F238E27FC236}">
                  <a16:creationId xmlns:a16="http://schemas.microsoft.com/office/drawing/2014/main" id="{5AF4CB50-B2B4-E762-850C-1852A6880C13}"/>
                </a:ext>
              </a:extLst>
            </p:cNvPr>
            <p:cNvSpPr/>
            <p:nvPr/>
          </p:nvSpPr>
          <p:spPr>
            <a:xfrm rot="8100000" flipH="1">
              <a:off x="3013984" y="3425199"/>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4" name="Straight Connector 95">
              <a:extLst>
                <a:ext uri="{FF2B5EF4-FFF2-40B4-BE49-F238E27FC236}">
                  <a16:creationId xmlns:a16="http://schemas.microsoft.com/office/drawing/2014/main" id="{09827E86-10CC-B985-556D-F217AD272DC1}"/>
                </a:ext>
              </a:extLst>
            </p:cNvPr>
            <p:cNvCxnSpPr>
              <a:cxnSpLocks/>
            </p:cNvCxnSpPr>
            <p:nvPr/>
          </p:nvCxnSpPr>
          <p:spPr>
            <a:xfrm>
              <a:off x="3914813" y="3905372"/>
              <a:ext cx="7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5" name="Group 105">
            <a:extLst>
              <a:ext uri="{FF2B5EF4-FFF2-40B4-BE49-F238E27FC236}">
                <a16:creationId xmlns:a16="http://schemas.microsoft.com/office/drawing/2014/main" id="{33055469-B5B8-87E6-9598-8318C5B4986A}"/>
              </a:ext>
            </a:extLst>
          </p:cNvPr>
          <p:cNvGrpSpPr/>
          <p:nvPr/>
        </p:nvGrpSpPr>
        <p:grpSpPr>
          <a:xfrm>
            <a:off x="4477629" y="2260319"/>
            <a:ext cx="3174618" cy="1941592"/>
            <a:chOff x="2975812" y="2736845"/>
            <a:chExt cx="3174618" cy="1941592"/>
          </a:xfrm>
        </p:grpSpPr>
        <p:grpSp>
          <p:nvGrpSpPr>
            <p:cNvPr id="36" name="Group 102">
              <a:extLst>
                <a:ext uri="{FF2B5EF4-FFF2-40B4-BE49-F238E27FC236}">
                  <a16:creationId xmlns:a16="http://schemas.microsoft.com/office/drawing/2014/main" id="{9BD0772C-22FB-9AEA-6202-771B9CC6C2A4}"/>
                </a:ext>
              </a:extLst>
            </p:cNvPr>
            <p:cNvGrpSpPr/>
            <p:nvPr/>
          </p:nvGrpSpPr>
          <p:grpSpPr>
            <a:xfrm>
              <a:off x="3163801" y="2903912"/>
              <a:ext cx="2808230" cy="1622534"/>
              <a:chOff x="3163801" y="2903912"/>
              <a:chExt cx="2808230" cy="1622534"/>
            </a:xfrm>
          </p:grpSpPr>
          <p:sp>
            <p:nvSpPr>
              <p:cNvPr id="39" name="Oval 3">
                <a:extLst>
                  <a:ext uri="{FF2B5EF4-FFF2-40B4-BE49-F238E27FC236}">
                    <a16:creationId xmlns:a16="http://schemas.microsoft.com/office/drawing/2014/main" id="{4BFCC52B-64D3-1B9B-3624-BC2E88AAF951}"/>
                  </a:ext>
                </a:extLst>
              </p:cNvPr>
              <p:cNvSpPr/>
              <p:nvPr/>
            </p:nvSpPr>
            <p:spPr>
              <a:xfrm>
                <a:off x="3163801" y="2903912"/>
                <a:ext cx="1622533" cy="1622534"/>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Oval 42">
                <a:extLst>
                  <a:ext uri="{FF2B5EF4-FFF2-40B4-BE49-F238E27FC236}">
                    <a16:creationId xmlns:a16="http://schemas.microsoft.com/office/drawing/2014/main" id="{F6C16E4B-DBD4-6348-6245-799BD0640FFB}"/>
                  </a:ext>
                </a:extLst>
              </p:cNvPr>
              <p:cNvSpPr/>
              <p:nvPr/>
            </p:nvSpPr>
            <p:spPr>
              <a:xfrm>
                <a:off x="4349498" y="2903912"/>
                <a:ext cx="1622533" cy="1622534"/>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8" name="Arc 47">
              <a:extLst>
                <a:ext uri="{FF2B5EF4-FFF2-40B4-BE49-F238E27FC236}">
                  <a16:creationId xmlns:a16="http://schemas.microsoft.com/office/drawing/2014/main" id="{499469ED-6F22-C961-839B-9F6309FEDC0B}"/>
                </a:ext>
              </a:extLst>
            </p:cNvPr>
            <p:cNvSpPr/>
            <p:nvPr/>
          </p:nvSpPr>
          <p:spPr>
            <a:xfrm rot="18900000" flipV="1">
              <a:off x="4208838" y="2736845"/>
              <a:ext cx="1941592" cy="1941591"/>
            </a:xfrm>
            <a:prstGeom prst="arc">
              <a:avLst>
                <a:gd name="adj1" fmla="val 13645212"/>
                <a:gd name="adj2" fmla="val 2561877"/>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Arc 46">
              <a:extLst>
                <a:ext uri="{FF2B5EF4-FFF2-40B4-BE49-F238E27FC236}">
                  <a16:creationId xmlns:a16="http://schemas.microsoft.com/office/drawing/2014/main" id="{FFA0CB63-1915-485A-2215-4A03D7BFF47A}"/>
                </a:ext>
              </a:extLst>
            </p:cNvPr>
            <p:cNvSpPr/>
            <p:nvPr/>
          </p:nvSpPr>
          <p:spPr>
            <a:xfrm rot="2700000" flipH="1" flipV="1">
              <a:off x="2975812" y="2736845"/>
              <a:ext cx="1941592" cy="1941591"/>
            </a:xfrm>
            <a:prstGeom prst="arc">
              <a:avLst>
                <a:gd name="adj1" fmla="val 13645212"/>
                <a:gd name="adj2" fmla="val 2561877"/>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5" name="TextBox 44">
            <a:extLst>
              <a:ext uri="{FF2B5EF4-FFF2-40B4-BE49-F238E27FC236}">
                <a16:creationId xmlns:a16="http://schemas.microsoft.com/office/drawing/2014/main" id="{B34F3206-5D41-6BAA-813F-026CDA43C7F2}"/>
              </a:ext>
            </a:extLst>
          </p:cNvPr>
          <p:cNvSpPr txBox="1"/>
          <p:nvPr/>
        </p:nvSpPr>
        <p:spPr>
          <a:xfrm>
            <a:off x="9215126" y="2505972"/>
            <a:ext cx="2843421" cy="105670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000000"/>
                </a:solidFill>
                <a:effectLst/>
                <a:uLnTx/>
                <a:uFillTx/>
                <a:latin typeface="Arial"/>
                <a:ea typeface="+mn-ea"/>
                <a:cs typeface="Arial" pitchFamily="34" charset="0"/>
              </a:rPr>
              <a:t>Aircraft On Ground  </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Executive escalation focus</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Active Site Leaders and Exec. Leadership</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altLang="ko-KR" sz="1050" dirty="0">
                <a:solidFill>
                  <a:prstClr val="black"/>
                </a:solidFill>
                <a:latin typeface="Arial"/>
              </a:rPr>
              <a:t>Follow sun model with 24/7 coverage</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HAT engagement for rapid solutions</a:t>
            </a:r>
          </a:p>
        </p:txBody>
      </p:sp>
      <p:sp>
        <p:nvSpPr>
          <p:cNvPr id="51" name="TextBox 50">
            <a:extLst>
              <a:ext uri="{FF2B5EF4-FFF2-40B4-BE49-F238E27FC236}">
                <a16:creationId xmlns:a16="http://schemas.microsoft.com/office/drawing/2014/main" id="{93985E9A-962D-FAAE-F2B5-ED9C6018491E}"/>
              </a:ext>
            </a:extLst>
          </p:cNvPr>
          <p:cNvSpPr txBox="1"/>
          <p:nvPr/>
        </p:nvSpPr>
        <p:spPr>
          <a:xfrm>
            <a:off x="7342005" y="5085885"/>
            <a:ext cx="4273558" cy="12439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itchFamily="34" charset="0"/>
              </a:rPr>
              <a:t>Transitions </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altLang="ko-KR" sz="1050" dirty="0">
                <a:solidFill>
                  <a:prstClr val="black"/>
                </a:solidFill>
                <a:latin typeface="Arial"/>
              </a:rPr>
              <a:t>Customer Protection Plan(s) and CX dashboard deployed</a:t>
            </a:r>
          </a:p>
          <a:p>
            <a:pPr marL="171450" lvl="1" indent="-171450">
              <a:spcBef>
                <a:spcPts val="200"/>
              </a:spcBef>
              <a:buFont typeface="Arial" panose="020B0604020202020204" pitchFamily="34" charset="0"/>
              <a:buChar char="•"/>
              <a:defRPr/>
            </a:pPr>
            <a:r>
              <a:rPr lang="en-US" sz="1050" dirty="0">
                <a:solidFill>
                  <a:prstClr val="black"/>
                </a:solidFill>
                <a:latin typeface="Arial"/>
              </a:rPr>
              <a:t>Deployed a unified de-integration checklist</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altLang="ko-KR" sz="1050" dirty="0">
                <a:solidFill>
                  <a:prstClr val="black"/>
                </a:solidFill>
                <a:latin typeface="Arial"/>
              </a:rPr>
              <a:t>Reduced customer effort (e.g., M2M, PO flow test before cutover)</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Effective talking points &amp; FAQ’s for proactive OEM communication </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Order management &amp; AOG support equal or better </a:t>
            </a:r>
          </a:p>
        </p:txBody>
      </p:sp>
      <p:sp>
        <p:nvSpPr>
          <p:cNvPr id="54" name="TextBox 53">
            <a:extLst>
              <a:ext uri="{FF2B5EF4-FFF2-40B4-BE49-F238E27FC236}">
                <a16:creationId xmlns:a16="http://schemas.microsoft.com/office/drawing/2014/main" id="{9B9B478D-CFAC-0897-82E3-80F7D30E53EF}"/>
              </a:ext>
            </a:extLst>
          </p:cNvPr>
          <p:cNvSpPr txBox="1"/>
          <p:nvPr/>
        </p:nvSpPr>
        <p:spPr>
          <a:xfrm>
            <a:off x="4343564" y="449226"/>
            <a:ext cx="3655746" cy="119263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itchFamily="34" charset="0"/>
              </a:rPr>
              <a:t>ISC Recovery</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fontAlgn="auto">
              <a:lnSpc>
                <a:spcPct val="100000"/>
              </a:lnSpc>
              <a:spcBef>
                <a:spcPts val="200"/>
              </a:spcBef>
              <a:spcAft>
                <a:spcPts val="0"/>
              </a:spcAft>
              <a:buClrTx/>
              <a:buSzTx/>
              <a:buFont typeface="Arial" panose="020B0604020202020204" pitchFamily="34" charset="0"/>
              <a:buChar char="•"/>
              <a:tabLst/>
              <a:defRPr/>
            </a:pPr>
            <a:r>
              <a:rPr lang="en-US" sz="1050" dirty="0">
                <a:solidFill>
                  <a:prstClr val="black"/>
                </a:solidFill>
                <a:latin typeface="Arial"/>
              </a:rPr>
              <a:t>Talking points for customer comms to summarize key R&amp;O initiatives &amp; progress against KPIs </a:t>
            </a:r>
            <a:endParaRPr lang="en-US" altLang="ko-KR" sz="1050" dirty="0">
              <a:solidFill>
                <a:prstClr val="black"/>
              </a:solidFill>
              <a:latin typeface="Arial"/>
            </a:endParaRPr>
          </a:p>
          <a:p>
            <a:pPr marL="171450" marR="0" lvl="0" indent="-171450" fontAlgn="auto">
              <a:lnSpc>
                <a:spcPct val="100000"/>
              </a:lnSpc>
              <a:spcBef>
                <a:spcPts val="200"/>
              </a:spcBef>
              <a:spcAft>
                <a:spcPts val="0"/>
              </a:spcAft>
              <a:buClrTx/>
              <a:buSzTx/>
              <a:buFont typeface="Arial" panose="020B0604020202020204" pitchFamily="34" charset="0"/>
              <a:buChar char="•"/>
              <a:tabLst/>
              <a:defRPr/>
            </a:pPr>
            <a:r>
              <a:rPr lang="en-US" altLang="ko-KR" sz="1050" dirty="0">
                <a:solidFill>
                  <a:prstClr val="black"/>
                </a:solidFill>
                <a:latin typeface="Arial"/>
              </a:rPr>
              <a:t>Supply &amp; Demand Planning                        enhancements via AI</a:t>
            </a:r>
            <a:endParaRPr lang="ko-KR" altLang="en-US" sz="1050" dirty="0">
              <a:solidFill>
                <a:prstClr val="black"/>
              </a:solidFill>
              <a:latin typeface="Arial"/>
            </a:endParaRPr>
          </a:p>
          <a:p>
            <a:pPr marL="171450" marR="0" lvl="0" indent="-171450" fontAlgn="auto">
              <a:lnSpc>
                <a:spcPct val="100000"/>
              </a:lnSpc>
              <a:spcBef>
                <a:spcPts val="200"/>
              </a:spcBef>
              <a:spcAft>
                <a:spcPts val="0"/>
              </a:spcAft>
              <a:buClrTx/>
              <a:buSzTx/>
              <a:buFont typeface="Arial" panose="020B0604020202020204" pitchFamily="34" charset="0"/>
              <a:buChar char="•"/>
              <a:tabLst/>
              <a:defRPr/>
            </a:pPr>
            <a:r>
              <a:rPr lang="en-US" altLang="ko-KR" sz="1050" dirty="0">
                <a:solidFill>
                  <a:prstClr val="black"/>
                </a:solidFill>
                <a:latin typeface="Arial"/>
              </a:rPr>
              <a:t>Multi-source / in-source critical parts </a:t>
            </a:r>
          </a:p>
        </p:txBody>
      </p:sp>
      <p:sp>
        <p:nvSpPr>
          <p:cNvPr id="57" name="TextBox 56">
            <a:extLst>
              <a:ext uri="{FF2B5EF4-FFF2-40B4-BE49-F238E27FC236}">
                <a16:creationId xmlns:a16="http://schemas.microsoft.com/office/drawing/2014/main" id="{8EF72E0A-F995-9186-C0FF-612187072423}"/>
              </a:ext>
            </a:extLst>
          </p:cNvPr>
          <p:cNvSpPr txBox="1"/>
          <p:nvPr/>
        </p:nvSpPr>
        <p:spPr>
          <a:xfrm>
            <a:off x="8699095" y="711275"/>
            <a:ext cx="3064576" cy="15670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solidFill>
                <a:effectLst/>
                <a:uLnTx/>
                <a:uFillTx/>
                <a:latin typeface="Arial"/>
                <a:ea typeface="+mn-ea"/>
                <a:cs typeface="Arial" pitchFamily="34" charset="0"/>
              </a:rPr>
              <a:t>Estimated Ship Date Fidelity (ESD) </a:t>
            </a:r>
          </a:p>
          <a:p>
            <a:pPr marL="171450" indent="-171450">
              <a:spcBef>
                <a:spcPts val="200"/>
              </a:spcBef>
              <a:buFont typeface="Arial" panose="020B0604020202020204" pitchFamily="34" charset="0"/>
              <a:buChar char="•"/>
              <a:defRPr/>
            </a:pPr>
            <a:r>
              <a:rPr lang="en-US" altLang="ko-KR" sz="1050" dirty="0">
                <a:solidFill>
                  <a:prstClr val="black"/>
                </a:solidFill>
                <a:latin typeface="Arial"/>
              </a:rPr>
              <a:t>SAP enhancement to calculate ESD recent demonstrated performance (30/60/90) 11/1/24</a:t>
            </a:r>
          </a:p>
          <a:p>
            <a:pPr marL="171450" indent="-171450">
              <a:spcBef>
                <a:spcPts val="200"/>
              </a:spcBef>
              <a:buFont typeface="Arial" panose="020B0604020202020204" pitchFamily="34" charset="0"/>
              <a:buChar char="•"/>
              <a:defRPr/>
            </a:pPr>
            <a:r>
              <a:rPr lang="en-US" altLang="ko-KR" sz="1050" dirty="0">
                <a:solidFill>
                  <a:prstClr val="black"/>
                </a:solidFill>
                <a:latin typeface="Arial"/>
              </a:rPr>
              <a:t>~7% improvement in date fidelity </a:t>
            </a:r>
          </a:p>
          <a:p>
            <a:pPr marL="171450" indent="-171450">
              <a:spcBef>
                <a:spcPts val="200"/>
              </a:spcBef>
              <a:buFont typeface="Arial" panose="020B0604020202020204" pitchFamily="34" charset="0"/>
              <a:buChar char="•"/>
              <a:defRPr/>
            </a:pPr>
            <a:r>
              <a:rPr lang="en-US" altLang="ko-KR" sz="1050" dirty="0">
                <a:solidFill>
                  <a:prstClr val="black"/>
                </a:solidFill>
                <a:latin typeface="Arial"/>
                <a:sym typeface="Wingdings" panose="05000000000000000000" pitchFamily="2" charset="2"/>
              </a:rPr>
              <a:t>ESD automation upon part availability</a:t>
            </a:r>
            <a:endParaRPr lang="en-US" altLang="ko-KR" sz="1050" dirty="0">
              <a:solidFill>
                <a:prstClr val="black"/>
              </a:solidFill>
              <a:latin typeface="Arial"/>
            </a:endParaRPr>
          </a:p>
          <a:p>
            <a:pPr marL="171450" indent="-171450">
              <a:spcBef>
                <a:spcPts val="200"/>
              </a:spcBef>
              <a:buFont typeface="Arial" panose="020B0604020202020204" pitchFamily="34" charset="0"/>
              <a:buChar char="•"/>
              <a:defRPr/>
            </a:pPr>
            <a:r>
              <a:rPr lang="en-US" altLang="ko-KR" sz="1050" dirty="0">
                <a:solidFill>
                  <a:prstClr val="black"/>
                </a:solidFill>
                <a:latin typeface="Arial"/>
              </a:rPr>
              <a:t>Dedicated R&amp;O material leader</a:t>
            </a:r>
          </a:p>
          <a:p>
            <a:pPr marL="171450" indent="-171450">
              <a:spcBef>
                <a:spcPts val="200"/>
              </a:spcBef>
              <a:buFont typeface="Arial" panose="020B0604020202020204" pitchFamily="34" charset="0"/>
              <a:buChar char="•"/>
              <a:defRPr/>
            </a:pPr>
            <a:r>
              <a:rPr lang="en-US" altLang="ko-KR" sz="1050" dirty="0">
                <a:solidFill>
                  <a:prstClr val="black"/>
                </a:solidFill>
                <a:latin typeface="Arial"/>
              </a:rPr>
              <a:t> AI-validated supplier commit dates</a:t>
            </a:r>
          </a:p>
        </p:txBody>
      </p:sp>
      <p:sp>
        <p:nvSpPr>
          <p:cNvPr id="69" name="Freeform 214">
            <a:extLst>
              <a:ext uri="{FF2B5EF4-FFF2-40B4-BE49-F238E27FC236}">
                <a16:creationId xmlns:a16="http://schemas.microsoft.com/office/drawing/2014/main" id="{048D868C-66D9-4CBD-4EE5-FA7909795A63}"/>
              </a:ext>
            </a:extLst>
          </p:cNvPr>
          <p:cNvSpPr>
            <a:spLocks noEditPoints="1"/>
          </p:cNvSpPr>
          <p:nvPr/>
        </p:nvSpPr>
        <p:spPr bwMode="auto">
          <a:xfrm>
            <a:off x="8608343" y="3038825"/>
            <a:ext cx="349717" cy="348105"/>
          </a:xfrm>
          <a:custGeom>
            <a:avLst/>
            <a:gdLst>
              <a:gd name="T0" fmla="*/ 1499 w 2999"/>
              <a:gd name="T1" fmla="*/ 0 h 2998"/>
              <a:gd name="T2" fmla="*/ 2999 w 2999"/>
              <a:gd name="T3" fmla="*/ 1499 h 2998"/>
              <a:gd name="T4" fmla="*/ 1499 w 2999"/>
              <a:gd name="T5" fmla="*/ 2998 h 2998"/>
              <a:gd name="T6" fmla="*/ 0 w 2999"/>
              <a:gd name="T7" fmla="*/ 1499 h 2998"/>
              <a:gd name="T8" fmla="*/ 1499 w 2999"/>
              <a:gd name="T9" fmla="*/ 0 h 2998"/>
              <a:gd name="T10" fmla="*/ 436 w 2999"/>
              <a:gd name="T11" fmla="*/ 879 h 2998"/>
              <a:gd name="T12" fmla="*/ 1054 w 2999"/>
              <a:gd name="T13" fmla="*/ 1364 h 2998"/>
              <a:gd name="T14" fmla="*/ 1274 w 2999"/>
              <a:gd name="T15" fmla="*/ 1364 h 2998"/>
              <a:gd name="T16" fmla="*/ 511 w 2999"/>
              <a:gd name="T17" fmla="*/ 766 h 2998"/>
              <a:gd name="T18" fmla="*/ 436 w 2999"/>
              <a:gd name="T19" fmla="*/ 879 h 2998"/>
              <a:gd name="T20" fmla="*/ 276 w 2999"/>
              <a:gd name="T21" fmla="*/ 1634 h 2998"/>
              <a:gd name="T22" fmla="*/ 1499 w 2999"/>
              <a:gd name="T23" fmla="*/ 2729 h 2998"/>
              <a:gd name="T24" fmla="*/ 2730 w 2999"/>
              <a:gd name="T25" fmla="*/ 1499 h 2998"/>
              <a:gd name="T26" fmla="*/ 1634 w 2999"/>
              <a:gd name="T27" fmla="*/ 276 h 2998"/>
              <a:gd name="T28" fmla="*/ 1634 w 2999"/>
              <a:gd name="T29" fmla="*/ 1499 h 2998"/>
              <a:gd name="T30" fmla="*/ 1499 w 2999"/>
              <a:gd name="T31" fmla="*/ 1634 h 2998"/>
              <a:gd name="T32" fmla="*/ 276 w 2999"/>
              <a:gd name="T33" fmla="*/ 1634 h 2998"/>
              <a:gd name="T34" fmla="*/ 619 w 2999"/>
              <a:gd name="T35" fmla="*/ 1364 h 2998"/>
              <a:gd name="T36" fmla="*/ 324 w 2999"/>
              <a:gd name="T37" fmla="*/ 1133 h 2998"/>
              <a:gd name="T38" fmla="*/ 276 w 2999"/>
              <a:gd name="T39" fmla="*/ 1364 h 2998"/>
              <a:gd name="T40" fmla="*/ 619 w 2999"/>
              <a:gd name="T41" fmla="*/ 1364 h 2998"/>
              <a:gd name="T42" fmla="*/ 695 w 2999"/>
              <a:gd name="T43" fmla="*/ 568 h 2998"/>
              <a:gd name="T44" fmla="*/ 1365 w 2999"/>
              <a:gd name="T45" fmla="*/ 1094 h 2998"/>
              <a:gd name="T46" fmla="*/ 1365 w 2999"/>
              <a:gd name="T47" fmla="*/ 911 h 2998"/>
              <a:gd name="T48" fmla="*/ 813 w 2999"/>
              <a:gd name="T49" fmla="*/ 478 h 2998"/>
              <a:gd name="T50" fmla="*/ 695 w 2999"/>
              <a:gd name="T51" fmla="*/ 568 h 2998"/>
              <a:gd name="T52" fmla="*/ 1077 w 2999"/>
              <a:gd name="T53" fmla="*/ 343 h 2998"/>
              <a:gd name="T54" fmla="*/ 1365 w 2999"/>
              <a:gd name="T55" fmla="*/ 569 h 2998"/>
              <a:gd name="T56" fmla="*/ 1365 w 2999"/>
              <a:gd name="T57" fmla="*/ 276 h 2998"/>
              <a:gd name="T58" fmla="*/ 1077 w 2999"/>
              <a:gd name="T59" fmla="*/ 343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9" h="2998">
                <a:moveTo>
                  <a:pt x="1499" y="0"/>
                </a:moveTo>
                <a:cubicBezTo>
                  <a:pt x="2327" y="0"/>
                  <a:pt x="2999" y="671"/>
                  <a:pt x="2999" y="1499"/>
                </a:cubicBezTo>
                <a:cubicBezTo>
                  <a:pt x="2999" y="2327"/>
                  <a:pt x="2327" y="2998"/>
                  <a:pt x="1499" y="2998"/>
                </a:cubicBezTo>
                <a:cubicBezTo>
                  <a:pt x="671" y="2998"/>
                  <a:pt x="0" y="2327"/>
                  <a:pt x="0" y="1499"/>
                </a:cubicBezTo>
                <a:cubicBezTo>
                  <a:pt x="0" y="671"/>
                  <a:pt x="671" y="0"/>
                  <a:pt x="1499" y="0"/>
                </a:cubicBezTo>
                <a:close/>
                <a:moveTo>
                  <a:pt x="436" y="879"/>
                </a:moveTo>
                <a:cubicBezTo>
                  <a:pt x="1054" y="1364"/>
                  <a:pt x="1054" y="1364"/>
                  <a:pt x="1054" y="1364"/>
                </a:cubicBezTo>
                <a:cubicBezTo>
                  <a:pt x="1274" y="1364"/>
                  <a:pt x="1274" y="1364"/>
                  <a:pt x="1274" y="1364"/>
                </a:cubicBezTo>
                <a:cubicBezTo>
                  <a:pt x="511" y="766"/>
                  <a:pt x="511" y="766"/>
                  <a:pt x="511" y="766"/>
                </a:cubicBezTo>
                <a:cubicBezTo>
                  <a:pt x="484" y="802"/>
                  <a:pt x="459" y="840"/>
                  <a:pt x="436" y="879"/>
                </a:cubicBezTo>
                <a:close/>
                <a:moveTo>
                  <a:pt x="276" y="1634"/>
                </a:moveTo>
                <a:cubicBezTo>
                  <a:pt x="344" y="2256"/>
                  <a:pt x="872" y="2729"/>
                  <a:pt x="1499" y="2729"/>
                </a:cubicBezTo>
                <a:cubicBezTo>
                  <a:pt x="2179" y="2729"/>
                  <a:pt x="2730" y="2179"/>
                  <a:pt x="2730" y="1499"/>
                </a:cubicBezTo>
                <a:cubicBezTo>
                  <a:pt x="2730" y="872"/>
                  <a:pt x="2257" y="344"/>
                  <a:pt x="1634" y="276"/>
                </a:cubicBezTo>
                <a:cubicBezTo>
                  <a:pt x="1634" y="1499"/>
                  <a:pt x="1634" y="1499"/>
                  <a:pt x="1634" y="1499"/>
                </a:cubicBezTo>
                <a:cubicBezTo>
                  <a:pt x="1634" y="1573"/>
                  <a:pt x="1574" y="1634"/>
                  <a:pt x="1499" y="1634"/>
                </a:cubicBezTo>
                <a:cubicBezTo>
                  <a:pt x="1089" y="1634"/>
                  <a:pt x="688" y="1634"/>
                  <a:pt x="276" y="1634"/>
                </a:cubicBezTo>
                <a:close/>
                <a:moveTo>
                  <a:pt x="619" y="1364"/>
                </a:moveTo>
                <a:cubicBezTo>
                  <a:pt x="324" y="1133"/>
                  <a:pt x="324" y="1133"/>
                  <a:pt x="324" y="1133"/>
                </a:cubicBezTo>
                <a:cubicBezTo>
                  <a:pt x="301" y="1207"/>
                  <a:pt x="285" y="1285"/>
                  <a:pt x="276" y="1364"/>
                </a:cubicBezTo>
                <a:lnTo>
                  <a:pt x="619" y="1364"/>
                </a:lnTo>
                <a:close/>
                <a:moveTo>
                  <a:pt x="695" y="568"/>
                </a:moveTo>
                <a:cubicBezTo>
                  <a:pt x="1365" y="1094"/>
                  <a:pt x="1365" y="1094"/>
                  <a:pt x="1365" y="1094"/>
                </a:cubicBezTo>
                <a:cubicBezTo>
                  <a:pt x="1365" y="911"/>
                  <a:pt x="1365" y="911"/>
                  <a:pt x="1365" y="911"/>
                </a:cubicBezTo>
                <a:cubicBezTo>
                  <a:pt x="813" y="478"/>
                  <a:pt x="813" y="478"/>
                  <a:pt x="813" y="478"/>
                </a:cubicBezTo>
                <a:cubicBezTo>
                  <a:pt x="772" y="506"/>
                  <a:pt x="732" y="536"/>
                  <a:pt x="695" y="568"/>
                </a:cubicBezTo>
                <a:close/>
                <a:moveTo>
                  <a:pt x="1077" y="343"/>
                </a:moveTo>
                <a:cubicBezTo>
                  <a:pt x="1365" y="569"/>
                  <a:pt x="1365" y="569"/>
                  <a:pt x="1365" y="569"/>
                </a:cubicBezTo>
                <a:cubicBezTo>
                  <a:pt x="1365" y="276"/>
                  <a:pt x="1365" y="276"/>
                  <a:pt x="1365" y="276"/>
                </a:cubicBezTo>
                <a:cubicBezTo>
                  <a:pt x="1265" y="287"/>
                  <a:pt x="1168" y="310"/>
                  <a:pt x="1077" y="3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27" name="그룹 216">
            <a:extLst>
              <a:ext uri="{FF2B5EF4-FFF2-40B4-BE49-F238E27FC236}">
                <a16:creationId xmlns:a16="http://schemas.microsoft.com/office/drawing/2014/main" id="{9AA8B962-C070-B3CD-3B2A-C4E2C0199595}"/>
              </a:ext>
            </a:extLst>
          </p:cNvPr>
          <p:cNvGrpSpPr/>
          <p:nvPr/>
        </p:nvGrpSpPr>
        <p:grpSpPr>
          <a:xfrm rot="19800000" flipH="1">
            <a:off x="7404458" y="1785527"/>
            <a:ext cx="1620829" cy="936877"/>
            <a:chOff x="3013984" y="3425199"/>
            <a:chExt cx="1620829" cy="936877"/>
          </a:xfrm>
        </p:grpSpPr>
        <p:sp>
          <p:nvSpPr>
            <p:cNvPr id="28" name="Oval 75">
              <a:extLst>
                <a:ext uri="{FF2B5EF4-FFF2-40B4-BE49-F238E27FC236}">
                  <a16:creationId xmlns:a16="http://schemas.microsoft.com/office/drawing/2014/main" id="{68765DD7-B746-336F-75D1-720F8DEA4EFC}"/>
                </a:ext>
              </a:extLst>
            </p:cNvPr>
            <p:cNvSpPr/>
            <p:nvPr/>
          </p:nvSpPr>
          <p:spPr>
            <a:xfrm flipH="1">
              <a:off x="3229073" y="3609520"/>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Arc 63">
              <a:extLst>
                <a:ext uri="{FF2B5EF4-FFF2-40B4-BE49-F238E27FC236}">
                  <a16:creationId xmlns:a16="http://schemas.microsoft.com/office/drawing/2014/main" id="{E09C197F-853E-801D-060E-836C3F4C8F17}"/>
                </a:ext>
              </a:extLst>
            </p:cNvPr>
            <p:cNvSpPr/>
            <p:nvPr/>
          </p:nvSpPr>
          <p:spPr>
            <a:xfrm rot="8100000" flipH="1">
              <a:off x="3013984" y="3425199"/>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0" name="Straight Connector 95">
              <a:extLst>
                <a:ext uri="{FF2B5EF4-FFF2-40B4-BE49-F238E27FC236}">
                  <a16:creationId xmlns:a16="http://schemas.microsoft.com/office/drawing/2014/main" id="{13DACD2F-2173-6E8E-7074-FEBBDF48CB85}"/>
                </a:ext>
              </a:extLst>
            </p:cNvPr>
            <p:cNvCxnSpPr>
              <a:cxnSpLocks/>
            </p:cNvCxnSpPr>
            <p:nvPr/>
          </p:nvCxnSpPr>
          <p:spPr>
            <a:xfrm>
              <a:off x="3914813" y="3905372"/>
              <a:ext cx="7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pic>
        <p:nvPicPr>
          <p:cNvPr id="70" name="Graphic 69">
            <a:extLst>
              <a:ext uri="{FF2B5EF4-FFF2-40B4-BE49-F238E27FC236}">
                <a16:creationId xmlns:a16="http://schemas.microsoft.com/office/drawing/2014/main" id="{E6B63A34-EB6E-0B13-474F-9BF8BA32D7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09129" y="1927402"/>
            <a:ext cx="344318" cy="344318"/>
          </a:xfrm>
          <a:prstGeom prst="rect">
            <a:avLst/>
          </a:prstGeom>
        </p:spPr>
      </p:pic>
      <p:grpSp>
        <p:nvGrpSpPr>
          <p:cNvPr id="82" name="Group 81">
            <a:extLst>
              <a:ext uri="{FF2B5EF4-FFF2-40B4-BE49-F238E27FC236}">
                <a16:creationId xmlns:a16="http://schemas.microsoft.com/office/drawing/2014/main" id="{A8002E46-ABFC-52CC-EF0D-15FFB66789A8}"/>
              </a:ext>
            </a:extLst>
          </p:cNvPr>
          <p:cNvGrpSpPr/>
          <p:nvPr/>
        </p:nvGrpSpPr>
        <p:grpSpPr>
          <a:xfrm>
            <a:off x="4084277" y="4757476"/>
            <a:ext cx="327260" cy="312440"/>
            <a:chOff x="10239375" y="4013201"/>
            <a:chExt cx="420688" cy="401638"/>
          </a:xfrm>
          <a:solidFill>
            <a:schemeClr val="bg1"/>
          </a:solidFill>
        </p:grpSpPr>
        <p:sp>
          <p:nvSpPr>
            <p:cNvPr id="83" name="Freeform 6">
              <a:extLst>
                <a:ext uri="{FF2B5EF4-FFF2-40B4-BE49-F238E27FC236}">
                  <a16:creationId xmlns:a16="http://schemas.microsoft.com/office/drawing/2014/main" id="{DCA8F26E-4C62-C040-0AC6-5E18D94B3DAB}"/>
                </a:ext>
              </a:extLst>
            </p:cNvPr>
            <p:cNvSpPr>
              <a:spLocks/>
            </p:cNvSpPr>
            <p:nvPr/>
          </p:nvSpPr>
          <p:spPr bwMode="auto">
            <a:xfrm>
              <a:off x="10271125" y="4270376"/>
              <a:ext cx="141288" cy="141288"/>
            </a:xfrm>
            <a:custGeom>
              <a:avLst/>
              <a:gdLst>
                <a:gd name="T0" fmla="*/ 43 w 52"/>
                <a:gd name="T1" fmla="*/ 0 h 52"/>
                <a:gd name="T2" fmla="*/ 21 w 52"/>
                <a:gd name="T3" fmla="*/ 21 h 52"/>
                <a:gd name="T4" fmla="*/ 17 w 52"/>
                <a:gd name="T5" fmla="*/ 17 h 52"/>
                <a:gd name="T6" fmla="*/ 0 w 52"/>
                <a:gd name="T7" fmla="*/ 46 h 52"/>
                <a:gd name="T8" fmla="*/ 7 w 52"/>
                <a:gd name="T9" fmla="*/ 52 h 52"/>
                <a:gd name="T10" fmla="*/ 35 w 52"/>
                <a:gd name="T11" fmla="*/ 35 h 52"/>
                <a:gd name="T12" fmla="*/ 31 w 52"/>
                <a:gd name="T13" fmla="*/ 31 h 52"/>
                <a:gd name="T14" fmla="*/ 52 w 52"/>
                <a:gd name="T15" fmla="*/ 10 h 52"/>
                <a:gd name="T16" fmla="*/ 47 w 52"/>
                <a:gd name="T17" fmla="*/ 5 h 52"/>
                <a:gd name="T18" fmla="*/ 43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43" y="0"/>
                  </a:moveTo>
                  <a:cubicBezTo>
                    <a:pt x="21" y="21"/>
                    <a:pt x="21" y="21"/>
                    <a:pt x="21" y="21"/>
                  </a:cubicBezTo>
                  <a:cubicBezTo>
                    <a:pt x="17" y="17"/>
                    <a:pt x="17" y="17"/>
                    <a:pt x="17" y="17"/>
                  </a:cubicBezTo>
                  <a:cubicBezTo>
                    <a:pt x="0" y="46"/>
                    <a:pt x="0" y="46"/>
                    <a:pt x="0" y="46"/>
                  </a:cubicBezTo>
                  <a:cubicBezTo>
                    <a:pt x="7" y="52"/>
                    <a:pt x="7" y="52"/>
                    <a:pt x="7" y="52"/>
                  </a:cubicBezTo>
                  <a:cubicBezTo>
                    <a:pt x="35" y="35"/>
                    <a:pt x="35" y="35"/>
                    <a:pt x="35" y="35"/>
                  </a:cubicBezTo>
                  <a:cubicBezTo>
                    <a:pt x="31" y="31"/>
                    <a:pt x="31" y="31"/>
                    <a:pt x="31" y="31"/>
                  </a:cubicBezTo>
                  <a:cubicBezTo>
                    <a:pt x="52" y="10"/>
                    <a:pt x="52" y="10"/>
                    <a:pt x="52" y="10"/>
                  </a:cubicBezTo>
                  <a:cubicBezTo>
                    <a:pt x="51" y="8"/>
                    <a:pt x="49" y="6"/>
                    <a:pt x="47" y="5"/>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4" name="Freeform 7">
              <a:extLst>
                <a:ext uri="{FF2B5EF4-FFF2-40B4-BE49-F238E27FC236}">
                  <a16:creationId xmlns:a16="http://schemas.microsoft.com/office/drawing/2014/main" id="{4817D333-F2F9-8F31-E583-D9BC7F574AE7}"/>
                </a:ext>
              </a:extLst>
            </p:cNvPr>
            <p:cNvSpPr>
              <a:spLocks/>
            </p:cNvSpPr>
            <p:nvPr/>
          </p:nvSpPr>
          <p:spPr bwMode="auto">
            <a:xfrm>
              <a:off x="10460038" y="4037013"/>
              <a:ext cx="200025" cy="187325"/>
            </a:xfrm>
            <a:custGeom>
              <a:avLst/>
              <a:gdLst>
                <a:gd name="T0" fmla="*/ 39 w 74"/>
                <a:gd name="T1" fmla="*/ 14 h 69"/>
                <a:gd name="T2" fmla="*/ 49 w 74"/>
                <a:gd name="T3" fmla="*/ 21 h 69"/>
                <a:gd name="T4" fmla="*/ 56 w 74"/>
                <a:gd name="T5" fmla="*/ 31 h 69"/>
                <a:gd name="T6" fmla="*/ 27 w 74"/>
                <a:gd name="T7" fmla="*/ 60 h 69"/>
                <a:gd name="T8" fmla="*/ 37 w 74"/>
                <a:gd name="T9" fmla="*/ 69 h 69"/>
                <a:gd name="T10" fmla="*/ 67 w 74"/>
                <a:gd name="T11" fmla="*/ 39 h 69"/>
                <a:gd name="T12" fmla="*/ 59 w 74"/>
                <a:gd name="T13" fmla="*/ 11 h 69"/>
                <a:gd name="T14" fmla="*/ 38 w 74"/>
                <a:gd name="T15" fmla="*/ 0 h 69"/>
                <a:gd name="T16" fmla="*/ 30 w 74"/>
                <a:gd name="T17" fmla="*/ 3 h 69"/>
                <a:gd name="T18" fmla="*/ 0 w 74"/>
                <a:gd name="T19" fmla="*/ 33 h 69"/>
                <a:gd name="T20" fmla="*/ 10 w 74"/>
                <a:gd name="T21" fmla="*/ 43 h 69"/>
                <a:gd name="T22" fmla="*/ 39 w 74"/>
                <a:gd name="T23"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9">
                  <a:moveTo>
                    <a:pt x="39" y="14"/>
                  </a:moveTo>
                  <a:cubicBezTo>
                    <a:pt x="41" y="14"/>
                    <a:pt x="45" y="17"/>
                    <a:pt x="49" y="21"/>
                  </a:cubicBezTo>
                  <a:cubicBezTo>
                    <a:pt x="53" y="24"/>
                    <a:pt x="55" y="29"/>
                    <a:pt x="56" y="31"/>
                  </a:cubicBezTo>
                  <a:cubicBezTo>
                    <a:pt x="27" y="60"/>
                    <a:pt x="27" y="60"/>
                    <a:pt x="27" y="60"/>
                  </a:cubicBezTo>
                  <a:cubicBezTo>
                    <a:pt x="30" y="63"/>
                    <a:pt x="34" y="66"/>
                    <a:pt x="37" y="69"/>
                  </a:cubicBezTo>
                  <a:cubicBezTo>
                    <a:pt x="67" y="39"/>
                    <a:pt x="67" y="39"/>
                    <a:pt x="67" y="39"/>
                  </a:cubicBezTo>
                  <a:cubicBezTo>
                    <a:pt x="74" y="32"/>
                    <a:pt x="68" y="20"/>
                    <a:pt x="59" y="11"/>
                  </a:cubicBezTo>
                  <a:cubicBezTo>
                    <a:pt x="54" y="6"/>
                    <a:pt x="45" y="0"/>
                    <a:pt x="38" y="0"/>
                  </a:cubicBezTo>
                  <a:cubicBezTo>
                    <a:pt x="34" y="0"/>
                    <a:pt x="31" y="1"/>
                    <a:pt x="30" y="3"/>
                  </a:cubicBezTo>
                  <a:cubicBezTo>
                    <a:pt x="0" y="33"/>
                    <a:pt x="0" y="33"/>
                    <a:pt x="0" y="33"/>
                  </a:cubicBezTo>
                  <a:cubicBezTo>
                    <a:pt x="10" y="43"/>
                    <a:pt x="10" y="43"/>
                    <a:pt x="10" y="43"/>
                  </a:cubicBezTo>
                  <a:lnTo>
                    <a:pt x="3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5" name="Freeform 8">
              <a:extLst>
                <a:ext uri="{FF2B5EF4-FFF2-40B4-BE49-F238E27FC236}">
                  <a16:creationId xmlns:a16="http://schemas.microsoft.com/office/drawing/2014/main" id="{7719F751-3459-78AA-5334-EC3B62FA25F9}"/>
                </a:ext>
              </a:extLst>
            </p:cNvPr>
            <p:cNvSpPr>
              <a:spLocks noEditPoints="1"/>
            </p:cNvSpPr>
            <p:nvPr/>
          </p:nvSpPr>
          <p:spPr bwMode="auto">
            <a:xfrm>
              <a:off x="10239375" y="4013201"/>
              <a:ext cx="401638" cy="401638"/>
            </a:xfrm>
            <a:custGeom>
              <a:avLst/>
              <a:gdLst>
                <a:gd name="T0" fmla="*/ 103 w 148"/>
                <a:gd name="T1" fmla="*/ 74 h 148"/>
                <a:gd name="T2" fmla="*/ 76 w 148"/>
                <a:gd name="T3" fmla="*/ 47 h 148"/>
                <a:gd name="T4" fmla="*/ 74 w 148"/>
                <a:gd name="T5" fmla="*/ 36 h 148"/>
                <a:gd name="T6" fmla="*/ 39 w 148"/>
                <a:gd name="T7" fmla="*/ 1 h 148"/>
                <a:gd name="T8" fmla="*/ 28 w 148"/>
                <a:gd name="T9" fmla="*/ 4 h 148"/>
                <a:gd name="T10" fmla="*/ 26 w 148"/>
                <a:gd name="T11" fmla="*/ 4 h 148"/>
                <a:gd name="T12" fmla="*/ 21 w 148"/>
                <a:gd name="T13" fmla="*/ 7 h 148"/>
                <a:gd name="T14" fmla="*/ 27 w 148"/>
                <a:gd name="T15" fmla="*/ 13 h 148"/>
                <a:gd name="T16" fmla="*/ 39 w 148"/>
                <a:gd name="T17" fmla="*/ 25 h 148"/>
                <a:gd name="T18" fmla="*/ 29 w 148"/>
                <a:gd name="T19" fmla="*/ 40 h 148"/>
                <a:gd name="T20" fmla="*/ 12 w 148"/>
                <a:gd name="T21" fmla="*/ 28 h 148"/>
                <a:gd name="T22" fmla="*/ 12 w 148"/>
                <a:gd name="T23" fmla="*/ 28 h 148"/>
                <a:gd name="T24" fmla="*/ 3 w 148"/>
                <a:gd name="T25" fmla="*/ 27 h 148"/>
                <a:gd name="T26" fmla="*/ 3 w 148"/>
                <a:gd name="T27" fmla="*/ 28 h 148"/>
                <a:gd name="T28" fmla="*/ 3 w 148"/>
                <a:gd name="T29" fmla="*/ 28 h 148"/>
                <a:gd name="T30" fmla="*/ 11 w 148"/>
                <a:gd name="T31" fmla="*/ 66 h 148"/>
                <a:gd name="T32" fmla="*/ 43 w 148"/>
                <a:gd name="T33" fmla="*/ 74 h 148"/>
                <a:gd name="T34" fmla="*/ 60 w 148"/>
                <a:gd name="T35" fmla="*/ 90 h 148"/>
                <a:gd name="T36" fmla="*/ 83 w 148"/>
                <a:gd name="T37" fmla="*/ 113 h 148"/>
                <a:gd name="T38" fmla="*/ 123 w 148"/>
                <a:gd name="T39" fmla="*/ 148 h 148"/>
                <a:gd name="T40" fmla="*/ 148 w 148"/>
                <a:gd name="T41" fmla="*/ 124 h 148"/>
                <a:gd name="T42" fmla="*/ 113 w 148"/>
                <a:gd name="T43" fmla="*/ 83 h 148"/>
                <a:gd name="T44" fmla="*/ 56 w 148"/>
                <a:gd name="T45" fmla="*/ 67 h 148"/>
                <a:gd name="T46" fmla="*/ 43 w 148"/>
                <a:gd name="T47" fmla="*/ 60 h 148"/>
                <a:gd name="T48" fmla="*/ 20 w 148"/>
                <a:gd name="T49" fmla="*/ 57 h 148"/>
                <a:gd name="T50" fmla="*/ 13 w 148"/>
                <a:gd name="T51" fmla="*/ 39 h 148"/>
                <a:gd name="T52" fmla="*/ 26 w 148"/>
                <a:gd name="T53" fmla="*/ 48 h 148"/>
                <a:gd name="T54" fmla="*/ 44 w 148"/>
                <a:gd name="T55" fmla="*/ 34 h 148"/>
                <a:gd name="T56" fmla="*/ 38 w 148"/>
                <a:gd name="T57" fmla="*/ 14 h 148"/>
                <a:gd name="T58" fmla="*/ 56 w 148"/>
                <a:gd name="T59" fmla="*/ 21 h 148"/>
                <a:gd name="T60" fmla="*/ 59 w 148"/>
                <a:gd name="T61" fmla="*/ 43 h 148"/>
                <a:gd name="T62" fmla="*/ 61 w 148"/>
                <a:gd name="T63" fmla="*/ 51 h 148"/>
                <a:gd name="T64" fmla="*/ 80 w 148"/>
                <a:gd name="T65" fmla="*/ 69 h 148"/>
                <a:gd name="T66" fmla="*/ 100 w 148"/>
                <a:gd name="T67" fmla="*/ 90 h 148"/>
                <a:gd name="T68" fmla="*/ 130 w 148"/>
                <a:gd name="T69" fmla="*/ 131 h 148"/>
                <a:gd name="T70" fmla="*/ 106 w 148"/>
                <a:gd name="T71" fmla="*/ 117 h 148"/>
                <a:gd name="T72" fmla="*/ 81 w 148"/>
                <a:gd name="T73" fmla="*/ 93 h 148"/>
                <a:gd name="T74" fmla="*/ 29 w 148"/>
                <a:gd name="T75"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8">
                  <a:moveTo>
                    <a:pt x="113" y="83"/>
                  </a:moveTo>
                  <a:cubicBezTo>
                    <a:pt x="110" y="80"/>
                    <a:pt x="106" y="77"/>
                    <a:pt x="103" y="74"/>
                  </a:cubicBezTo>
                  <a:cubicBezTo>
                    <a:pt x="97" y="68"/>
                    <a:pt x="91" y="62"/>
                    <a:pt x="86" y="57"/>
                  </a:cubicBezTo>
                  <a:cubicBezTo>
                    <a:pt x="82" y="53"/>
                    <a:pt x="79" y="50"/>
                    <a:pt x="76" y="47"/>
                  </a:cubicBezTo>
                  <a:cubicBezTo>
                    <a:pt x="75" y="46"/>
                    <a:pt x="74" y="45"/>
                    <a:pt x="73" y="44"/>
                  </a:cubicBezTo>
                  <a:cubicBezTo>
                    <a:pt x="74" y="42"/>
                    <a:pt x="74" y="39"/>
                    <a:pt x="74" y="36"/>
                  </a:cubicBezTo>
                  <a:cubicBezTo>
                    <a:pt x="75" y="27"/>
                    <a:pt x="72" y="18"/>
                    <a:pt x="65" y="11"/>
                  </a:cubicBezTo>
                  <a:cubicBezTo>
                    <a:pt x="59" y="4"/>
                    <a:pt x="49" y="0"/>
                    <a:pt x="39" y="1"/>
                  </a:cubicBezTo>
                  <a:cubicBezTo>
                    <a:pt x="34" y="1"/>
                    <a:pt x="30" y="2"/>
                    <a:pt x="28" y="4"/>
                  </a:cubicBezTo>
                  <a:cubicBezTo>
                    <a:pt x="28" y="4"/>
                    <a:pt x="28" y="4"/>
                    <a:pt x="28" y="4"/>
                  </a:cubicBezTo>
                  <a:cubicBezTo>
                    <a:pt x="28" y="4"/>
                    <a:pt x="28" y="4"/>
                    <a:pt x="28" y="4"/>
                  </a:cubicBezTo>
                  <a:cubicBezTo>
                    <a:pt x="27" y="4"/>
                    <a:pt x="26" y="4"/>
                    <a:pt x="26" y="4"/>
                  </a:cubicBezTo>
                  <a:cubicBezTo>
                    <a:pt x="26" y="4"/>
                    <a:pt x="26" y="4"/>
                    <a:pt x="26" y="4"/>
                  </a:cubicBezTo>
                  <a:cubicBezTo>
                    <a:pt x="21" y="7"/>
                    <a:pt x="21" y="7"/>
                    <a:pt x="21" y="7"/>
                  </a:cubicBezTo>
                  <a:cubicBezTo>
                    <a:pt x="27" y="13"/>
                    <a:pt x="27" y="13"/>
                    <a:pt x="27" y="13"/>
                  </a:cubicBezTo>
                  <a:cubicBezTo>
                    <a:pt x="27" y="13"/>
                    <a:pt x="27" y="13"/>
                    <a:pt x="27" y="13"/>
                  </a:cubicBezTo>
                  <a:cubicBezTo>
                    <a:pt x="29" y="15"/>
                    <a:pt x="29" y="15"/>
                    <a:pt x="29" y="15"/>
                  </a:cubicBezTo>
                  <a:cubicBezTo>
                    <a:pt x="39" y="25"/>
                    <a:pt x="39" y="25"/>
                    <a:pt x="39" y="25"/>
                  </a:cubicBezTo>
                  <a:cubicBezTo>
                    <a:pt x="40" y="26"/>
                    <a:pt x="40" y="28"/>
                    <a:pt x="39" y="30"/>
                  </a:cubicBezTo>
                  <a:cubicBezTo>
                    <a:pt x="29" y="40"/>
                    <a:pt x="29" y="40"/>
                    <a:pt x="29" y="40"/>
                  </a:cubicBezTo>
                  <a:cubicBezTo>
                    <a:pt x="27" y="41"/>
                    <a:pt x="25" y="41"/>
                    <a:pt x="24" y="40"/>
                  </a:cubicBezTo>
                  <a:cubicBezTo>
                    <a:pt x="12" y="28"/>
                    <a:pt x="12" y="28"/>
                    <a:pt x="12" y="28"/>
                  </a:cubicBezTo>
                  <a:cubicBezTo>
                    <a:pt x="12" y="28"/>
                    <a:pt x="12" y="28"/>
                    <a:pt x="12" y="28"/>
                  </a:cubicBezTo>
                  <a:cubicBezTo>
                    <a:pt x="12" y="28"/>
                    <a:pt x="12" y="28"/>
                    <a:pt x="12" y="28"/>
                  </a:cubicBezTo>
                  <a:cubicBezTo>
                    <a:pt x="6" y="22"/>
                    <a:pt x="6" y="22"/>
                    <a:pt x="6" y="22"/>
                  </a:cubicBezTo>
                  <a:cubicBezTo>
                    <a:pt x="3" y="27"/>
                    <a:pt x="3" y="27"/>
                    <a:pt x="3" y="27"/>
                  </a:cubicBezTo>
                  <a:cubicBezTo>
                    <a:pt x="3" y="27"/>
                    <a:pt x="3" y="27"/>
                    <a:pt x="3" y="27"/>
                  </a:cubicBezTo>
                  <a:cubicBezTo>
                    <a:pt x="3" y="27"/>
                    <a:pt x="3" y="27"/>
                    <a:pt x="3" y="28"/>
                  </a:cubicBezTo>
                  <a:cubicBezTo>
                    <a:pt x="3" y="28"/>
                    <a:pt x="3" y="28"/>
                    <a:pt x="3" y="28"/>
                  </a:cubicBezTo>
                  <a:cubicBezTo>
                    <a:pt x="3" y="28"/>
                    <a:pt x="3" y="28"/>
                    <a:pt x="3" y="28"/>
                  </a:cubicBezTo>
                  <a:cubicBezTo>
                    <a:pt x="2" y="30"/>
                    <a:pt x="0" y="35"/>
                    <a:pt x="0" y="40"/>
                  </a:cubicBezTo>
                  <a:cubicBezTo>
                    <a:pt x="0" y="50"/>
                    <a:pt x="4" y="60"/>
                    <a:pt x="11" y="66"/>
                  </a:cubicBezTo>
                  <a:cubicBezTo>
                    <a:pt x="17" y="73"/>
                    <a:pt x="26" y="76"/>
                    <a:pt x="36" y="75"/>
                  </a:cubicBezTo>
                  <a:cubicBezTo>
                    <a:pt x="38" y="75"/>
                    <a:pt x="41" y="75"/>
                    <a:pt x="43" y="74"/>
                  </a:cubicBezTo>
                  <a:cubicBezTo>
                    <a:pt x="46" y="77"/>
                    <a:pt x="46" y="77"/>
                    <a:pt x="46" y="77"/>
                  </a:cubicBezTo>
                  <a:cubicBezTo>
                    <a:pt x="60" y="90"/>
                    <a:pt x="60" y="90"/>
                    <a:pt x="60" y="90"/>
                  </a:cubicBezTo>
                  <a:cubicBezTo>
                    <a:pt x="69" y="100"/>
                    <a:pt x="69" y="100"/>
                    <a:pt x="69" y="100"/>
                  </a:cubicBezTo>
                  <a:cubicBezTo>
                    <a:pt x="83" y="113"/>
                    <a:pt x="83" y="113"/>
                    <a:pt x="83" y="113"/>
                  </a:cubicBezTo>
                  <a:cubicBezTo>
                    <a:pt x="115" y="145"/>
                    <a:pt x="115" y="145"/>
                    <a:pt x="115" y="145"/>
                  </a:cubicBezTo>
                  <a:cubicBezTo>
                    <a:pt x="117" y="147"/>
                    <a:pt x="120" y="148"/>
                    <a:pt x="123" y="148"/>
                  </a:cubicBezTo>
                  <a:cubicBezTo>
                    <a:pt x="128" y="148"/>
                    <a:pt x="135" y="145"/>
                    <a:pt x="140" y="140"/>
                  </a:cubicBezTo>
                  <a:cubicBezTo>
                    <a:pt x="145" y="135"/>
                    <a:pt x="148" y="129"/>
                    <a:pt x="148" y="124"/>
                  </a:cubicBezTo>
                  <a:cubicBezTo>
                    <a:pt x="148" y="120"/>
                    <a:pt x="147" y="117"/>
                    <a:pt x="145" y="115"/>
                  </a:cubicBezTo>
                  <a:cubicBezTo>
                    <a:pt x="145" y="115"/>
                    <a:pt x="129" y="100"/>
                    <a:pt x="113" y="83"/>
                  </a:cubicBezTo>
                  <a:close/>
                  <a:moveTo>
                    <a:pt x="67" y="79"/>
                  </a:moveTo>
                  <a:cubicBezTo>
                    <a:pt x="56" y="67"/>
                    <a:pt x="56" y="67"/>
                    <a:pt x="56" y="67"/>
                  </a:cubicBezTo>
                  <a:cubicBezTo>
                    <a:pt x="47" y="58"/>
                    <a:pt x="47" y="58"/>
                    <a:pt x="47" y="58"/>
                  </a:cubicBezTo>
                  <a:cubicBezTo>
                    <a:pt x="43" y="60"/>
                    <a:pt x="43" y="60"/>
                    <a:pt x="43" y="60"/>
                  </a:cubicBezTo>
                  <a:cubicBezTo>
                    <a:pt x="40" y="61"/>
                    <a:pt x="37" y="62"/>
                    <a:pt x="35" y="62"/>
                  </a:cubicBezTo>
                  <a:cubicBezTo>
                    <a:pt x="29" y="62"/>
                    <a:pt x="24" y="60"/>
                    <a:pt x="20" y="57"/>
                  </a:cubicBezTo>
                  <a:cubicBezTo>
                    <a:pt x="16" y="53"/>
                    <a:pt x="13" y="47"/>
                    <a:pt x="13" y="40"/>
                  </a:cubicBezTo>
                  <a:cubicBezTo>
                    <a:pt x="13" y="39"/>
                    <a:pt x="13" y="39"/>
                    <a:pt x="13" y="39"/>
                  </a:cubicBezTo>
                  <a:cubicBezTo>
                    <a:pt x="19" y="45"/>
                    <a:pt x="19" y="45"/>
                    <a:pt x="19" y="45"/>
                  </a:cubicBezTo>
                  <a:cubicBezTo>
                    <a:pt x="21" y="47"/>
                    <a:pt x="24" y="48"/>
                    <a:pt x="26" y="48"/>
                  </a:cubicBezTo>
                  <a:cubicBezTo>
                    <a:pt x="29" y="48"/>
                    <a:pt x="32" y="47"/>
                    <a:pt x="34" y="45"/>
                  </a:cubicBezTo>
                  <a:cubicBezTo>
                    <a:pt x="44" y="34"/>
                    <a:pt x="44" y="34"/>
                    <a:pt x="44" y="34"/>
                  </a:cubicBezTo>
                  <a:cubicBezTo>
                    <a:pt x="48" y="30"/>
                    <a:pt x="48" y="24"/>
                    <a:pt x="44" y="20"/>
                  </a:cubicBezTo>
                  <a:cubicBezTo>
                    <a:pt x="38" y="14"/>
                    <a:pt x="38" y="14"/>
                    <a:pt x="38" y="14"/>
                  </a:cubicBezTo>
                  <a:cubicBezTo>
                    <a:pt x="39" y="14"/>
                    <a:pt x="39" y="14"/>
                    <a:pt x="39" y="14"/>
                  </a:cubicBezTo>
                  <a:cubicBezTo>
                    <a:pt x="46" y="14"/>
                    <a:pt x="52" y="16"/>
                    <a:pt x="56" y="21"/>
                  </a:cubicBezTo>
                  <a:cubicBezTo>
                    <a:pt x="60" y="24"/>
                    <a:pt x="61" y="30"/>
                    <a:pt x="61" y="36"/>
                  </a:cubicBezTo>
                  <a:cubicBezTo>
                    <a:pt x="61" y="38"/>
                    <a:pt x="60" y="41"/>
                    <a:pt x="59" y="43"/>
                  </a:cubicBezTo>
                  <a:cubicBezTo>
                    <a:pt x="58" y="48"/>
                    <a:pt x="58" y="48"/>
                    <a:pt x="58" y="48"/>
                  </a:cubicBezTo>
                  <a:cubicBezTo>
                    <a:pt x="61" y="51"/>
                    <a:pt x="61" y="51"/>
                    <a:pt x="61" y="51"/>
                  </a:cubicBezTo>
                  <a:cubicBezTo>
                    <a:pt x="63" y="52"/>
                    <a:pt x="66" y="56"/>
                    <a:pt x="70" y="59"/>
                  </a:cubicBezTo>
                  <a:cubicBezTo>
                    <a:pt x="73" y="62"/>
                    <a:pt x="76" y="66"/>
                    <a:pt x="80" y="69"/>
                  </a:cubicBezTo>
                  <a:cubicBezTo>
                    <a:pt x="83" y="73"/>
                    <a:pt x="87" y="76"/>
                    <a:pt x="90" y="80"/>
                  </a:cubicBezTo>
                  <a:cubicBezTo>
                    <a:pt x="94" y="83"/>
                    <a:pt x="97" y="87"/>
                    <a:pt x="100" y="90"/>
                  </a:cubicBezTo>
                  <a:cubicBezTo>
                    <a:pt x="116" y="106"/>
                    <a:pt x="131" y="121"/>
                    <a:pt x="134" y="124"/>
                  </a:cubicBezTo>
                  <a:cubicBezTo>
                    <a:pt x="134" y="125"/>
                    <a:pt x="133" y="128"/>
                    <a:pt x="130" y="131"/>
                  </a:cubicBezTo>
                  <a:cubicBezTo>
                    <a:pt x="127" y="134"/>
                    <a:pt x="125" y="135"/>
                    <a:pt x="124" y="135"/>
                  </a:cubicBezTo>
                  <a:cubicBezTo>
                    <a:pt x="121" y="133"/>
                    <a:pt x="115" y="126"/>
                    <a:pt x="106" y="117"/>
                  </a:cubicBezTo>
                  <a:cubicBezTo>
                    <a:pt x="92" y="104"/>
                    <a:pt x="92" y="104"/>
                    <a:pt x="92" y="104"/>
                  </a:cubicBezTo>
                  <a:cubicBezTo>
                    <a:pt x="81" y="93"/>
                    <a:pt x="81" y="93"/>
                    <a:pt x="81" y="93"/>
                  </a:cubicBezTo>
                  <a:lnTo>
                    <a:pt x="67" y="79"/>
                  </a:lnTo>
                  <a:close/>
                  <a:moveTo>
                    <a:pt x="29" y="10"/>
                  </a:moveTo>
                  <a:cubicBezTo>
                    <a:pt x="29" y="10"/>
                    <a:pt x="29" y="10"/>
                    <a:pt x="2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86" name="Group 217">
            <a:extLst>
              <a:ext uri="{FF2B5EF4-FFF2-40B4-BE49-F238E27FC236}">
                <a16:creationId xmlns:a16="http://schemas.microsoft.com/office/drawing/2014/main" id="{C67D645E-D8D2-58B2-F54A-7B694FC37DFF}"/>
              </a:ext>
            </a:extLst>
          </p:cNvPr>
          <p:cNvGrpSpPr>
            <a:grpSpLocks noChangeAspect="1"/>
          </p:cNvGrpSpPr>
          <p:nvPr/>
        </p:nvGrpSpPr>
        <p:grpSpPr bwMode="auto">
          <a:xfrm>
            <a:off x="3697037" y="1639930"/>
            <a:ext cx="391259" cy="388327"/>
            <a:chOff x="3734" y="1898"/>
            <a:chExt cx="267" cy="265"/>
          </a:xfrm>
          <a:solidFill>
            <a:schemeClr val="bg1"/>
          </a:solidFill>
        </p:grpSpPr>
        <p:sp>
          <p:nvSpPr>
            <p:cNvPr id="87" name="Freeform 218">
              <a:extLst>
                <a:ext uri="{FF2B5EF4-FFF2-40B4-BE49-F238E27FC236}">
                  <a16:creationId xmlns:a16="http://schemas.microsoft.com/office/drawing/2014/main" id="{5F491CFA-AD76-2E00-BF57-7BAD278C87BE}"/>
                </a:ext>
              </a:extLst>
            </p:cNvPr>
            <p:cNvSpPr>
              <a:spLocks/>
            </p:cNvSpPr>
            <p:nvPr/>
          </p:nvSpPr>
          <p:spPr bwMode="auto">
            <a:xfrm>
              <a:off x="3734" y="1934"/>
              <a:ext cx="223" cy="229"/>
            </a:xfrm>
            <a:custGeom>
              <a:avLst/>
              <a:gdLst>
                <a:gd name="T0" fmla="*/ 300 w 353"/>
                <a:gd name="T1" fmla="*/ 105 h 365"/>
                <a:gd name="T2" fmla="*/ 260 w 353"/>
                <a:gd name="T3" fmla="*/ 300 h 365"/>
                <a:gd name="T4" fmla="*/ 65 w 353"/>
                <a:gd name="T5" fmla="*/ 260 h 365"/>
                <a:gd name="T6" fmla="*/ 105 w 353"/>
                <a:gd name="T7" fmla="*/ 65 h 365"/>
                <a:gd name="T8" fmla="*/ 260 w 353"/>
                <a:gd name="T9" fmla="*/ 65 h 365"/>
                <a:gd name="T10" fmla="*/ 275 w 353"/>
                <a:gd name="T11" fmla="*/ 50 h 365"/>
                <a:gd name="T12" fmla="*/ 51 w 353"/>
                <a:gd name="T13" fmla="*/ 90 h 365"/>
                <a:gd name="T14" fmla="*/ 91 w 353"/>
                <a:gd name="T15" fmla="*/ 314 h 365"/>
                <a:gd name="T16" fmla="*/ 315 w 353"/>
                <a:gd name="T17" fmla="*/ 274 h 365"/>
                <a:gd name="T18" fmla="*/ 315 w 353"/>
                <a:gd name="T19" fmla="*/ 90 h 365"/>
                <a:gd name="T20" fmla="*/ 300 w 353"/>
                <a:gd name="T21" fmla="*/ 10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65">
                  <a:moveTo>
                    <a:pt x="300" y="105"/>
                  </a:moveTo>
                  <a:cubicBezTo>
                    <a:pt x="343" y="170"/>
                    <a:pt x="325" y="257"/>
                    <a:pt x="260" y="300"/>
                  </a:cubicBezTo>
                  <a:cubicBezTo>
                    <a:pt x="195" y="343"/>
                    <a:pt x="108" y="325"/>
                    <a:pt x="65" y="260"/>
                  </a:cubicBezTo>
                  <a:cubicBezTo>
                    <a:pt x="22" y="195"/>
                    <a:pt x="40" y="108"/>
                    <a:pt x="105" y="65"/>
                  </a:cubicBezTo>
                  <a:cubicBezTo>
                    <a:pt x="152" y="34"/>
                    <a:pt x="213" y="34"/>
                    <a:pt x="260" y="65"/>
                  </a:cubicBezTo>
                  <a:cubicBezTo>
                    <a:pt x="275" y="50"/>
                    <a:pt x="275" y="50"/>
                    <a:pt x="275" y="50"/>
                  </a:cubicBezTo>
                  <a:cubicBezTo>
                    <a:pt x="202" y="0"/>
                    <a:pt x="101" y="17"/>
                    <a:pt x="51" y="90"/>
                  </a:cubicBezTo>
                  <a:cubicBezTo>
                    <a:pt x="0" y="163"/>
                    <a:pt x="18" y="264"/>
                    <a:pt x="91" y="314"/>
                  </a:cubicBezTo>
                  <a:cubicBezTo>
                    <a:pt x="163" y="365"/>
                    <a:pt x="264" y="347"/>
                    <a:pt x="315" y="274"/>
                  </a:cubicBezTo>
                  <a:cubicBezTo>
                    <a:pt x="353" y="219"/>
                    <a:pt x="353" y="146"/>
                    <a:pt x="315" y="90"/>
                  </a:cubicBezTo>
                  <a:lnTo>
                    <a:pt x="3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8" name="Freeform 219">
              <a:extLst>
                <a:ext uri="{FF2B5EF4-FFF2-40B4-BE49-F238E27FC236}">
                  <a16:creationId xmlns:a16="http://schemas.microsoft.com/office/drawing/2014/main" id="{069B9E67-EC1A-38CA-D5B9-0D3F996FF07D}"/>
                </a:ext>
              </a:extLst>
            </p:cNvPr>
            <p:cNvSpPr>
              <a:spLocks/>
            </p:cNvSpPr>
            <p:nvPr/>
          </p:nvSpPr>
          <p:spPr bwMode="auto">
            <a:xfrm>
              <a:off x="3777" y="1976"/>
              <a:ext cx="138" cy="145"/>
            </a:xfrm>
            <a:custGeom>
              <a:avLst/>
              <a:gdLst>
                <a:gd name="T0" fmla="*/ 115 w 219"/>
                <a:gd name="T1" fmla="*/ 34 h 229"/>
                <a:gd name="T2" fmla="*/ 148 w 219"/>
                <a:gd name="T3" fmla="*/ 41 h 229"/>
                <a:gd name="T4" fmla="*/ 163 w 219"/>
                <a:gd name="T5" fmla="*/ 26 h 229"/>
                <a:gd name="T6" fmla="*/ 27 w 219"/>
                <a:gd name="T7" fmla="*/ 66 h 229"/>
                <a:gd name="T8" fmla="*/ 67 w 219"/>
                <a:gd name="T9" fmla="*/ 202 h 229"/>
                <a:gd name="T10" fmla="*/ 203 w 219"/>
                <a:gd name="T11" fmla="*/ 162 h 229"/>
                <a:gd name="T12" fmla="*/ 203 w 219"/>
                <a:gd name="T13" fmla="*/ 66 h 229"/>
                <a:gd name="T14" fmla="*/ 188 w 219"/>
                <a:gd name="T15" fmla="*/ 81 h 229"/>
                <a:gd name="T16" fmla="*/ 195 w 219"/>
                <a:gd name="T17" fmla="*/ 114 h 229"/>
                <a:gd name="T18" fmla="*/ 115 w 219"/>
                <a:gd name="T19" fmla="*/ 194 h 229"/>
                <a:gd name="T20" fmla="*/ 35 w 219"/>
                <a:gd name="T21" fmla="*/ 114 h 229"/>
                <a:gd name="T22" fmla="*/ 115 w 219"/>
                <a:gd name="T23" fmla="*/ 3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29">
                  <a:moveTo>
                    <a:pt x="115" y="34"/>
                  </a:moveTo>
                  <a:cubicBezTo>
                    <a:pt x="126" y="34"/>
                    <a:pt x="137" y="37"/>
                    <a:pt x="148" y="41"/>
                  </a:cubicBezTo>
                  <a:cubicBezTo>
                    <a:pt x="163" y="26"/>
                    <a:pt x="163" y="26"/>
                    <a:pt x="163" y="26"/>
                  </a:cubicBezTo>
                  <a:cubicBezTo>
                    <a:pt x="114" y="0"/>
                    <a:pt x="53" y="18"/>
                    <a:pt x="27" y="66"/>
                  </a:cubicBezTo>
                  <a:cubicBezTo>
                    <a:pt x="0" y="115"/>
                    <a:pt x="18" y="176"/>
                    <a:pt x="67" y="202"/>
                  </a:cubicBezTo>
                  <a:cubicBezTo>
                    <a:pt x="115" y="229"/>
                    <a:pt x="176" y="211"/>
                    <a:pt x="203" y="162"/>
                  </a:cubicBezTo>
                  <a:cubicBezTo>
                    <a:pt x="219" y="132"/>
                    <a:pt x="219" y="96"/>
                    <a:pt x="203" y="66"/>
                  </a:cubicBezTo>
                  <a:cubicBezTo>
                    <a:pt x="188" y="81"/>
                    <a:pt x="188" y="81"/>
                    <a:pt x="188" y="81"/>
                  </a:cubicBezTo>
                  <a:cubicBezTo>
                    <a:pt x="192" y="92"/>
                    <a:pt x="195" y="103"/>
                    <a:pt x="195" y="114"/>
                  </a:cubicBezTo>
                  <a:cubicBezTo>
                    <a:pt x="195" y="158"/>
                    <a:pt x="159" y="194"/>
                    <a:pt x="115" y="194"/>
                  </a:cubicBezTo>
                  <a:cubicBezTo>
                    <a:pt x="71" y="194"/>
                    <a:pt x="35" y="158"/>
                    <a:pt x="35" y="114"/>
                  </a:cubicBezTo>
                  <a:cubicBezTo>
                    <a:pt x="35" y="70"/>
                    <a:pt x="71" y="34"/>
                    <a:pt x="115"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89" name="Freeform 220">
              <a:extLst>
                <a:ext uri="{FF2B5EF4-FFF2-40B4-BE49-F238E27FC236}">
                  <a16:creationId xmlns:a16="http://schemas.microsoft.com/office/drawing/2014/main" id="{2F14AD3D-60E5-D28D-3615-6670EDE3FBD4}"/>
                </a:ext>
              </a:extLst>
            </p:cNvPr>
            <p:cNvSpPr>
              <a:spLocks/>
            </p:cNvSpPr>
            <p:nvPr/>
          </p:nvSpPr>
          <p:spPr bwMode="auto">
            <a:xfrm>
              <a:off x="3845" y="1898"/>
              <a:ext cx="156" cy="155"/>
            </a:xfrm>
            <a:custGeom>
              <a:avLst/>
              <a:gdLst>
                <a:gd name="T0" fmla="*/ 236 w 246"/>
                <a:gd name="T1" fmla="*/ 51 h 246"/>
                <a:gd name="T2" fmla="*/ 213 w 246"/>
                <a:gd name="T3" fmla="*/ 33 h 246"/>
                <a:gd name="T4" fmla="*/ 200 w 246"/>
                <a:gd name="T5" fmla="*/ 18 h 246"/>
                <a:gd name="T6" fmla="*/ 195 w 246"/>
                <a:gd name="T7" fmla="*/ 10 h 246"/>
                <a:gd name="T8" fmla="*/ 188 w 246"/>
                <a:gd name="T9" fmla="*/ 0 h 246"/>
                <a:gd name="T10" fmla="*/ 126 w 246"/>
                <a:gd name="T11" fmla="*/ 62 h 246"/>
                <a:gd name="T12" fmla="*/ 126 w 246"/>
                <a:gd name="T13" fmla="*/ 106 h 246"/>
                <a:gd name="T14" fmla="*/ 0 w 246"/>
                <a:gd name="T15" fmla="*/ 232 h 246"/>
                <a:gd name="T16" fmla="*/ 1 w 246"/>
                <a:gd name="T17" fmla="*/ 245 h 246"/>
                <a:gd name="T18" fmla="*/ 14 w 246"/>
                <a:gd name="T19" fmla="*/ 246 h 246"/>
                <a:gd name="T20" fmla="*/ 140 w 246"/>
                <a:gd name="T21" fmla="*/ 120 h 246"/>
                <a:gd name="T22" fmla="*/ 184 w 246"/>
                <a:gd name="T23" fmla="*/ 120 h 246"/>
                <a:gd name="T24" fmla="*/ 246 w 246"/>
                <a:gd name="T25" fmla="*/ 58 h 246"/>
                <a:gd name="T26" fmla="*/ 236 w 246"/>
                <a:gd name="T27" fmla="*/ 5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 h="246">
                  <a:moveTo>
                    <a:pt x="236" y="51"/>
                  </a:moveTo>
                  <a:cubicBezTo>
                    <a:pt x="228" y="46"/>
                    <a:pt x="220" y="40"/>
                    <a:pt x="213" y="33"/>
                  </a:cubicBezTo>
                  <a:cubicBezTo>
                    <a:pt x="209" y="28"/>
                    <a:pt x="204" y="23"/>
                    <a:pt x="200" y="18"/>
                  </a:cubicBezTo>
                  <a:cubicBezTo>
                    <a:pt x="197" y="13"/>
                    <a:pt x="195" y="10"/>
                    <a:pt x="195" y="10"/>
                  </a:cubicBezTo>
                  <a:cubicBezTo>
                    <a:pt x="188" y="0"/>
                    <a:pt x="188" y="0"/>
                    <a:pt x="188" y="0"/>
                  </a:cubicBezTo>
                  <a:cubicBezTo>
                    <a:pt x="126" y="62"/>
                    <a:pt x="126" y="62"/>
                    <a:pt x="126" y="62"/>
                  </a:cubicBezTo>
                  <a:cubicBezTo>
                    <a:pt x="126" y="106"/>
                    <a:pt x="126" y="106"/>
                    <a:pt x="126" y="106"/>
                  </a:cubicBezTo>
                  <a:cubicBezTo>
                    <a:pt x="0" y="232"/>
                    <a:pt x="0" y="232"/>
                    <a:pt x="0" y="232"/>
                  </a:cubicBezTo>
                  <a:cubicBezTo>
                    <a:pt x="1" y="245"/>
                    <a:pt x="1" y="245"/>
                    <a:pt x="1" y="245"/>
                  </a:cubicBezTo>
                  <a:cubicBezTo>
                    <a:pt x="14" y="246"/>
                    <a:pt x="14" y="246"/>
                    <a:pt x="14" y="246"/>
                  </a:cubicBezTo>
                  <a:cubicBezTo>
                    <a:pt x="140" y="120"/>
                    <a:pt x="140" y="120"/>
                    <a:pt x="140" y="120"/>
                  </a:cubicBezTo>
                  <a:cubicBezTo>
                    <a:pt x="184" y="120"/>
                    <a:pt x="184" y="120"/>
                    <a:pt x="184" y="120"/>
                  </a:cubicBezTo>
                  <a:cubicBezTo>
                    <a:pt x="246" y="58"/>
                    <a:pt x="246" y="58"/>
                    <a:pt x="246" y="58"/>
                  </a:cubicBezTo>
                  <a:lnTo>
                    <a:pt x="2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5" name="Arc 63">
            <a:extLst>
              <a:ext uri="{FF2B5EF4-FFF2-40B4-BE49-F238E27FC236}">
                <a16:creationId xmlns:a16="http://schemas.microsoft.com/office/drawing/2014/main" id="{5EB886D7-4BB2-6355-DCAC-87ED394B88B2}"/>
              </a:ext>
            </a:extLst>
          </p:cNvPr>
          <p:cNvSpPr/>
          <p:nvPr/>
        </p:nvSpPr>
        <p:spPr>
          <a:xfrm rot="14788373">
            <a:off x="8056287" y="3797746"/>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50" name="Group 49">
            <a:extLst>
              <a:ext uri="{FF2B5EF4-FFF2-40B4-BE49-F238E27FC236}">
                <a16:creationId xmlns:a16="http://schemas.microsoft.com/office/drawing/2014/main" id="{ADB24467-9E22-5782-C624-606EB72F55C4}"/>
              </a:ext>
            </a:extLst>
          </p:cNvPr>
          <p:cNvGrpSpPr/>
          <p:nvPr/>
        </p:nvGrpSpPr>
        <p:grpSpPr>
          <a:xfrm>
            <a:off x="7399913" y="3873627"/>
            <a:ext cx="1378126" cy="680780"/>
            <a:chOff x="7399913" y="3873627"/>
            <a:chExt cx="1378126" cy="680780"/>
          </a:xfrm>
        </p:grpSpPr>
        <p:cxnSp>
          <p:nvCxnSpPr>
            <p:cNvPr id="26" name="Straight Connector 95">
              <a:extLst>
                <a:ext uri="{FF2B5EF4-FFF2-40B4-BE49-F238E27FC236}">
                  <a16:creationId xmlns:a16="http://schemas.microsoft.com/office/drawing/2014/main" id="{09DF652F-EC88-1279-4FDC-C71FA6785826}"/>
                </a:ext>
              </a:extLst>
            </p:cNvPr>
            <p:cNvCxnSpPr>
              <a:cxnSpLocks/>
            </p:cNvCxnSpPr>
            <p:nvPr/>
          </p:nvCxnSpPr>
          <p:spPr>
            <a:xfrm flipH="1" flipV="1">
              <a:off x="7399913" y="3873627"/>
              <a:ext cx="692306" cy="255351"/>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E24ED901-161E-D9CE-2149-09CDBBF49D64}"/>
                </a:ext>
              </a:extLst>
            </p:cNvPr>
            <p:cNvGrpSpPr/>
            <p:nvPr/>
          </p:nvGrpSpPr>
          <p:grpSpPr>
            <a:xfrm>
              <a:off x="8205122" y="3981489"/>
              <a:ext cx="572917" cy="572918"/>
              <a:chOff x="8205122" y="3829964"/>
              <a:chExt cx="572917" cy="572918"/>
            </a:xfrm>
          </p:grpSpPr>
          <p:sp>
            <p:nvSpPr>
              <p:cNvPr id="24" name="Oval 75">
                <a:extLst>
                  <a:ext uri="{FF2B5EF4-FFF2-40B4-BE49-F238E27FC236}">
                    <a16:creationId xmlns:a16="http://schemas.microsoft.com/office/drawing/2014/main" id="{94B089E8-E129-FB6F-E6B8-C662C9D9BDDE}"/>
                  </a:ext>
                </a:extLst>
              </p:cNvPr>
              <p:cNvSpPr/>
              <p:nvPr/>
            </p:nvSpPr>
            <p:spPr>
              <a:xfrm rot="60000">
                <a:off x="8205122" y="3829964"/>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5" name="Graphic 4" descr="Gauge">
                <a:extLst>
                  <a:ext uri="{FF2B5EF4-FFF2-40B4-BE49-F238E27FC236}">
                    <a16:creationId xmlns:a16="http://schemas.microsoft.com/office/drawing/2014/main" id="{F6AC4540-3438-3706-568E-AD4C949CDEF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60000">
                <a:off x="8280432" y="3880912"/>
                <a:ext cx="411592" cy="411592"/>
              </a:xfrm>
              <a:prstGeom prst="rect">
                <a:avLst/>
              </a:prstGeom>
            </p:spPr>
          </p:pic>
        </p:grpSp>
      </p:grpSp>
      <p:sp>
        <p:nvSpPr>
          <p:cNvPr id="7" name="TextBox 6">
            <a:extLst>
              <a:ext uri="{FF2B5EF4-FFF2-40B4-BE49-F238E27FC236}">
                <a16:creationId xmlns:a16="http://schemas.microsoft.com/office/drawing/2014/main" id="{6F4D83F9-C7B5-E3B4-E4BA-7CB5EA91A691}"/>
              </a:ext>
            </a:extLst>
          </p:cNvPr>
          <p:cNvSpPr txBox="1"/>
          <p:nvPr/>
        </p:nvSpPr>
        <p:spPr>
          <a:xfrm>
            <a:off x="4757964" y="3021811"/>
            <a:ext cx="1055658" cy="40215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ustomer Experience</a:t>
            </a:r>
            <a:endParaRPr kumimoji="0" lang="en-US" sz="1100" b="1"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BE9208EE-D0F6-5C08-FFDB-BFCD1567866B}"/>
              </a:ext>
            </a:extLst>
          </p:cNvPr>
          <p:cNvSpPr txBox="1"/>
          <p:nvPr/>
        </p:nvSpPr>
        <p:spPr>
          <a:xfrm>
            <a:off x="6272447" y="3034007"/>
            <a:ext cx="1099465" cy="46594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Delivery Performance</a:t>
            </a:r>
          </a:p>
        </p:txBody>
      </p:sp>
      <p:pic>
        <p:nvPicPr>
          <p:cNvPr id="10" name="Graphic 9" descr="Handshake with solid fill">
            <a:extLst>
              <a:ext uri="{FF2B5EF4-FFF2-40B4-BE49-F238E27FC236}">
                <a16:creationId xmlns:a16="http://schemas.microsoft.com/office/drawing/2014/main" id="{778C3796-14B8-66DA-CCD0-6A4C76BD76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7768" y="2496978"/>
            <a:ext cx="914400" cy="914400"/>
          </a:xfrm>
          <a:prstGeom prst="rect">
            <a:avLst/>
          </a:prstGeom>
        </p:spPr>
      </p:pic>
      <p:sp>
        <p:nvSpPr>
          <p:cNvPr id="61" name="Text Placeholder 11">
            <a:extLst>
              <a:ext uri="{FF2B5EF4-FFF2-40B4-BE49-F238E27FC236}">
                <a16:creationId xmlns:a16="http://schemas.microsoft.com/office/drawing/2014/main" id="{D50D191F-2669-633A-F317-3D3EF5E96D8A}"/>
              </a:ext>
            </a:extLst>
          </p:cNvPr>
          <p:cNvSpPr txBox="1">
            <a:spLocks/>
          </p:cNvSpPr>
          <p:nvPr/>
        </p:nvSpPr>
        <p:spPr>
          <a:xfrm>
            <a:off x="11053" y="6371906"/>
            <a:ext cx="12192000" cy="376654"/>
          </a:xfrm>
          <a:prstGeom prst="rect">
            <a:avLst/>
          </a:prstGeom>
          <a:solidFill>
            <a:schemeClr val="accent1"/>
          </a:solidFill>
        </p:spPr>
        <p:txBody>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ts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ts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ts val="0"/>
              </a:spcBef>
              <a:spcAft>
                <a:spcPts val="600"/>
              </a:spcAft>
              <a:buClr>
                <a:schemeClr val="accent2"/>
              </a:buClr>
              <a:buFont typeface="Wingdings" panose="05000000000000000000" pitchFamily="2" charset="2"/>
              <a:buChar char="§"/>
              <a:defRPr lang="en-US" sz="1600" kern="1200" dirty="0" smtClean="0">
                <a:solidFill>
                  <a:schemeClr val="tx1"/>
                </a:solidFill>
                <a:latin typeface="+mn-lt"/>
                <a:ea typeface="+mn-ea"/>
                <a:cs typeface="+mn-cs"/>
              </a:defRPr>
            </a:lvl4pPr>
            <a:lvl5pPr marL="854075" indent="-169863" algn="l" defTabSz="685800" rtl="0" eaLnBrk="1" latinLnBrk="0" hangingPunct="1">
              <a:lnSpc>
                <a:spcPct val="100000"/>
              </a:lnSpc>
              <a:spcBef>
                <a:spcPts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lgn="ctr" fontAlgn="auto">
              <a:defRPr/>
            </a:pPr>
            <a:r>
              <a:rPr lang="en-US" sz="1800" dirty="0">
                <a:ln w="0"/>
                <a:solidFill>
                  <a:srgbClr val="FFFFFF"/>
                </a:solidFill>
                <a:effectLst>
                  <a:outerShdw blurRad="38100" dist="25400" dir="5400000" algn="ctr" rotWithShape="0">
                    <a:srgbClr val="6E747A">
                      <a:alpha val="43000"/>
                    </a:srgbClr>
                  </a:outerShdw>
                </a:effectLst>
              </a:rPr>
              <a:t>Strategic Support Initiatives </a:t>
            </a:r>
            <a:r>
              <a:rPr lang="en-US" sz="1800" dirty="0">
                <a:ln w="0"/>
                <a:solidFill>
                  <a:srgbClr val="FFFFFF"/>
                </a:solidFill>
                <a:effectLst>
                  <a:outerShdw blurRad="38100" dist="25400" dir="5400000" algn="ctr" rotWithShape="0">
                    <a:srgbClr val="6E747A">
                      <a:alpha val="43000"/>
                    </a:srgbClr>
                  </a:outerShdw>
                </a:effectLst>
                <a:latin typeface="Arial"/>
              </a:rPr>
              <a:t>– Continuing/Evolving into 2025</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2100E3EA-B18A-72F9-353B-5862ACD7CA29}"/>
              </a:ext>
            </a:extLst>
          </p:cNvPr>
          <p:cNvSpPr txBox="1"/>
          <p:nvPr/>
        </p:nvSpPr>
        <p:spPr>
          <a:xfrm>
            <a:off x="167133" y="2587252"/>
            <a:ext cx="3014050" cy="1056700"/>
          </a:xfrm>
          <a:prstGeom prst="rect">
            <a:avLst/>
          </a:prstGeom>
          <a:noFill/>
        </p:spPr>
        <p:txBody>
          <a:bodyPr wrap="square" lIns="91440" tIns="45720" rIns="91440" bIns="45720" rtlCol="0" anchor="t">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a:ea typeface="+mn-ea"/>
                <a:cs typeface="Arial" pitchFamily="34" charset="0"/>
              </a:rPr>
              <a:t>Invoice &amp; Past Due Prevention </a:t>
            </a:r>
            <a:endParaRPr kumimoji="0" lang="en-US" sz="1800" b="0" i="0" u="none" strike="noStrike" kern="1200" cap="none" spc="0" normalizeH="0" baseline="0" noProof="0">
              <a:ln>
                <a:noFill/>
              </a:ln>
              <a:effectLst/>
              <a:uLnTx/>
              <a:uFillTx/>
              <a:latin typeface="Arial"/>
              <a:ea typeface="+mn-ea"/>
              <a:cs typeface="+mn-cs"/>
            </a:endParaRP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a:solidFill>
                  <a:prstClr val="black"/>
                </a:solidFill>
                <a:latin typeface="Arial"/>
              </a:rPr>
              <a:t>Partnership to prevent Past Due &amp; Disputes</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a:solidFill>
                  <a:prstClr val="black"/>
                </a:solidFill>
                <a:latin typeface="Arial"/>
              </a:rPr>
              <a:t>Design for Administrable Contracts</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a:solidFill>
                  <a:prstClr val="black"/>
                </a:solidFill>
                <a:latin typeface="Arial"/>
              </a:rPr>
              <a:t>Continued adoption of E-Invoicing </a:t>
            </a:r>
          </a:p>
          <a:p>
            <a:pPr marL="171450" marR="0" lvl="1" indent="-171450" fontAlgn="auto">
              <a:lnSpc>
                <a:spcPct val="100000"/>
              </a:lnSpc>
              <a:spcBef>
                <a:spcPts val="200"/>
              </a:spcBef>
              <a:spcAft>
                <a:spcPts val="0"/>
              </a:spcAft>
              <a:buClrTx/>
              <a:buSzTx/>
              <a:buFont typeface="Arial" panose="020B0604020202020204" pitchFamily="34" charset="0"/>
              <a:buChar char="•"/>
              <a:tabLst/>
              <a:defRPr/>
            </a:pPr>
            <a:r>
              <a:rPr lang="en-US" sz="1050">
                <a:solidFill>
                  <a:prstClr val="black"/>
                </a:solidFill>
                <a:latin typeface="Arial"/>
              </a:rPr>
              <a:t>Coordinated annual pricing process</a:t>
            </a:r>
          </a:p>
        </p:txBody>
      </p:sp>
      <p:grpSp>
        <p:nvGrpSpPr>
          <p:cNvPr id="56" name="Group 55">
            <a:extLst>
              <a:ext uri="{FF2B5EF4-FFF2-40B4-BE49-F238E27FC236}">
                <a16:creationId xmlns:a16="http://schemas.microsoft.com/office/drawing/2014/main" id="{710D13A9-7CA0-299D-B8F7-07B929E3BF43}"/>
              </a:ext>
            </a:extLst>
          </p:cNvPr>
          <p:cNvGrpSpPr/>
          <p:nvPr/>
        </p:nvGrpSpPr>
        <p:grpSpPr>
          <a:xfrm>
            <a:off x="2995050" y="3040582"/>
            <a:ext cx="572917" cy="572918"/>
            <a:chOff x="3099827" y="2917968"/>
            <a:chExt cx="572917" cy="572918"/>
          </a:xfrm>
        </p:grpSpPr>
        <p:sp>
          <p:nvSpPr>
            <p:cNvPr id="48" name="Oval 75">
              <a:extLst>
                <a:ext uri="{FF2B5EF4-FFF2-40B4-BE49-F238E27FC236}">
                  <a16:creationId xmlns:a16="http://schemas.microsoft.com/office/drawing/2014/main" id="{CDCB987B-C78A-CEE8-8495-2B26D684C163}"/>
                </a:ext>
              </a:extLst>
            </p:cNvPr>
            <p:cNvSpPr/>
            <p:nvPr/>
          </p:nvSpPr>
          <p:spPr>
            <a:xfrm rot="18900000" flipH="1">
              <a:off x="3099827" y="2917968"/>
              <a:ext cx="572917" cy="5729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74" name="Graphic 73" descr="Flying Money outline">
              <a:extLst>
                <a:ext uri="{FF2B5EF4-FFF2-40B4-BE49-F238E27FC236}">
                  <a16:creationId xmlns:a16="http://schemas.microsoft.com/office/drawing/2014/main" id="{B2A065E8-0751-3522-779F-88BDE023D64F}"/>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57484" y="2960160"/>
              <a:ext cx="509196" cy="509196"/>
            </a:xfrm>
            <a:prstGeom prst="rect">
              <a:avLst/>
            </a:prstGeom>
          </p:spPr>
        </p:pic>
      </p:grpSp>
      <p:sp>
        <p:nvSpPr>
          <p:cNvPr id="76" name="TextBox 75">
            <a:extLst>
              <a:ext uri="{FF2B5EF4-FFF2-40B4-BE49-F238E27FC236}">
                <a16:creationId xmlns:a16="http://schemas.microsoft.com/office/drawing/2014/main" id="{18259C70-7F52-2C4A-E036-2AF5D4321B5F}"/>
              </a:ext>
            </a:extLst>
          </p:cNvPr>
          <p:cNvSpPr txBox="1"/>
          <p:nvPr/>
        </p:nvSpPr>
        <p:spPr>
          <a:xfrm>
            <a:off x="8962085" y="3614408"/>
            <a:ext cx="3214990" cy="1354217"/>
          </a:xfrm>
          <a:prstGeom prst="rect">
            <a:avLst/>
          </a:prstGeom>
          <a:noFill/>
        </p:spPr>
        <p:txBody>
          <a:bodyPr wrap="square" lIns="91440" tIns="45720" rIns="91440" bIns="45720" rtlCol="0" anchor="t">
            <a:spAutoFit/>
          </a:bodyPr>
          <a:lstStyle/>
          <a:p>
            <a:pPr marL="0" marR="0" lvl="1" indent="0" algn="l"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itchFamily="34" charset="0"/>
              </a:rPr>
              <a:t>SPEX Delivery / IS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171450" lvl="1" indent="-171450">
              <a:spcBef>
                <a:spcPts val="200"/>
              </a:spcBef>
              <a:buFont typeface="Arial" panose="020B0604020202020204" pitchFamily="34" charset="0"/>
              <a:buChar char="•"/>
              <a:defRPr/>
            </a:pPr>
            <a:r>
              <a:rPr lang="en-US" sz="1050" dirty="0">
                <a:solidFill>
                  <a:prstClr val="black"/>
                </a:solidFill>
                <a:latin typeface="Arial"/>
              </a:rPr>
              <a:t>Prioritized Red Bin Report for SPEX – proactive AOG resolution </a:t>
            </a:r>
          </a:p>
          <a:p>
            <a:pPr marL="171450" lvl="1" indent="-171450">
              <a:spcBef>
                <a:spcPts val="200"/>
              </a:spcBef>
              <a:buFont typeface="Arial" panose="020B0604020202020204" pitchFamily="34" charset="0"/>
              <a:buChar char="•"/>
              <a:defRPr/>
            </a:pPr>
            <a:r>
              <a:rPr lang="en-US" sz="1050" dirty="0">
                <a:solidFill>
                  <a:prstClr val="black"/>
                </a:solidFill>
                <a:latin typeface="Arial"/>
              </a:rPr>
              <a:t>Red bin prioritization with ISC – Added focal in Olathe </a:t>
            </a:r>
          </a:p>
          <a:p>
            <a:pPr marL="171450" lvl="1" indent="-171450">
              <a:spcBef>
                <a:spcPts val="200"/>
              </a:spcBef>
              <a:buFont typeface="Arial" panose="020B0604020202020204" pitchFamily="34" charset="0"/>
              <a:buChar char="•"/>
              <a:defRPr/>
            </a:pPr>
            <a:r>
              <a:rPr lang="en-US" altLang="ko-KR" sz="1050" dirty="0">
                <a:solidFill>
                  <a:prstClr val="black"/>
                </a:solidFill>
                <a:latin typeface="Arial"/>
              </a:rPr>
              <a:t>Dedicated materials focal assigned to drive allocations (voice for SPEX over R&amp;O &amp; OEM</a:t>
            </a:r>
            <a:endParaRPr lang="ko-KR" altLang="en-US" sz="1050" dirty="0">
              <a:solidFill>
                <a:prstClr val="black"/>
              </a:solidFill>
              <a:latin typeface="Arial"/>
            </a:endParaRPr>
          </a:p>
        </p:txBody>
      </p:sp>
      <p:grpSp>
        <p:nvGrpSpPr>
          <p:cNvPr id="67" name="그룹 204">
            <a:extLst>
              <a:ext uri="{FF2B5EF4-FFF2-40B4-BE49-F238E27FC236}">
                <a16:creationId xmlns:a16="http://schemas.microsoft.com/office/drawing/2014/main" id="{38424735-029E-9926-D7AA-7F6DCAB08ADE}"/>
              </a:ext>
            </a:extLst>
          </p:cNvPr>
          <p:cNvGrpSpPr/>
          <p:nvPr/>
        </p:nvGrpSpPr>
        <p:grpSpPr>
          <a:xfrm rot="7973324">
            <a:off x="6492879" y="1196305"/>
            <a:ext cx="1620829" cy="936877"/>
            <a:chOff x="3013984" y="3425199"/>
            <a:chExt cx="1620829" cy="936877"/>
          </a:xfrm>
        </p:grpSpPr>
        <p:sp>
          <p:nvSpPr>
            <p:cNvPr id="68" name="Oval 75">
              <a:extLst>
                <a:ext uri="{FF2B5EF4-FFF2-40B4-BE49-F238E27FC236}">
                  <a16:creationId xmlns:a16="http://schemas.microsoft.com/office/drawing/2014/main" id="{EE0EC673-E6BF-F2A8-839B-6E1A919946AE}"/>
                </a:ext>
              </a:extLst>
            </p:cNvPr>
            <p:cNvSpPr/>
            <p:nvPr/>
          </p:nvSpPr>
          <p:spPr>
            <a:xfrm flipH="1">
              <a:off x="3258255" y="3609520"/>
              <a:ext cx="572917" cy="572918"/>
            </a:xfrm>
            <a:prstGeom prst="ellipse">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1" name="Arc 63">
              <a:extLst>
                <a:ext uri="{FF2B5EF4-FFF2-40B4-BE49-F238E27FC236}">
                  <a16:creationId xmlns:a16="http://schemas.microsoft.com/office/drawing/2014/main" id="{5229E516-041C-3204-2D9C-0822AFC1BB39}"/>
                </a:ext>
              </a:extLst>
            </p:cNvPr>
            <p:cNvSpPr/>
            <p:nvPr/>
          </p:nvSpPr>
          <p:spPr>
            <a:xfrm rot="8100000" flipH="1">
              <a:off x="3013984" y="3425199"/>
              <a:ext cx="936877" cy="936877"/>
            </a:xfrm>
            <a:prstGeom prst="arc">
              <a:avLst>
                <a:gd name="adj1" fmla="val 15767060"/>
                <a:gd name="adj2" fmla="val 231555"/>
              </a:avLst>
            </a:prstGeom>
            <a:ln w="12700">
              <a:solidFill>
                <a:schemeClr val="tx1">
                  <a:lumMod val="75000"/>
                  <a:lumOff val="2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72" name="Straight Connector 95">
              <a:extLst>
                <a:ext uri="{FF2B5EF4-FFF2-40B4-BE49-F238E27FC236}">
                  <a16:creationId xmlns:a16="http://schemas.microsoft.com/office/drawing/2014/main" id="{5BC64596-DEC2-836F-C319-94B5DA80AB1D}"/>
                </a:ext>
              </a:extLst>
            </p:cNvPr>
            <p:cNvCxnSpPr>
              <a:cxnSpLocks/>
            </p:cNvCxnSpPr>
            <p:nvPr/>
          </p:nvCxnSpPr>
          <p:spPr>
            <a:xfrm>
              <a:off x="3914813" y="3905372"/>
              <a:ext cx="720000" cy="0"/>
            </a:xfrm>
            <a:prstGeom prst="line">
              <a:avLst/>
            </a:prstGeom>
            <a:ln w="12700">
              <a:solidFill>
                <a:schemeClr val="tx1">
                  <a:lumMod val="75000"/>
                  <a:lumOff val="2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pic>
        <p:nvPicPr>
          <p:cNvPr id="43" name="Graphic 42" descr="Food Delivery outline">
            <a:extLst>
              <a:ext uri="{FF2B5EF4-FFF2-40B4-BE49-F238E27FC236}">
                <a16:creationId xmlns:a16="http://schemas.microsoft.com/office/drawing/2014/main" id="{999710D2-0E94-C375-1B68-6F2718ABA43B}"/>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33154" y="1162546"/>
            <a:ext cx="529502" cy="529502"/>
          </a:xfrm>
          <a:prstGeom prst="rect">
            <a:avLst/>
          </a:prstGeom>
        </p:spPr>
      </p:pic>
      <p:grpSp>
        <p:nvGrpSpPr>
          <p:cNvPr id="3" name="그룹 212">
            <a:extLst>
              <a:ext uri="{FF2B5EF4-FFF2-40B4-BE49-F238E27FC236}">
                <a16:creationId xmlns:a16="http://schemas.microsoft.com/office/drawing/2014/main" id="{B2D8D418-3B96-6255-1232-75FE512ED3AB}"/>
              </a:ext>
            </a:extLst>
          </p:cNvPr>
          <p:cNvGrpSpPr/>
          <p:nvPr/>
        </p:nvGrpSpPr>
        <p:grpSpPr>
          <a:xfrm rot="5400000" flipH="1">
            <a:off x="5927026" y="4555711"/>
            <a:ext cx="1620829" cy="936877"/>
            <a:chOff x="3013984" y="3425199"/>
            <a:chExt cx="1620829" cy="936877"/>
          </a:xfrm>
        </p:grpSpPr>
        <p:sp>
          <p:nvSpPr>
            <p:cNvPr id="9" name="Oval 75">
              <a:extLst>
                <a:ext uri="{FF2B5EF4-FFF2-40B4-BE49-F238E27FC236}">
                  <a16:creationId xmlns:a16="http://schemas.microsoft.com/office/drawing/2014/main" id="{F4E692C1-C276-2EFF-0DC7-2EFF283108CB}"/>
                </a:ext>
              </a:extLst>
            </p:cNvPr>
            <p:cNvSpPr/>
            <p:nvPr/>
          </p:nvSpPr>
          <p:spPr>
            <a:xfrm flipH="1">
              <a:off x="3242271" y="3601070"/>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Arc 63">
              <a:extLst>
                <a:ext uri="{FF2B5EF4-FFF2-40B4-BE49-F238E27FC236}">
                  <a16:creationId xmlns:a16="http://schemas.microsoft.com/office/drawing/2014/main" id="{94894A69-AF48-E7FD-DAB2-FD2D68FB105A}"/>
                </a:ext>
              </a:extLst>
            </p:cNvPr>
            <p:cNvSpPr/>
            <p:nvPr/>
          </p:nvSpPr>
          <p:spPr>
            <a:xfrm rot="8100000" flipH="1">
              <a:off x="3013984" y="3425199"/>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60" name="Straight Connector 95">
              <a:extLst>
                <a:ext uri="{FF2B5EF4-FFF2-40B4-BE49-F238E27FC236}">
                  <a16:creationId xmlns:a16="http://schemas.microsoft.com/office/drawing/2014/main" id="{60109D69-AA54-3AF5-D759-E697271A32B7}"/>
                </a:ext>
              </a:extLst>
            </p:cNvPr>
            <p:cNvCxnSpPr>
              <a:cxnSpLocks/>
            </p:cNvCxnSpPr>
            <p:nvPr/>
          </p:nvCxnSpPr>
          <p:spPr>
            <a:xfrm>
              <a:off x="3914813" y="3905372"/>
              <a:ext cx="7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pic>
        <p:nvPicPr>
          <p:cNvPr id="6" name="Graphic 5" descr="Upward trend">
            <a:extLst>
              <a:ext uri="{FF2B5EF4-FFF2-40B4-BE49-F238E27FC236}">
                <a16:creationId xmlns:a16="http://schemas.microsoft.com/office/drawing/2014/main" id="{185BCD5B-1EFF-815E-CA32-6E946A9A83A0}"/>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562987" y="5130871"/>
            <a:ext cx="418873" cy="418873"/>
          </a:xfrm>
          <a:prstGeom prst="rect">
            <a:avLst/>
          </a:prstGeom>
        </p:spPr>
      </p:pic>
      <p:cxnSp>
        <p:nvCxnSpPr>
          <p:cNvPr id="52" name="Straight Connector 95">
            <a:extLst>
              <a:ext uri="{FF2B5EF4-FFF2-40B4-BE49-F238E27FC236}">
                <a16:creationId xmlns:a16="http://schemas.microsoft.com/office/drawing/2014/main" id="{D367025C-3617-15A8-8D24-38087E8D0290}"/>
              </a:ext>
            </a:extLst>
          </p:cNvPr>
          <p:cNvCxnSpPr>
            <a:cxnSpLocks/>
          </p:cNvCxnSpPr>
          <p:nvPr/>
        </p:nvCxnSpPr>
        <p:spPr>
          <a:xfrm>
            <a:off x="3760049" y="3317281"/>
            <a:ext cx="728955"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3" name="Arc 63">
            <a:extLst>
              <a:ext uri="{FF2B5EF4-FFF2-40B4-BE49-F238E27FC236}">
                <a16:creationId xmlns:a16="http://schemas.microsoft.com/office/drawing/2014/main" id="{D6AEA88A-E485-6AC0-7A9B-EA608A5F7861}"/>
              </a:ext>
            </a:extLst>
          </p:cNvPr>
          <p:cNvSpPr/>
          <p:nvPr/>
        </p:nvSpPr>
        <p:spPr>
          <a:xfrm rot="8100000" flipH="1">
            <a:off x="2862434" y="2844621"/>
            <a:ext cx="936877" cy="936877"/>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05573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137E637-5A38-1212-B0AB-B6530AA0749A}"/>
              </a:ext>
            </a:extLst>
          </p:cNvPr>
          <p:cNvSpPr>
            <a:spLocks noGrp="1"/>
          </p:cNvSpPr>
          <p:nvPr>
            <p:ph type="ftr" sz="quarter" idx="11"/>
          </p:nvPr>
        </p:nvSpPr>
        <p:spPr/>
        <p:txBody>
          <a:bodyPr/>
          <a:lstStyle/>
          <a:p>
            <a:r>
              <a:rPr lang="en-US"/>
              <a:t>Footer, Arial Bold 8pt</a:t>
            </a:r>
          </a:p>
        </p:txBody>
      </p:sp>
      <p:sp>
        <p:nvSpPr>
          <p:cNvPr id="3" name="Slide Number Placeholder 2">
            <a:extLst>
              <a:ext uri="{FF2B5EF4-FFF2-40B4-BE49-F238E27FC236}">
                <a16:creationId xmlns:a16="http://schemas.microsoft.com/office/drawing/2014/main" id="{44F40DA5-75CF-634E-7A97-1198E030A7BA}"/>
              </a:ext>
            </a:extLst>
          </p:cNvPr>
          <p:cNvSpPr>
            <a:spLocks noGrp="1"/>
          </p:cNvSpPr>
          <p:nvPr>
            <p:ph type="sldNum" sz="quarter" idx="12"/>
          </p:nvPr>
        </p:nvSpPr>
        <p:spPr/>
        <p:txBody>
          <a:bodyPr/>
          <a:lstStyle/>
          <a:p>
            <a:fld id="{7B94EC18-1D2B-4535-B738-0E53AFE26620}" type="slidenum">
              <a:rPr lang="en-US" smtClean="0"/>
              <a:t>21</a:t>
            </a:fld>
            <a:endParaRPr lang="en-US"/>
          </a:p>
        </p:txBody>
      </p:sp>
      <p:sp>
        <p:nvSpPr>
          <p:cNvPr id="8" name="TextBox 7">
            <a:extLst>
              <a:ext uri="{FF2B5EF4-FFF2-40B4-BE49-F238E27FC236}">
                <a16:creationId xmlns:a16="http://schemas.microsoft.com/office/drawing/2014/main" id="{DD4342E1-43A9-B626-F163-99E2D352A057}"/>
              </a:ext>
            </a:extLst>
          </p:cNvPr>
          <p:cNvSpPr txBox="1"/>
          <p:nvPr/>
        </p:nvSpPr>
        <p:spPr>
          <a:xfrm>
            <a:off x="305578" y="108098"/>
            <a:ext cx="6097554" cy="523220"/>
          </a:xfrm>
          <a:prstGeom prst="rect">
            <a:avLst/>
          </a:prstGeom>
          <a:noFill/>
        </p:spPr>
        <p:txBody>
          <a:bodyPr wrap="square">
            <a:spAutoFit/>
          </a:bodyPr>
          <a:lstStyle/>
          <a:p>
            <a:r>
              <a:rPr lang="en-US" sz="2800">
                <a:solidFill>
                  <a:srgbClr val="0070C0"/>
                </a:solidFill>
                <a:latin typeface="Honeywell Sans TT Black" panose="02010A03040101060203" pitchFamily="2" charset="0"/>
              </a:rPr>
              <a:t>aerospace.honeywell.com</a:t>
            </a:r>
          </a:p>
        </p:txBody>
      </p:sp>
      <p:pic>
        <p:nvPicPr>
          <p:cNvPr id="10" name="Picture 9">
            <a:extLst>
              <a:ext uri="{FF2B5EF4-FFF2-40B4-BE49-F238E27FC236}">
                <a16:creationId xmlns:a16="http://schemas.microsoft.com/office/drawing/2014/main" id="{22D29AD6-B090-6646-10CE-AC8B6AE2412F}"/>
              </a:ext>
            </a:extLst>
          </p:cNvPr>
          <p:cNvPicPr>
            <a:picLocks noChangeAspect="1"/>
          </p:cNvPicPr>
          <p:nvPr/>
        </p:nvPicPr>
        <p:blipFill>
          <a:blip r:embed="rId3"/>
          <a:stretch>
            <a:fillRect/>
          </a:stretch>
        </p:blipFill>
        <p:spPr>
          <a:xfrm>
            <a:off x="350430" y="785867"/>
            <a:ext cx="10372164" cy="5813107"/>
          </a:xfrm>
          <a:prstGeom prst="rect">
            <a:avLst/>
          </a:prstGeom>
        </p:spPr>
      </p:pic>
      <p:pic>
        <p:nvPicPr>
          <p:cNvPr id="12" name="Graphic 11" descr="Cursor with solid fill">
            <a:extLst>
              <a:ext uri="{FF2B5EF4-FFF2-40B4-BE49-F238E27FC236}">
                <a16:creationId xmlns:a16="http://schemas.microsoft.com/office/drawing/2014/main" id="{9DF0FA39-1FEA-0CFD-5D5B-6315D73959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5941588">
            <a:off x="7973689" y="347416"/>
            <a:ext cx="567804" cy="567804"/>
          </a:xfrm>
          <a:prstGeom prst="rect">
            <a:avLst/>
          </a:prstGeom>
        </p:spPr>
      </p:pic>
      <p:pic>
        <p:nvPicPr>
          <p:cNvPr id="4" name="Picture 3" descr="A qr code with text&#10;&#10;Description automatically generated">
            <a:extLst>
              <a:ext uri="{FF2B5EF4-FFF2-40B4-BE49-F238E27FC236}">
                <a16:creationId xmlns:a16="http://schemas.microsoft.com/office/drawing/2014/main" id="{BABB45A9-D9AF-E7D5-1055-5660CC75910D}"/>
              </a:ext>
            </a:extLst>
          </p:cNvPr>
          <p:cNvPicPr>
            <a:picLocks noChangeAspect="1"/>
          </p:cNvPicPr>
          <p:nvPr/>
        </p:nvPicPr>
        <p:blipFill>
          <a:blip r:embed="rId6"/>
          <a:stretch>
            <a:fillRect/>
          </a:stretch>
        </p:blipFill>
        <p:spPr>
          <a:xfrm>
            <a:off x="9601291" y="1510145"/>
            <a:ext cx="2437142" cy="1246910"/>
          </a:xfrm>
          <a:prstGeom prst="rect">
            <a:avLst/>
          </a:prstGeom>
        </p:spPr>
      </p:pic>
    </p:spTree>
    <p:extLst>
      <p:ext uri="{BB962C8B-B14F-4D97-AF65-F5344CB8AC3E}">
        <p14:creationId xmlns:p14="http://schemas.microsoft.com/office/powerpoint/2010/main" val="2175385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Arrow: Chevron 166"/>
          <p:cNvSpPr/>
          <p:nvPr/>
        </p:nvSpPr>
        <p:spPr>
          <a:xfrm flipH="1">
            <a:off x="6696174" y="928348"/>
            <a:ext cx="283617" cy="704879"/>
          </a:xfrm>
          <a:prstGeom prst="chevron">
            <a:avLst>
              <a:gd name="adj" fmla="val 76165"/>
            </a:avLst>
          </a:prstGeom>
          <a:solidFill>
            <a:srgbClr val="C63AB5"/>
          </a:solidFill>
          <a:ln w="28575">
            <a:solidFill>
              <a:srgbClr val="C63A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Honeywell Sans"/>
              <a:ea typeface="+mn-ea"/>
              <a:cs typeface="+mn-cs"/>
            </a:endParaRPr>
          </a:p>
        </p:txBody>
      </p:sp>
      <p:sp>
        <p:nvSpPr>
          <p:cNvPr id="175" name="TextBox 174"/>
          <p:cNvSpPr txBox="1"/>
          <p:nvPr/>
        </p:nvSpPr>
        <p:spPr>
          <a:xfrm>
            <a:off x="1472848" y="1523869"/>
            <a:ext cx="202805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ichael K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Redmond, W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425-922-167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ichael.Kong@honeywell.com </a:t>
            </a:r>
          </a:p>
        </p:txBody>
      </p:sp>
      <p:sp>
        <p:nvSpPr>
          <p:cNvPr id="242" name="Arrow: Chevron 241">
            <a:extLst>
              <a:ext uri="{FF2B5EF4-FFF2-40B4-BE49-F238E27FC236}">
                <a16:creationId xmlns:a16="http://schemas.microsoft.com/office/drawing/2014/main" id="{65BB0976-5E4C-4D43-9A1B-F38683158223}"/>
              </a:ext>
            </a:extLst>
          </p:cNvPr>
          <p:cNvSpPr/>
          <p:nvPr/>
        </p:nvSpPr>
        <p:spPr>
          <a:xfrm>
            <a:off x="3327718" y="1605234"/>
            <a:ext cx="229788" cy="704879"/>
          </a:xfrm>
          <a:prstGeom prst="chevron">
            <a:avLst>
              <a:gd name="adj" fmla="val 76165"/>
            </a:avLst>
          </a:prstGeom>
          <a:solidFill>
            <a:srgbClr val="FF0000"/>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Honeywell Sans"/>
              <a:ea typeface="+mn-ea"/>
              <a:cs typeface="+mn-cs"/>
            </a:endParaRPr>
          </a:p>
        </p:txBody>
      </p:sp>
      <p:pic>
        <p:nvPicPr>
          <p:cNvPr id="57" name="Picture 56">
            <a:extLst>
              <a:ext uri="{FF2B5EF4-FFF2-40B4-BE49-F238E27FC236}">
                <a16:creationId xmlns:a16="http://schemas.microsoft.com/office/drawing/2014/main" id="{850C6A3B-0B70-44FB-AEC7-931FE4D26B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445" y="1485626"/>
            <a:ext cx="763318" cy="806470"/>
          </a:xfrm>
          <a:prstGeom prst="ellipse">
            <a:avLst/>
          </a:prstGeom>
          <a:ln w="3175"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36" name="TextBox 235">
            <a:extLst>
              <a:ext uri="{FF2B5EF4-FFF2-40B4-BE49-F238E27FC236}">
                <a16:creationId xmlns:a16="http://schemas.microsoft.com/office/drawing/2014/main" id="{9E78E0D5-17E8-407A-B3FF-7AED563AD015}"/>
              </a:ext>
            </a:extLst>
          </p:cNvPr>
          <p:cNvSpPr txBox="1"/>
          <p:nvPr/>
        </p:nvSpPr>
        <p:spPr>
          <a:xfrm>
            <a:off x="1869584" y="4255611"/>
            <a:ext cx="223088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Karl Lic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Dallas, T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469-875-82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Karl.Licon@honeywell.com</a:t>
            </a:r>
          </a:p>
        </p:txBody>
      </p:sp>
      <p:sp>
        <p:nvSpPr>
          <p:cNvPr id="247" name="Arrow: Chevron 246">
            <a:extLst>
              <a:ext uri="{FF2B5EF4-FFF2-40B4-BE49-F238E27FC236}">
                <a16:creationId xmlns:a16="http://schemas.microsoft.com/office/drawing/2014/main" id="{2DCA4F6C-9375-4228-A432-EF37CF313DEE}"/>
              </a:ext>
            </a:extLst>
          </p:cNvPr>
          <p:cNvSpPr/>
          <p:nvPr/>
        </p:nvSpPr>
        <p:spPr>
          <a:xfrm>
            <a:off x="3355467" y="3255017"/>
            <a:ext cx="270212" cy="701873"/>
          </a:xfrm>
          <a:prstGeom prst="chevron">
            <a:avLst>
              <a:gd name="adj" fmla="val 76165"/>
            </a:avLst>
          </a:prstGeom>
          <a:solidFill>
            <a:schemeClr val="bg1">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Honeywell Sans"/>
              <a:ea typeface="+mn-ea"/>
              <a:cs typeface="+mn-cs"/>
            </a:endParaRPr>
          </a:p>
        </p:txBody>
      </p:sp>
      <p:sp>
        <p:nvSpPr>
          <p:cNvPr id="230" name="TextBox 229">
            <a:extLst>
              <a:ext uri="{FF2B5EF4-FFF2-40B4-BE49-F238E27FC236}">
                <a16:creationId xmlns:a16="http://schemas.microsoft.com/office/drawing/2014/main" id="{FB564A35-4140-4C13-9C0D-195D566CA81F}"/>
              </a:ext>
            </a:extLst>
          </p:cNvPr>
          <p:cNvSpPr txBox="1"/>
          <p:nvPr/>
        </p:nvSpPr>
        <p:spPr>
          <a:xfrm>
            <a:off x="7992023" y="908306"/>
            <a:ext cx="234152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orinna Camarill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exicali, Mexi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602-826-62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orinna.Camarillo@honeywell.com</a:t>
            </a:r>
          </a:p>
        </p:txBody>
      </p:sp>
      <p:pic>
        <p:nvPicPr>
          <p:cNvPr id="248" name="Picture 247" descr="A picture containing person, wall, clothing, indoor&#10;&#10;Description automatically generated">
            <a:extLst>
              <a:ext uri="{FF2B5EF4-FFF2-40B4-BE49-F238E27FC236}">
                <a16:creationId xmlns:a16="http://schemas.microsoft.com/office/drawing/2014/main" id="{51D17A0A-734D-417E-BBF4-3F6451CF2B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6788" y="850403"/>
            <a:ext cx="771791" cy="771791"/>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85" name="Picture 184" descr="A person smiling for the camera&#10;&#10;Description automatically generated with medium confidence">
            <a:extLst>
              <a:ext uri="{FF2B5EF4-FFF2-40B4-BE49-F238E27FC236}">
                <a16:creationId xmlns:a16="http://schemas.microsoft.com/office/drawing/2014/main" id="{4AF056CA-D3B5-4937-9AFD-CD535D4595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8738" y="3264396"/>
            <a:ext cx="696944" cy="756086"/>
          </a:xfrm>
          <a:prstGeom prst="ellipse">
            <a:avLst/>
          </a:prstGeom>
          <a:solidFill>
            <a:schemeClr val="bg1"/>
          </a:solidFill>
          <a:ln w="3175"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86" name="TextBox 185">
            <a:extLst>
              <a:ext uri="{FF2B5EF4-FFF2-40B4-BE49-F238E27FC236}">
                <a16:creationId xmlns:a16="http://schemas.microsoft.com/office/drawing/2014/main" id="{E94F0449-CA56-4D22-9275-F451AA83D142}"/>
              </a:ext>
            </a:extLst>
          </p:cNvPr>
          <p:cNvSpPr txBox="1"/>
          <p:nvPr/>
        </p:nvSpPr>
        <p:spPr>
          <a:xfrm>
            <a:off x="1178397" y="3288667"/>
            <a:ext cx="220445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ichael Schub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Phoenix, A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602-478-529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ichael.Schubert@honeywell.com</a:t>
            </a:r>
          </a:p>
        </p:txBody>
      </p:sp>
      <p:sp>
        <p:nvSpPr>
          <p:cNvPr id="187" name="Arrow: Chevron 186">
            <a:extLst>
              <a:ext uri="{FF2B5EF4-FFF2-40B4-BE49-F238E27FC236}">
                <a16:creationId xmlns:a16="http://schemas.microsoft.com/office/drawing/2014/main" id="{82BAC912-AD84-418D-BE6B-065462A10D5E}"/>
              </a:ext>
            </a:extLst>
          </p:cNvPr>
          <p:cNvSpPr/>
          <p:nvPr/>
        </p:nvSpPr>
        <p:spPr>
          <a:xfrm>
            <a:off x="3605579" y="4201469"/>
            <a:ext cx="271173" cy="719411"/>
          </a:xfrm>
          <a:prstGeom prst="chevron">
            <a:avLst>
              <a:gd name="adj" fmla="val 76165"/>
            </a:avLst>
          </a:prstGeom>
          <a:solidFill>
            <a:srgbClr val="003399"/>
          </a:solidFill>
          <a:ln w="38100">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Honeywell Sans"/>
              <a:ea typeface="+mn-ea"/>
              <a:cs typeface="+mn-cs"/>
            </a:endParaRPr>
          </a:p>
        </p:txBody>
      </p:sp>
      <p:pic>
        <p:nvPicPr>
          <p:cNvPr id="4" name="Picture 3">
            <a:extLst>
              <a:ext uri="{FF2B5EF4-FFF2-40B4-BE49-F238E27FC236}">
                <a16:creationId xmlns:a16="http://schemas.microsoft.com/office/drawing/2014/main" id="{F2B730A0-0014-4C5A-B431-ABCC5C48BEC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920" y="4214055"/>
            <a:ext cx="783424" cy="78342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2" name="Group 1">
            <a:extLst>
              <a:ext uri="{FF2B5EF4-FFF2-40B4-BE49-F238E27FC236}">
                <a16:creationId xmlns:a16="http://schemas.microsoft.com/office/drawing/2014/main" id="{629B2F71-4179-2E00-560A-7948BB3D8B43}"/>
              </a:ext>
            </a:extLst>
          </p:cNvPr>
          <p:cNvGrpSpPr/>
          <p:nvPr/>
        </p:nvGrpSpPr>
        <p:grpSpPr>
          <a:xfrm>
            <a:off x="3641327" y="728117"/>
            <a:ext cx="3812344" cy="4138630"/>
            <a:chOff x="6918948" y="422818"/>
            <a:chExt cx="5196880" cy="5500764"/>
          </a:xfrm>
        </p:grpSpPr>
        <p:sp>
          <p:nvSpPr>
            <p:cNvPr id="336" name="Shape 1436">
              <a:extLst>
                <a:ext uri="{FF2B5EF4-FFF2-40B4-BE49-F238E27FC236}">
                  <a16:creationId xmlns:a16="http://schemas.microsoft.com/office/drawing/2014/main" id="{7ADD03D3-EC3B-5A58-5ABA-7D25D72E7F00}"/>
                </a:ext>
              </a:extLst>
            </p:cNvPr>
            <p:cNvSpPr/>
            <p:nvPr/>
          </p:nvSpPr>
          <p:spPr>
            <a:xfrm rot="2718773">
              <a:off x="6676791" y="664975"/>
              <a:ext cx="2030271" cy="1545958"/>
            </a:xfrm>
            <a:custGeom>
              <a:avLst/>
              <a:gdLst/>
              <a:ahLst/>
              <a:cxnLst/>
              <a:rect l="0" t="0" r="0" b="0"/>
              <a:pathLst>
                <a:path w="120000" h="120000" extrusionOk="0">
                  <a:moveTo>
                    <a:pt x="47091" y="96637"/>
                  </a:moveTo>
                  <a:lnTo>
                    <a:pt x="47916" y="97699"/>
                  </a:lnTo>
                  <a:lnTo>
                    <a:pt x="49567" y="99115"/>
                  </a:lnTo>
                  <a:lnTo>
                    <a:pt x="48466" y="99469"/>
                  </a:lnTo>
                  <a:lnTo>
                    <a:pt x="47916" y="99469"/>
                  </a:lnTo>
                  <a:lnTo>
                    <a:pt x="46816" y="100531"/>
                  </a:lnTo>
                  <a:lnTo>
                    <a:pt x="46816" y="100884"/>
                  </a:lnTo>
                  <a:lnTo>
                    <a:pt x="46816" y="101946"/>
                  </a:lnTo>
                  <a:lnTo>
                    <a:pt x="47366" y="101946"/>
                  </a:lnTo>
                  <a:lnTo>
                    <a:pt x="48466" y="103716"/>
                  </a:lnTo>
                  <a:lnTo>
                    <a:pt x="48466" y="104424"/>
                  </a:lnTo>
                  <a:lnTo>
                    <a:pt x="47641" y="104778"/>
                  </a:lnTo>
                  <a:lnTo>
                    <a:pt x="47091" y="104778"/>
                  </a:lnTo>
                  <a:lnTo>
                    <a:pt x="46540" y="105132"/>
                  </a:lnTo>
                  <a:lnTo>
                    <a:pt x="46265" y="105132"/>
                  </a:lnTo>
                  <a:lnTo>
                    <a:pt x="45440" y="105840"/>
                  </a:lnTo>
                  <a:lnTo>
                    <a:pt x="45440" y="106902"/>
                  </a:lnTo>
                  <a:lnTo>
                    <a:pt x="45440" y="107256"/>
                  </a:lnTo>
                  <a:lnTo>
                    <a:pt x="44890" y="108318"/>
                  </a:lnTo>
                  <a:lnTo>
                    <a:pt x="44064" y="106548"/>
                  </a:lnTo>
                  <a:lnTo>
                    <a:pt x="44064" y="106902"/>
                  </a:lnTo>
                  <a:lnTo>
                    <a:pt x="43789" y="107610"/>
                  </a:lnTo>
                  <a:lnTo>
                    <a:pt x="42964" y="108672"/>
                  </a:lnTo>
                  <a:lnTo>
                    <a:pt x="42413" y="110088"/>
                  </a:lnTo>
                  <a:lnTo>
                    <a:pt x="42413" y="110442"/>
                  </a:lnTo>
                  <a:lnTo>
                    <a:pt x="42413" y="111858"/>
                  </a:lnTo>
                  <a:lnTo>
                    <a:pt x="39937" y="111858"/>
                  </a:lnTo>
                  <a:lnTo>
                    <a:pt x="41863" y="111150"/>
                  </a:lnTo>
                  <a:lnTo>
                    <a:pt x="42138" y="110442"/>
                  </a:lnTo>
                  <a:lnTo>
                    <a:pt x="42413" y="109734"/>
                  </a:lnTo>
                  <a:lnTo>
                    <a:pt x="42138" y="108672"/>
                  </a:lnTo>
                  <a:lnTo>
                    <a:pt x="41588" y="108318"/>
                  </a:lnTo>
                  <a:lnTo>
                    <a:pt x="41313" y="108318"/>
                  </a:lnTo>
                  <a:lnTo>
                    <a:pt x="40763" y="107610"/>
                  </a:lnTo>
                  <a:lnTo>
                    <a:pt x="40763" y="107256"/>
                  </a:lnTo>
                  <a:lnTo>
                    <a:pt x="40488" y="105132"/>
                  </a:lnTo>
                  <a:lnTo>
                    <a:pt x="41038" y="104424"/>
                  </a:lnTo>
                  <a:lnTo>
                    <a:pt x="41313" y="103716"/>
                  </a:lnTo>
                  <a:lnTo>
                    <a:pt x="42138" y="103008"/>
                  </a:lnTo>
                  <a:lnTo>
                    <a:pt x="42413" y="103362"/>
                  </a:lnTo>
                  <a:lnTo>
                    <a:pt x="43239" y="104424"/>
                  </a:lnTo>
                  <a:lnTo>
                    <a:pt x="43789" y="105840"/>
                  </a:lnTo>
                  <a:lnTo>
                    <a:pt x="43789" y="104424"/>
                  </a:lnTo>
                  <a:lnTo>
                    <a:pt x="43514" y="103008"/>
                  </a:lnTo>
                  <a:lnTo>
                    <a:pt x="42964" y="101946"/>
                  </a:lnTo>
                  <a:lnTo>
                    <a:pt x="43789" y="101592"/>
                  </a:lnTo>
                  <a:lnTo>
                    <a:pt x="44890" y="102300"/>
                  </a:lnTo>
                  <a:lnTo>
                    <a:pt x="45440" y="102300"/>
                  </a:lnTo>
                  <a:lnTo>
                    <a:pt x="45440" y="101592"/>
                  </a:lnTo>
                  <a:lnTo>
                    <a:pt x="45440" y="101238"/>
                  </a:lnTo>
                  <a:lnTo>
                    <a:pt x="45440" y="100531"/>
                  </a:lnTo>
                  <a:lnTo>
                    <a:pt x="45440" y="99469"/>
                  </a:lnTo>
                  <a:lnTo>
                    <a:pt x="45165" y="98761"/>
                  </a:lnTo>
                  <a:lnTo>
                    <a:pt x="46265" y="97699"/>
                  </a:lnTo>
                  <a:close/>
                  <a:moveTo>
                    <a:pt x="8573" y="75044"/>
                  </a:moveTo>
                  <a:lnTo>
                    <a:pt x="9123" y="75044"/>
                  </a:lnTo>
                  <a:lnTo>
                    <a:pt x="9948" y="77168"/>
                  </a:lnTo>
                  <a:lnTo>
                    <a:pt x="9948" y="78230"/>
                  </a:lnTo>
                  <a:lnTo>
                    <a:pt x="9398" y="79291"/>
                  </a:lnTo>
                  <a:lnTo>
                    <a:pt x="8848" y="79291"/>
                  </a:lnTo>
                  <a:lnTo>
                    <a:pt x="8022" y="79291"/>
                  </a:lnTo>
                  <a:lnTo>
                    <a:pt x="6922" y="78230"/>
                  </a:lnTo>
                  <a:lnTo>
                    <a:pt x="5546" y="76814"/>
                  </a:lnTo>
                  <a:lnTo>
                    <a:pt x="6922" y="75752"/>
                  </a:lnTo>
                  <a:lnTo>
                    <a:pt x="7747" y="75752"/>
                  </a:lnTo>
                  <a:close/>
                  <a:moveTo>
                    <a:pt x="692" y="44955"/>
                  </a:moveTo>
                  <a:cubicBezTo>
                    <a:pt x="692" y="44955"/>
                    <a:pt x="692" y="44955"/>
                    <a:pt x="922" y="46162"/>
                  </a:cubicBezTo>
                  <a:cubicBezTo>
                    <a:pt x="922" y="46162"/>
                    <a:pt x="922" y="46162"/>
                    <a:pt x="1384" y="46765"/>
                  </a:cubicBezTo>
                  <a:cubicBezTo>
                    <a:pt x="1384" y="46765"/>
                    <a:pt x="1384" y="46765"/>
                    <a:pt x="2538" y="47066"/>
                  </a:cubicBezTo>
                  <a:cubicBezTo>
                    <a:pt x="2538" y="47066"/>
                    <a:pt x="2538" y="47066"/>
                    <a:pt x="3691" y="47066"/>
                  </a:cubicBezTo>
                  <a:cubicBezTo>
                    <a:pt x="3691" y="47066"/>
                    <a:pt x="3691" y="47066"/>
                    <a:pt x="4384" y="47669"/>
                  </a:cubicBezTo>
                  <a:cubicBezTo>
                    <a:pt x="4384" y="47669"/>
                    <a:pt x="4384" y="47669"/>
                    <a:pt x="4384" y="48574"/>
                  </a:cubicBezTo>
                  <a:cubicBezTo>
                    <a:pt x="4384" y="48574"/>
                    <a:pt x="4384" y="48574"/>
                    <a:pt x="4845" y="49177"/>
                  </a:cubicBezTo>
                  <a:cubicBezTo>
                    <a:pt x="4845" y="49177"/>
                    <a:pt x="4845" y="49177"/>
                    <a:pt x="5768" y="50383"/>
                  </a:cubicBezTo>
                  <a:cubicBezTo>
                    <a:pt x="5768" y="50383"/>
                    <a:pt x="5768" y="50383"/>
                    <a:pt x="6922" y="52494"/>
                  </a:cubicBezTo>
                  <a:cubicBezTo>
                    <a:pt x="6922" y="52494"/>
                    <a:pt x="6922" y="52494"/>
                    <a:pt x="6230" y="52494"/>
                  </a:cubicBezTo>
                  <a:cubicBezTo>
                    <a:pt x="6230" y="52494"/>
                    <a:pt x="6230" y="52494"/>
                    <a:pt x="4845" y="52494"/>
                  </a:cubicBezTo>
                  <a:lnTo>
                    <a:pt x="4614" y="53097"/>
                  </a:lnTo>
                  <a:cubicBezTo>
                    <a:pt x="4614" y="53097"/>
                    <a:pt x="4614" y="53097"/>
                    <a:pt x="3691" y="51891"/>
                  </a:cubicBezTo>
                  <a:cubicBezTo>
                    <a:pt x="3691" y="51891"/>
                    <a:pt x="3691" y="51891"/>
                    <a:pt x="3230" y="50082"/>
                  </a:cubicBezTo>
                  <a:cubicBezTo>
                    <a:pt x="3230" y="50082"/>
                    <a:pt x="3230" y="50082"/>
                    <a:pt x="2999" y="49479"/>
                  </a:cubicBezTo>
                  <a:cubicBezTo>
                    <a:pt x="2999" y="49479"/>
                    <a:pt x="2999" y="49479"/>
                    <a:pt x="2538" y="48875"/>
                  </a:cubicBezTo>
                  <a:cubicBezTo>
                    <a:pt x="2538" y="48875"/>
                    <a:pt x="2538" y="48875"/>
                    <a:pt x="2307" y="48875"/>
                  </a:cubicBezTo>
                  <a:cubicBezTo>
                    <a:pt x="2307" y="48875"/>
                    <a:pt x="2307" y="48875"/>
                    <a:pt x="2076" y="48875"/>
                  </a:cubicBezTo>
                  <a:cubicBezTo>
                    <a:pt x="2076" y="48875"/>
                    <a:pt x="1615" y="48875"/>
                    <a:pt x="1615" y="48875"/>
                  </a:cubicBezTo>
                  <a:cubicBezTo>
                    <a:pt x="1384" y="48574"/>
                    <a:pt x="1384" y="48875"/>
                    <a:pt x="1384" y="48875"/>
                  </a:cubicBezTo>
                  <a:cubicBezTo>
                    <a:pt x="1384" y="48875"/>
                    <a:pt x="1384" y="48875"/>
                    <a:pt x="692" y="48875"/>
                  </a:cubicBezTo>
                  <a:cubicBezTo>
                    <a:pt x="-230" y="48574"/>
                    <a:pt x="461" y="48574"/>
                    <a:pt x="461" y="48574"/>
                  </a:cubicBezTo>
                  <a:cubicBezTo>
                    <a:pt x="230" y="48272"/>
                    <a:pt x="230" y="48272"/>
                    <a:pt x="230" y="47971"/>
                  </a:cubicBezTo>
                  <a:cubicBezTo>
                    <a:pt x="230" y="47971"/>
                    <a:pt x="0" y="47368"/>
                    <a:pt x="0" y="47066"/>
                  </a:cubicBezTo>
                  <a:cubicBezTo>
                    <a:pt x="0" y="47066"/>
                    <a:pt x="0" y="46162"/>
                    <a:pt x="0" y="46162"/>
                  </a:cubicBezTo>
                  <a:cubicBezTo>
                    <a:pt x="0" y="46162"/>
                    <a:pt x="0" y="46162"/>
                    <a:pt x="692" y="44955"/>
                  </a:cubicBezTo>
                  <a:close/>
                  <a:moveTo>
                    <a:pt x="43147" y="0"/>
                  </a:moveTo>
                  <a:cubicBezTo>
                    <a:pt x="43147" y="0"/>
                    <a:pt x="43147" y="0"/>
                    <a:pt x="44079" y="1197"/>
                  </a:cubicBezTo>
                  <a:cubicBezTo>
                    <a:pt x="44079" y="1197"/>
                    <a:pt x="44079" y="1197"/>
                    <a:pt x="44545" y="2094"/>
                  </a:cubicBezTo>
                  <a:cubicBezTo>
                    <a:pt x="44545" y="2094"/>
                    <a:pt x="44545" y="2094"/>
                    <a:pt x="44079" y="2094"/>
                  </a:cubicBezTo>
                  <a:cubicBezTo>
                    <a:pt x="44079" y="2094"/>
                    <a:pt x="44079" y="2094"/>
                    <a:pt x="44079" y="2992"/>
                  </a:cubicBezTo>
                  <a:cubicBezTo>
                    <a:pt x="44079" y="2992"/>
                    <a:pt x="44079" y="2992"/>
                    <a:pt x="44777" y="3591"/>
                  </a:cubicBezTo>
                  <a:cubicBezTo>
                    <a:pt x="44777" y="3591"/>
                    <a:pt x="44777" y="3591"/>
                    <a:pt x="45709" y="3591"/>
                  </a:cubicBezTo>
                  <a:cubicBezTo>
                    <a:pt x="45709" y="3591"/>
                    <a:pt x="45709" y="3591"/>
                    <a:pt x="45709" y="2693"/>
                  </a:cubicBezTo>
                  <a:cubicBezTo>
                    <a:pt x="45709" y="2693"/>
                    <a:pt x="45709" y="2693"/>
                    <a:pt x="46175" y="2094"/>
                  </a:cubicBezTo>
                  <a:cubicBezTo>
                    <a:pt x="46175" y="2094"/>
                    <a:pt x="46175" y="2094"/>
                    <a:pt x="46640" y="2693"/>
                  </a:cubicBezTo>
                  <a:cubicBezTo>
                    <a:pt x="46640" y="2693"/>
                    <a:pt x="46640" y="2693"/>
                    <a:pt x="47339" y="3890"/>
                  </a:cubicBezTo>
                  <a:cubicBezTo>
                    <a:pt x="47339" y="3890"/>
                    <a:pt x="47339" y="3890"/>
                    <a:pt x="48736" y="3591"/>
                  </a:cubicBezTo>
                  <a:cubicBezTo>
                    <a:pt x="48736" y="3591"/>
                    <a:pt x="48736" y="3591"/>
                    <a:pt x="50600" y="4189"/>
                  </a:cubicBezTo>
                  <a:cubicBezTo>
                    <a:pt x="50600" y="4189"/>
                    <a:pt x="50600" y="4189"/>
                    <a:pt x="50600" y="5087"/>
                  </a:cubicBezTo>
                  <a:cubicBezTo>
                    <a:pt x="50600" y="5087"/>
                    <a:pt x="50600" y="5087"/>
                    <a:pt x="51065" y="6284"/>
                  </a:cubicBezTo>
                  <a:cubicBezTo>
                    <a:pt x="51065" y="6284"/>
                    <a:pt x="51065" y="6284"/>
                    <a:pt x="52230" y="7481"/>
                  </a:cubicBezTo>
                  <a:cubicBezTo>
                    <a:pt x="52230" y="7481"/>
                    <a:pt x="52230" y="7481"/>
                    <a:pt x="54791" y="7481"/>
                  </a:cubicBezTo>
                  <a:cubicBezTo>
                    <a:pt x="54791" y="7481"/>
                    <a:pt x="54791" y="7481"/>
                    <a:pt x="55490" y="7481"/>
                  </a:cubicBezTo>
                  <a:cubicBezTo>
                    <a:pt x="55490" y="7481"/>
                    <a:pt x="55490" y="7481"/>
                    <a:pt x="56189" y="6882"/>
                  </a:cubicBezTo>
                  <a:cubicBezTo>
                    <a:pt x="56189" y="6882"/>
                    <a:pt x="56189" y="6882"/>
                    <a:pt x="57120" y="6882"/>
                  </a:cubicBezTo>
                  <a:cubicBezTo>
                    <a:pt x="57120" y="6882"/>
                    <a:pt x="57120" y="6882"/>
                    <a:pt x="58285" y="7780"/>
                  </a:cubicBezTo>
                  <a:cubicBezTo>
                    <a:pt x="58285" y="7780"/>
                    <a:pt x="58285" y="7780"/>
                    <a:pt x="58518" y="8678"/>
                  </a:cubicBezTo>
                  <a:cubicBezTo>
                    <a:pt x="58518" y="8678"/>
                    <a:pt x="58518" y="8678"/>
                    <a:pt x="58518" y="9575"/>
                  </a:cubicBezTo>
                  <a:cubicBezTo>
                    <a:pt x="58518" y="9575"/>
                    <a:pt x="58518" y="9575"/>
                    <a:pt x="58518" y="9725"/>
                  </a:cubicBezTo>
                  <a:lnTo>
                    <a:pt x="58518" y="10174"/>
                  </a:lnTo>
                  <a:cubicBezTo>
                    <a:pt x="58518" y="10174"/>
                    <a:pt x="58518" y="10174"/>
                    <a:pt x="59682" y="9276"/>
                  </a:cubicBezTo>
                  <a:cubicBezTo>
                    <a:pt x="59682" y="9276"/>
                    <a:pt x="59682" y="9276"/>
                    <a:pt x="61079" y="8678"/>
                  </a:cubicBezTo>
                  <a:cubicBezTo>
                    <a:pt x="61079" y="8678"/>
                    <a:pt x="61079" y="8678"/>
                    <a:pt x="62011" y="8678"/>
                  </a:cubicBezTo>
                  <a:cubicBezTo>
                    <a:pt x="62011" y="8678"/>
                    <a:pt x="62011" y="8678"/>
                    <a:pt x="63874" y="9575"/>
                  </a:cubicBezTo>
                  <a:cubicBezTo>
                    <a:pt x="63874" y="9575"/>
                    <a:pt x="63874" y="9575"/>
                    <a:pt x="65504" y="10174"/>
                  </a:cubicBezTo>
                  <a:cubicBezTo>
                    <a:pt x="65504" y="10174"/>
                    <a:pt x="65504" y="10174"/>
                    <a:pt x="67367" y="9575"/>
                  </a:cubicBezTo>
                  <a:cubicBezTo>
                    <a:pt x="67367" y="9575"/>
                    <a:pt x="67367" y="9575"/>
                    <a:pt x="68299" y="8678"/>
                  </a:cubicBezTo>
                  <a:cubicBezTo>
                    <a:pt x="68299" y="8678"/>
                    <a:pt x="68299" y="8678"/>
                    <a:pt x="69230" y="8678"/>
                  </a:cubicBezTo>
                  <a:cubicBezTo>
                    <a:pt x="69230" y="8678"/>
                    <a:pt x="69230" y="8678"/>
                    <a:pt x="69696" y="8678"/>
                  </a:cubicBezTo>
                  <a:cubicBezTo>
                    <a:pt x="69696" y="8678"/>
                    <a:pt x="69696" y="8678"/>
                    <a:pt x="70861" y="10174"/>
                  </a:cubicBezTo>
                  <a:cubicBezTo>
                    <a:pt x="70861" y="10174"/>
                    <a:pt x="70861" y="10174"/>
                    <a:pt x="72025" y="11371"/>
                  </a:cubicBezTo>
                  <a:cubicBezTo>
                    <a:pt x="72025" y="11371"/>
                    <a:pt x="72025" y="11371"/>
                    <a:pt x="74121" y="11670"/>
                  </a:cubicBezTo>
                  <a:lnTo>
                    <a:pt x="75053" y="22144"/>
                  </a:lnTo>
                  <a:cubicBezTo>
                    <a:pt x="75053" y="22144"/>
                    <a:pt x="75053" y="22144"/>
                    <a:pt x="77847" y="48478"/>
                  </a:cubicBezTo>
                  <a:cubicBezTo>
                    <a:pt x="77847" y="48478"/>
                    <a:pt x="77847" y="48478"/>
                    <a:pt x="81108" y="80199"/>
                  </a:cubicBezTo>
                  <a:cubicBezTo>
                    <a:pt x="81108" y="80199"/>
                    <a:pt x="81108" y="80199"/>
                    <a:pt x="81806" y="81995"/>
                  </a:cubicBezTo>
                  <a:cubicBezTo>
                    <a:pt x="81806" y="81995"/>
                    <a:pt x="81806" y="81995"/>
                    <a:pt x="84135" y="81995"/>
                  </a:cubicBezTo>
                  <a:cubicBezTo>
                    <a:pt x="84135" y="81995"/>
                    <a:pt x="84135" y="81995"/>
                    <a:pt x="84601" y="80199"/>
                  </a:cubicBezTo>
                  <a:cubicBezTo>
                    <a:pt x="84601" y="80199"/>
                    <a:pt x="84601" y="80199"/>
                    <a:pt x="86464" y="80199"/>
                  </a:cubicBezTo>
                  <a:cubicBezTo>
                    <a:pt x="86464" y="80199"/>
                    <a:pt x="86464" y="80199"/>
                    <a:pt x="86464" y="81097"/>
                  </a:cubicBezTo>
                  <a:cubicBezTo>
                    <a:pt x="86464" y="81097"/>
                    <a:pt x="86464" y="81097"/>
                    <a:pt x="87163" y="82294"/>
                  </a:cubicBezTo>
                  <a:cubicBezTo>
                    <a:pt x="87163" y="82294"/>
                    <a:pt x="87163" y="82294"/>
                    <a:pt x="90190" y="84987"/>
                  </a:cubicBezTo>
                  <a:cubicBezTo>
                    <a:pt x="90190" y="84987"/>
                    <a:pt x="90190" y="84987"/>
                    <a:pt x="92752" y="88578"/>
                  </a:cubicBezTo>
                  <a:cubicBezTo>
                    <a:pt x="92752" y="88578"/>
                    <a:pt x="92752" y="88578"/>
                    <a:pt x="94149" y="87082"/>
                  </a:cubicBezTo>
                  <a:cubicBezTo>
                    <a:pt x="94149" y="87082"/>
                    <a:pt x="94149" y="87082"/>
                    <a:pt x="95081" y="84089"/>
                  </a:cubicBezTo>
                  <a:cubicBezTo>
                    <a:pt x="95081" y="84089"/>
                    <a:pt x="95081" y="84089"/>
                    <a:pt x="96245" y="82593"/>
                  </a:cubicBezTo>
                  <a:cubicBezTo>
                    <a:pt x="96245" y="82593"/>
                    <a:pt x="96245" y="82593"/>
                    <a:pt x="97410" y="81695"/>
                  </a:cubicBezTo>
                  <a:cubicBezTo>
                    <a:pt x="97410" y="81695"/>
                    <a:pt x="97410" y="81695"/>
                    <a:pt x="99506" y="82892"/>
                  </a:cubicBezTo>
                  <a:cubicBezTo>
                    <a:pt x="99506" y="82892"/>
                    <a:pt x="99506" y="82892"/>
                    <a:pt x="102067" y="85286"/>
                  </a:cubicBezTo>
                  <a:cubicBezTo>
                    <a:pt x="102067" y="85286"/>
                    <a:pt x="102067" y="85286"/>
                    <a:pt x="104629" y="88578"/>
                  </a:cubicBezTo>
                  <a:cubicBezTo>
                    <a:pt x="104629" y="88578"/>
                    <a:pt x="104629" y="88578"/>
                    <a:pt x="106492" y="91271"/>
                  </a:cubicBezTo>
                  <a:cubicBezTo>
                    <a:pt x="106492" y="91271"/>
                    <a:pt x="106492" y="91271"/>
                    <a:pt x="110218" y="96059"/>
                  </a:cubicBezTo>
                  <a:cubicBezTo>
                    <a:pt x="110218" y="96059"/>
                    <a:pt x="110218" y="96059"/>
                    <a:pt x="112547" y="100249"/>
                  </a:cubicBezTo>
                  <a:cubicBezTo>
                    <a:pt x="112547" y="100249"/>
                    <a:pt x="112547" y="100249"/>
                    <a:pt x="113944" y="100548"/>
                  </a:cubicBezTo>
                  <a:cubicBezTo>
                    <a:pt x="113944" y="100548"/>
                    <a:pt x="113944" y="100548"/>
                    <a:pt x="115575" y="100847"/>
                  </a:cubicBezTo>
                  <a:cubicBezTo>
                    <a:pt x="115575" y="100847"/>
                    <a:pt x="115575" y="100847"/>
                    <a:pt x="118369" y="102044"/>
                  </a:cubicBezTo>
                  <a:cubicBezTo>
                    <a:pt x="118369" y="102044"/>
                    <a:pt x="118369" y="102044"/>
                    <a:pt x="119534" y="102942"/>
                  </a:cubicBezTo>
                  <a:cubicBezTo>
                    <a:pt x="119534" y="102942"/>
                    <a:pt x="119534" y="102942"/>
                    <a:pt x="119534" y="104139"/>
                  </a:cubicBezTo>
                  <a:cubicBezTo>
                    <a:pt x="119534" y="104139"/>
                    <a:pt x="119534" y="104139"/>
                    <a:pt x="120000" y="106833"/>
                  </a:cubicBezTo>
                  <a:cubicBezTo>
                    <a:pt x="120000" y="106833"/>
                    <a:pt x="120000" y="106833"/>
                    <a:pt x="120000" y="108029"/>
                  </a:cubicBezTo>
                  <a:cubicBezTo>
                    <a:pt x="120000" y="108029"/>
                    <a:pt x="120000" y="108029"/>
                    <a:pt x="120000" y="109226"/>
                  </a:cubicBezTo>
                  <a:cubicBezTo>
                    <a:pt x="120000" y="109226"/>
                    <a:pt x="120000" y="109226"/>
                    <a:pt x="120000" y="111920"/>
                  </a:cubicBezTo>
                  <a:cubicBezTo>
                    <a:pt x="120000" y="111920"/>
                    <a:pt x="120000" y="111920"/>
                    <a:pt x="119068" y="112817"/>
                  </a:cubicBezTo>
                  <a:cubicBezTo>
                    <a:pt x="119068" y="112817"/>
                    <a:pt x="119068" y="112817"/>
                    <a:pt x="118369" y="111620"/>
                  </a:cubicBezTo>
                  <a:cubicBezTo>
                    <a:pt x="118369" y="111620"/>
                    <a:pt x="118369" y="111620"/>
                    <a:pt x="117671" y="110124"/>
                  </a:cubicBezTo>
                  <a:cubicBezTo>
                    <a:pt x="117671" y="110124"/>
                    <a:pt x="117671" y="110124"/>
                    <a:pt x="116972" y="110723"/>
                  </a:cubicBezTo>
                  <a:cubicBezTo>
                    <a:pt x="116972" y="110723"/>
                    <a:pt x="116972" y="110723"/>
                    <a:pt x="117671" y="112219"/>
                  </a:cubicBezTo>
                  <a:cubicBezTo>
                    <a:pt x="117671" y="112219"/>
                    <a:pt x="117671" y="112219"/>
                    <a:pt x="117205" y="112518"/>
                  </a:cubicBezTo>
                  <a:cubicBezTo>
                    <a:pt x="117205" y="112518"/>
                    <a:pt x="117205" y="112518"/>
                    <a:pt x="116506" y="111920"/>
                  </a:cubicBezTo>
                  <a:cubicBezTo>
                    <a:pt x="116506" y="111920"/>
                    <a:pt x="116506" y="111920"/>
                    <a:pt x="115109" y="111321"/>
                  </a:cubicBezTo>
                  <a:cubicBezTo>
                    <a:pt x="115109" y="111321"/>
                    <a:pt x="115109" y="111321"/>
                    <a:pt x="115109" y="110124"/>
                  </a:cubicBezTo>
                  <a:cubicBezTo>
                    <a:pt x="115109" y="110124"/>
                    <a:pt x="115109" y="110124"/>
                    <a:pt x="114643" y="108628"/>
                  </a:cubicBezTo>
                  <a:cubicBezTo>
                    <a:pt x="114643" y="108628"/>
                    <a:pt x="114643" y="108628"/>
                    <a:pt x="113944" y="108029"/>
                  </a:cubicBezTo>
                  <a:cubicBezTo>
                    <a:pt x="113944" y="108029"/>
                    <a:pt x="113944" y="108029"/>
                    <a:pt x="113479" y="106833"/>
                  </a:cubicBezTo>
                  <a:cubicBezTo>
                    <a:pt x="113479" y="106833"/>
                    <a:pt x="113479" y="106833"/>
                    <a:pt x="111616" y="105037"/>
                  </a:cubicBezTo>
                  <a:cubicBezTo>
                    <a:pt x="111616" y="105037"/>
                    <a:pt x="111616" y="105037"/>
                    <a:pt x="109985" y="105336"/>
                  </a:cubicBezTo>
                  <a:cubicBezTo>
                    <a:pt x="109985" y="105336"/>
                    <a:pt x="109985" y="105336"/>
                    <a:pt x="110451" y="106234"/>
                  </a:cubicBezTo>
                  <a:cubicBezTo>
                    <a:pt x="110451" y="106234"/>
                    <a:pt x="110451" y="106234"/>
                    <a:pt x="110917" y="106833"/>
                  </a:cubicBezTo>
                  <a:cubicBezTo>
                    <a:pt x="110917" y="106833"/>
                    <a:pt x="110917" y="106833"/>
                    <a:pt x="112547" y="108029"/>
                  </a:cubicBezTo>
                  <a:cubicBezTo>
                    <a:pt x="112547" y="108029"/>
                    <a:pt x="112547" y="108029"/>
                    <a:pt x="113479" y="109226"/>
                  </a:cubicBezTo>
                  <a:cubicBezTo>
                    <a:pt x="113479" y="109226"/>
                    <a:pt x="113479" y="109226"/>
                    <a:pt x="113479" y="110124"/>
                  </a:cubicBezTo>
                  <a:cubicBezTo>
                    <a:pt x="113479" y="110124"/>
                    <a:pt x="113479" y="110124"/>
                    <a:pt x="114177" y="111022"/>
                  </a:cubicBezTo>
                  <a:cubicBezTo>
                    <a:pt x="114177" y="111022"/>
                    <a:pt x="114177" y="111022"/>
                    <a:pt x="114643" y="111920"/>
                  </a:cubicBezTo>
                  <a:cubicBezTo>
                    <a:pt x="114643" y="111920"/>
                    <a:pt x="114643" y="111920"/>
                    <a:pt x="115109" y="114015"/>
                  </a:cubicBezTo>
                  <a:cubicBezTo>
                    <a:pt x="115109" y="114015"/>
                    <a:pt x="115109" y="114015"/>
                    <a:pt x="115109" y="114613"/>
                  </a:cubicBezTo>
                  <a:cubicBezTo>
                    <a:pt x="115109" y="114613"/>
                    <a:pt x="115109" y="114613"/>
                    <a:pt x="114410" y="114912"/>
                  </a:cubicBezTo>
                  <a:cubicBezTo>
                    <a:pt x="114410" y="114912"/>
                    <a:pt x="114410" y="114912"/>
                    <a:pt x="113944" y="113416"/>
                  </a:cubicBezTo>
                  <a:cubicBezTo>
                    <a:pt x="113944" y="113416"/>
                    <a:pt x="113944" y="113416"/>
                    <a:pt x="113944" y="114912"/>
                  </a:cubicBezTo>
                  <a:cubicBezTo>
                    <a:pt x="113944" y="114912"/>
                    <a:pt x="113944" y="114912"/>
                    <a:pt x="113479" y="116109"/>
                  </a:cubicBezTo>
                  <a:cubicBezTo>
                    <a:pt x="113479" y="116109"/>
                    <a:pt x="113479" y="116109"/>
                    <a:pt x="112780" y="115810"/>
                  </a:cubicBezTo>
                  <a:cubicBezTo>
                    <a:pt x="112780" y="115810"/>
                    <a:pt x="112780" y="115810"/>
                    <a:pt x="111616" y="114314"/>
                  </a:cubicBezTo>
                  <a:cubicBezTo>
                    <a:pt x="111616" y="114314"/>
                    <a:pt x="111616" y="114314"/>
                    <a:pt x="110451" y="112518"/>
                  </a:cubicBezTo>
                  <a:cubicBezTo>
                    <a:pt x="110451" y="112518"/>
                    <a:pt x="110451" y="112518"/>
                    <a:pt x="109520" y="113117"/>
                  </a:cubicBezTo>
                  <a:cubicBezTo>
                    <a:pt x="109520" y="113117"/>
                    <a:pt x="109520" y="113117"/>
                    <a:pt x="108821" y="113117"/>
                  </a:cubicBezTo>
                  <a:cubicBezTo>
                    <a:pt x="108821" y="113117"/>
                    <a:pt x="108821" y="113117"/>
                    <a:pt x="109287" y="111321"/>
                  </a:cubicBezTo>
                  <a:cubicBezTo>
                    <a:pt x="109287" y="111321"/>
                    <a:pt x="109287" y="111321"/>
                    <a:pt x="110451" y="111022"/>
                  </a:cubicBezTo>
                  <a:cubicBezTo>
                    <a:pt x="110451" y="111022"/>
                    <a:pt x="110451" y="111022"/>
                    <a:pt x="109985" y="109226"/>
                  </a:cubicBezTo>
                  <a:cubicBezTo>
                    <a:pt x="109985" y="109226"/>
                    <a:pt x="109985" y="109226"/>
                    <a:pt x="108588" y="110124"/>
                  </a:cubicBezTo>
                  <a:cubicBezTo>
                    <a:pt x="108588" y="110124"/>
                    <a:pt x="108588" y="110124"/>
                    <a:pt x="109054" y="108329"/>
                  </a:cubicBezTo>
                  <a:cubicBezTo>
                    <a:pt x="109054" y="108329"/>
                    <a:pt x="109054" y="108329"/>
                    <a:pt x="108355" y="107132"/>
                  </a:cubicBezTo>
                  <a:cubicBezTo>
                    <a:pt x="108355" y="107132"/>
                    <a:pt x="108355" y="107132"/>
                    <a:pt x="108122" y="106234"/>
                  </a:cubicBezTo>
                  <a:cubicBezTo>
                    <a:pt x="108122" y="106234"/>
                    <a:pt x="108122" y="106234"/>
                    <a:pt x="108122" y="105336"/>
                  </a:cubicBezTo>
                  <a:cubicBezTo>
                    <a:pt x="108122" y="105336"/>
                    <a:pt x="108122" y="105336"/>
                    <a:pt x="109054" y="103541"/>
                  </a:cubicBezTo>
                  <a:cubicBezTo>
                    <a:pt x="109054" y="103541"/>
                    <a:pt x="109054" y="103541"/>
                    <a:pt x="107889" y="103541"/>
                  </a:cubicBezTo>
                  <a:cubicBezTo>
                    <a:pt x="107889" y="103541"/>
                    <a:pt x="107889" y="103541"/>
                    <a:pt x="107424" y="104139"/>
                  </a:cubicBezTo>
                  <a:cubicBezTo>
                    <a:pt x="107424" y="104139"/>
                    <a:pt x="107424" y="104139"/>
                    <a:pt x="107424" y="104738"/>
                  </a:cubicBezTo>
                  <a:cubicBezTo>
                    <a:pt x="107424" y="104738"/>
                    <a:pt x="107424" y="104738"/>
                    <a:pt x="107424" y="106533"/>
                  </a:cubicBezTo>
                  <a:cubicBezTo>
                    <a:pt x="107424" y="106533"/>
                    <a:pt x="107424" y="106533"/>
                    <a:pt x="106725" y="107132"/>
                  </a:cubicBezTo>
                  <a:cubicBezTo>
                    <a:pt x="106725" y="107132"/>
                    <a:pt x="106725" y="107132"/>
                    <a:pt x="106259" y="107730"/>
                  </a:cubicBezTo>
                  <a:cubicBezTo>
                    <a:pt x="106259" y="107730"/>
                    <a:pt x="106259" y="107132"/>
                    <a:pt x="106259" y="106833"/>
                  </a:cubicBezTo>
                  <a:cubicBezTo>
                    <a:pt x="106259" y="106533"/>
                    <a:pt x="106026" y="105635"/>
                    <a:pt x="106026" y="105635"/>
                  </a:cubicBezTo>
                  <a:cubicBezTo>
                    <a:pt x="106026" y="105635"/>
                    <a:pt x="105794" y="104738"/>
                    <a:pt x="105794" y="104139"/>
                  </a:cubicBezTo>
                  <a:cubicBezTo>
                    <a:pt x="105794" y="103840"/>
                    <a:pt x="105561" y="103241"/>
                    <a:pt x="105561" y="103241"/>
                  </a:cubicBezTo>
                  <a:cubicBezTo>
                    <a:pt x="105561" y="103241"/>
                    <a:pt x="105328" y="102643"/>
                    <a:pt x="105328" y="102344"/>
                  </a:cubicBezTo>
                  <a:cubicBezTo>
                    <a:pt x="105328" y="101745"/>
                    <a:pt x="105328" y="101446"/>
                    <a:pt x="105328" y="101446"/>
                  </a:cubicBezTo>
                  <a:cubicBezTo>
                    <a:pt x="105328" y="101446"/>
                    <a:pt x="105561" y="100847"/>
                    <a:pt x="106026" y="100847"/>
                  </a:cubicBezTo>
                  <a:cubicBezTo>
                    <a:pt x="106259" y="100548"/>
                    <a:pt x="106492" y="99950"/>
                    <a:pt x="106492" y="99950"/>
                  </a:cubicBezTo>
                  <a:cubicBezTo>
                    <a:pt x="106492" y="99950"/>
                    <a:pt x="106492" y="99950"/>
                    <a:pt x="107424" y="98753"/>
                  </a:cubicBezTo>
                  <a:cubicBezTo>
                    <a:pt x="107424" y="98753"/>
                    <a:pt x="107424" y="98753"/>
                    <a:pt x="106492" y="96658"/>
                  </a:cubicBezTo>
                  <a:cubicBezTo>
                    <a:pt x="106492" y="96658"/>
                    <a:pt x="106492" y="96658"/>
                    <a:pt x="106026" y="96957"/>
                  </a:cubicBezTo>
                  <a:cubicBezTo>
                    <a:pt x="106026" y="96957"/>
                    <a:pt x="106026" y="96957"/>
                    <a:pt x="105561" y="98453"/>
                  </a:cubicBezTo>
                  <a:cubicBezTo>
                    <a:pt x="105561" y="98453"/>
                    <a:pt x="105561" y="98453"/>
                    <a:pt x="104629" y="99950"/>
                  </a:cubicBezTo>
                  <a:cubicBezTo>
                    <a:pt x="104629" y="99950"/>
                    <a:pt x="104629" y="99950"/>
                    <a:pt x="103930" y="100548"/>
                  </a:cubicBezTo>
                  <a:cubicBezTo>
                    <a:pt x="103930" y="100548"/>
                    <a:pt x="103930" y="100548"/>
                    <a:pt x="103697" y="101147"/>
                  </a:cubicBezTo>
                  <a:cubicBezTo>
                    <a:pt x="103697" y="101147"/>
                    <a:pt x="103697" y="101147"/>
                    <a:pt x="104163" y="103541"/>
                  </a:cubicBezTo>
                  <a:cubicBezTo>
                    <a:pt x="104163" y="103541"/>
                    <a:pt x="104163" y="103541"/>
                    <a:pt x="105095" y="106833"/>
                  </a:cubicBezTo>
                  <a:cubicBezTo>
                    <a:pt x="105095" y="106833"/>
                    <a:pt x="105095" y="106833"/>
                    <a:pt x="104163" y="106533"/>
                  </a:cubicBezTo>
                  <a:cubicBezTo>
                    <a:pt x="104163" y="106533"/>
                    <a:pt x="104163" y="106533"/>
                    <a:pt x="102766" y="102942"/>
                  </a:cubicBezTo>
                  <a:cubicBezTo>
                    <a:pt x="102766" y="102942"/>
                    <a:pt x="102766" y="102942"/>
                    <a:pt x="101136" y="99950"/>
                  </a:cubicBezTo>
                  <a:cubicBezTo>
                    <a:pt x="101136" y="99950"/>
                    <a:pt x="101136" y="99950"/>
                    <a:pt x="100670" y="101745"/>
                  </a:cubicBezTo>
                  <a:cubicBezTo>
                    <a:pt x="100670" y="101745"/>
                    <a:pt x="100670" y="101745"/>
                    <a:pt x="100204" y="101446"/>
                  </a:cubicBezTo>
                  <a:cubicBezTo>
                    <a:pt x="100204" y="101446"/>
                    <a:pt x="100204" y="101446"/>
                    <a:pt x="99506" y="99351"/>
                  </a:cubicBezTo>
                  <a:cubicBezTo>
                    <a:pt x="99506" y="99351"/>
                    <a:pt x="99506" y="99351"/>
                    <a:pt x="98574" y="98453"/>
                  </a:cubicBezTo>
                  <a:cubicBezTo>
                    <a:pt x="98574" y="98453"/>
                    <a:pt x="98574" y="98453"/>
                    <a:pt x="96245" y="95162"/>
                  </a:cubicBezTo>
                  <a:cubicBezTo>
                    <a:pt x="96245" y="95162"/>
                    <a:pt x="96245" y="95162"/>
                    <a:pt x="96245" y="93067"/>
                  </a:cubicBezTo>
                  <a:cubicBezTo>
                    <a:pt x="96245" y="93067"/>
                    <a:pt x="96245" y="93067"/>
                    <a:pt x="95779" y="94264"/>
                  </a:cubicBezTo>
                  <a:cubicBezTo>
                    <a:pt x="95779" y="94264"/>
                    <a:pt x="95779" y="94264"/>
                    <a:pt x="94615" y="93665"/>
                  </a:cubicBezTo>
                  <a:cubicBezTo>
                    <a:pt x="94615" y="93665"/>
                    <a:pt x="94615" y="93665"/>
                    <a:pt x="92053" y="90673"/>
                  </a:cubicBezTo>
                  <a:cubicBezTo>
                    <a:pt x="92053" y="90673"/>
                    <a:pt x="92053" y="90673"/>
                    <a:pt x="90423" y="88279"/>
                  </a:cubicBezTo>
                  <a:cubicBezTo>
                    <a:pt x="90423" y="88279"/>
                    <a:pt x="90423" y="88279"/>
                    <a:pt x="89492" y="88578"/>
                  </a:cubicBezTo>
                  <a:cubicBezTo>
                    <a:pt x="89492" y="88578"/>
                    <a:pt x="89492" y="88578"/>
                    <a:pt x="87395" y="87980"/>
                  </a:cubicBezTo>
                  <a:cubicBezTo>
                    <a:pt x="87395" y="87980"/>
                    <a:pt x="87395" y="87980"/>
                    <a:pt x="85998" y="86184"/>
                  </a:cubicBezTo>
                  <a:cubicBezTo>
                    <a:pt x="85998" y="86184"/>
                    <a:pt x="85998" y="86184"/>
                    <a:pt x="85998" y="84089"/>
                  </a:cubicBezTo>
                  <a:cubicBezTo>
                    <a:pt x="85998" y="84089"/>
                    <a:pt x="85998" y="84089"/>
                    <a:pt x="85299" y="84688"/>
                  </a:cubicBezTo>
                  <a:cubicBezTo>
                    <a:pt x="85299" y="84688"/>
                    <a:pt x="85299" y="84688"/>
                    <a:pt x="82505" y="84688"/>
                  </a:cubicBezTo>
                  <a:cubicBezTo>
                    <a:pt x="82505" y="84688"/>
                    <a:pt x="82505" y="84688"/>
                    <a:pt x="81108" y="84389"/>
                  </a:cubicBezTo>
                  <a:cubicBezTo>
                    <a:pt x="81108" y="84389"/>
                    <a:pt x="81108" y="84389"/>
                    <a:pt x="79477" y="83790"/>
                  </a:cubicBezTo>
                  <a:cubicBezTo>
                    <a:pt x="79477" y="83790"/>
                    <a:pt x="79477" y="83790"/>
                    <a:pt x="76450" y="83491"/>
                  </a:cubicBezTo>
                  <a:cubicBezTo>
                    <a:pt x="76450" y="83491"/>
                    <a:pt x="76450" y="83491"/>
                    <a:pt x="73422" y="84389"/>
                  </a:cubicBezTo>
                  <a:cubicBezTo>
                    <a:pt x="73422" y="84389"/>
                    <a:pt x="73422" y="84389"/>
                    <a:pt x="71326" y="84987"/>
                  </a:cubicBezTo>
                  <a:cubicBezTo>
                    <a:pt x="71326" y="84987"/>
                    <a:pt x="71326" y="84987"/>
                    <a:pt x="71792" y="82593"/>
                  </a:cubicBezTo>
                  <a:cubicBezTo>
                    <a:pt x="71792" y="82593"/>
                    <a:pt x="71792" y="82593"/>
                    <a:pt x="71093" y="83191"/>
                  </a:cubicBezTo>
                  <a:cubicBezTo>
                    <a:pt x="71093" y="83191"/>
                    <a:pt x="71093" y="83191"/>
                    <a:pt x="69929" y="82294"/>
                  </a:cubicBezTo>
                  <a:cubicBezTo>
                    <a:pt x="69929" y="82294"/>
                    <a:pt x="69929" y="82294"/>
                    <a:pt x="68997" y="81695"/>
                  </a:cubicBezTo>
                  <a:cubicBezTo>
                    <a:pt x="68997" y="81695"/>
                    <a:pt x="68997" y="81695"/>
                    <a:pt x="68066" y="81695"/>
                  </a:cubicBezTo>
                  <a:cubicBezTo>
                    <a:pt x="68066" y="81695"/>
                    <a:pt x="68066" y="81695"/>
                    <a:pt x="67367" y="81695"/>
                  </a:cubicBezTo>
                  <a:cubicBezTo>
                    <a:pt x="67367" y="81695"/>
                    <a:pt x="67367" y="81695"/>
                    <a:pt x="66203" y="82593"/>
                  </a:cubicBezTo>
                  <a:cubicBezTo>
                    <a:pt x="66203" y="82593"/>
                    <a:pt x="66203" y="82593"/>
                    <a:pt x="65271" y="83191"/>
                  </a:cubicBezTo>
                  <a:cubicBezTo>
                    <a:pt x="65271" y="83191"/>
                    <a:pt x="65271" y="83191"/>
                    <a:pt x="64340" y="84688"/>
                  </a:cubicBezTo>
                  <a:cubicBezTo>
                    <a:pt x="64340" y="84688"/>
                    <a:pt x="64340" y="84688"/>
                    <a:pt x="63874" y="85286"/>
                  </a:cubicBezTo>
                  <a:cubicBezTo>
                    <a:pt x="63874" y="85286"/>
                    <a:pt x="63874" y="85286"/>
                    <a:pt x="62710" y="84987"/>
                  </a:cubicBezTo>
                  <a:cubicBezTo>
                    <a:pt x="62710" y="84987"/>
                    <a:pt x="62710" y="84987"/>
                    <a:pt x="63874" y="83790"/>
                  </a:cubicBezTo>
                  <a:cubicBezTo>
                    <a:pt x="63874" y="83790"/>
                    <a:pt x="63874" y="83790"/>
                    <a:pt x="65271" y="81995"/>
                  </a:cubicBezTo>
                  <a:cubicBezTo>
                    <a:pt x="65271" y="81995"/>
                    <a:pt x="65271" y="81995"/>
                    <a:pt x="66203" y="80798"/>
                  </a:cubicBezTo>
                  <a:cubicBezTo>
                    <a:pt x="66203" y="80798"/>
                    <a:pt x="66203" y="80798"/>
                    <a:pt x="66902" y="79600"/>
                  </a:cubicBezTo>
                  <a:cubicBezTo>
                    <a:pt x="66902" y="79600"/>
                    <a:pt x="66902" y="79600"/>
                    <a:pt x="66436" y="79600"/>
                  </a:cubicBezTo>
                  <a:cubicBezTo>
                    <a:pt x="66436" y="79600"/>
                    <a:pt x="66436" y="79600"/>
                    <a:pt x="65504" y="79002"/>
                  </a:cubicBezTo>
                  <a:cubicBezTo>
                    <a:pt x="65504" y="79002"/>
                    <a:pt x="65504" y="79002"/>
                    <a:pt x="65504" y="76907"/>
                  </a:cubicBezTo>
                  <a:cubicBezTo>
                    <a:pt x="65504" y="76907"/>
                    <a:pt x="65504" y="76907"/>
                    <a:pt x="64573" y="77805"/>
                  </a:cubicBezTo>
                  <a:cubicBezTo>
                    <a:pt x="64573" y="77805"/>
                    <a:pt x="64573" y="77805"/>
                    <a:pt x="64340" y="78104"/>
                  </a:cubicBezTo>
                  <a:cubicBezTo>
                    <a:pt x="64340" y="78104"/>
                    <a:pt x="64340" y="78104"/>
                    <a:pt x="62710" y="78104"/>
                  </a:cubicBezTo>
                  <a:cubicBezTo>
                    <a:pt x="62710" y="78104"/>
                    <a:pt x="62710" y="78104"/>
                    <a:pt x="61312" y="77805"/>
                  </a:cubicBezTo>
                  <a:cubicBezTo>
                    <a:pt x="61312" y="77805"/>
                    <a:pt x="61312" y="77805"/>
                    <a:pt x="60614" y="78703"/>
                  </a:cubicBezTo>
                  <a:cubicBezTo>
                    <a:pt x="60614" y="78703"/>
                    <a:pt x="60614" y="78703"/>
                    <a:pt x="60148" y="80498"/>
                  </a:cubicBezTo>
                  <a:cubicBezTo>
                    <a:pt x="60148" y="80498"/>
                    <a:pt x="60148" y="80498"/>
                    <a:pt x="61079" y="81995"/>
                  </a:cubicBezTo>
                  <a:cubicBezTo>
                    <a:pt x="61079" y="81995"/>
                    <a:pt x="61079" y="81995"/>
                    <a:pt x="60614" y="84389"/>
                  </a:cubicBezTo>
                  <a:cubicBezTo>
                    <a:pt x="60614" y="84389"/>
                    <a:pt x="60614" y="84389"/>
                    <a:pt x="59449" y="85885"/>
                  </a:cubicBezTo>
                  <a:cubicBezTo>
                    <a:pt x="59449" y="85885"/>
                    <a:pt x="59449" y="85885"/>
                    <a:pt x="58285" y="85885"/>
                  </a:cubicBezTo>
                  <a:cubicBezTo>
                    <a:pt x="58285" y="85885"/>
                    <a:pt x="58285" y="85885"/>
                    <a:pt x="56888" y="85885"/>
                  </a:cubicBezTo>
                  <a:cubicBezTo>
                    <a:pt x="56888" y="85885"/>
                    <a:pt x="56888" y="85885"/>
                    <a:pt x="56422" y="87980"/>
                  </a:cubicBezTo>
                  <a:cubicBezTo>
                    <a:pt x="56422" y="87980"/>
                    <a:pt x="56422" y="87980"/>
                    <a:pt x="54559" y="88877"/>
                  </a:cubicBezTo>
                  <a:cubicBezTo>
                    <a:pt x="54559" y="88877"/>
                    <a:pt x="54559" y="88877"/>
                    <a:pt x="54326" y="89476"/>
                  </a:cubicBezTo>
                  <a:cubicBezTo>
                    <a:pt x="54326" y="89476"/>
                    <a:pt x="54326" y="89476"/>
                    <a:pt x="52695" y="90972"/>
                  </a:cubicBezTo>
                  <a:cubicBezTo>
                    <a:pt x="52695" y="90972"/>
                    <a:pt x="52695" y="90972"/>
                    <a:pt x="51065" y="91571"/>
                  </a:cubicBezTo>
                  <a:cubicBezTo>
                    <a:pt x="51065" y="91571"/>
                    <a:pt x="51065" y="91571"/>
                    <a:pt x="50134" y="91870"/>
                  </a:cubicBezTo>
                  <a:cubicBezTo>
                    <a:pt x="50134" y="91870"/>
                    <a:pt x="50134" y="91870"/>
                    <a:pt x="49668" y="90972"/>
                  </a:cubicBezTo>
                  <a:cubicBezTo>
                    <a:pt x="49668" y="90972"/>
                    <a:pt x="49668" y="90972"/>
                    <a:pt x="49435" y="90374"/>
                  </a:cubicBezTo>
                  <a:cubicBezTo>
                    <a:pt x="49435" y="90374"/>
                    <a:pt x="49435" y="90374"/>
                    <a:pt x="50600" y="89775"/>
                  </a:cubicBezTo>
                  <a:cubicBezTo>
                    <a:pt x="50600" y="89775"/>
                    <a:pt x="50600" y="89775"/>
                    <a:pt x="51531" y="88279"/>
                  </a:cubicBezTo>
                  <a:cubicBezTo>
                    <a:pt x="51531" y="88279"/>
                    <a:pt x="51531" y="88279"/>
                    <a:pt x="50367" y="88279"/>
                  </a:cubicBezTo>
                  <a:cubicBezTo>
                    <a:pt x="50367" y="88279"/>
                    <a:pt x="50367" y="88279"/>
                    <a:pt x="49901" y="87381"/>
                  </a:cubicBezTo>
                  <a:cubicBezTo>
                    <a:pt x="49901" y="87381"/>
                    <a:pt x="49901" y="87381"/>
                    <a:pt x="51065" y="85286"/>
                  </a:cubicBezTo>
                  <a:cubicBezTo>
                    <a:pt x="51065" y="85286"/>
                    <a:pt x="51065" y="85286"/>
                    <a:pt x="51531" y="83191"/>
                  </a:cubicBezTo>
                  <a:cubicBezTo>
                    <a:pt x="51531" y="83191"/>
                    <a:pt x="51531" y="83191"/>
                    <a:pt x="52230" y="80199"/>
                  </a:cubicBezTo>
                  <a:cubicBezTo>
                    <a:pt x="52230" y="80199"/>
                    <a:pt x="52230" y="80199"/>
                    <a:pt x="53394" y="78404"/>
                  </a:cubicBezTo>
                  <a:cubicBezTo>
                    <a:pt x="53394" y="78404"/>
                    <a:pt x="53394" y="78404"/>
                    <a:pt x="57586" y="79002"/>
                  </a:cubicBezTo>
                  <a:cubicBezTo>
                    <a:pt x="57586" y="79002"/>
                    <a:pt x="57586" y="79002"/>
                    <a:pt x="56888" y="77805"/>
                  </a:cubicBezTo>
                  <a:cubicBezTo>
                    <a:pt x="56888" y="77805"/>
                    <a:pt x="56888" y="77805"/>
                    <a:pt x="55723" y="77506"/>
                  </a:cubicBezTo>
                  <a:cubicBezTo>
                    <a:pt x="55723" y="77506"/>
                    <a:pt x="55723" y="77506"/>
                    <a:pt x="53627" y="76309"/>
                  </a:cubicBezTo>
                  <a:cubicBezTo>
                    <a:pt x="53627" y="76309"/>
                    <a:pt x="53627" y="76309"/>
                    <a:pt x="51997" y="77207"/>
                  </a:cubicBezTo>
                  <a:cubicBezTo>
                    <a:pt x="51997" y="77207"/>
                    <a:pt x="51997" y="77207"/>
                    <a:pt x="50600" y="78703"/>
                  </a:cubicBezTo>
                  <a:cubicBezTo>
                    <a:pt x="50600" y="78703"/>
                    <a:pt x="50600" y="78703"/>
                    <a:pt x="49202" y="80199"/>
                  </a:cubicBezTo>
                  <a:cubicBezTo>
                    <a:pt x="49202" y="80199"/>
                    <a:pt x="49202" y="80199"/>
                    <a:pt x="48504" y="81995"/>
                  </a:cubicBezTo>
                  <a:cubicBezTo>
                    <a:pt x="48504" y="81995"/>
                    <a:pt x="48504" y="81995"/>
                    <a:pt x="48271" y="83491"/>
                  </a:cubicBezTo>
                  <a:cubicBezTo>
                    <a:pt x="48271" y="83491"/>
                    <a:pt x="48271" y="83491"/>
                    <a:pt x="47339" y="83491"/>
                  </a:cubicBezTo>
                  <a:cubicBezTo>
                    <a:pt x="47339" y="83491"/>
                    <a:pt x="47339" y="83491"/>
                    <a:pt x="47339" y="84089"/>
                  </a:cubicBezTo>
                  <a:cubicBezTo>
                    <a:pt x="47339" y="84089"/>
                    <a:pt x="47339" y="84089"/>
                    <a:pt x="47805" y="85286"/>
                  </a:cubicBezTo>
                  <a:cubicBezTo>
                    <a:pt x="47805" y="85286"/>
                    <a:pt x="47805" y="85286"/>
                    <a:pt x="47572" y="86184"/>
                  </a:cubicBezTo>
                  <a:cubicBezTo>
                    <a:pt x="47572" y="86184"/>
                    <a:pt x="47572" y="86184"/>
                    <a:pt x="46873" y="87082"/>
                  </a:cubicBezTo>
                  <a:cubicBezTo>
                    <a:pt x="46873" y="87082"/>
                    <a:pt x="46873" y="87082"/>
                    <a:pt x="45243" y="88279"/>
                  </a:cubicBezTo>
                  <a:cubicBezTo>
                    <a:pt x="45243" y="88279"/>
                    <a:pt x="45243" y="88279"/>
                    <a:pt x="44312" y="89177"/>
                  </a:cubicBezTo>
                  <a:cubicBezTo>
                    <a:pt x="44312" y="89177"/>
                    <a:pt x="44312" y="89177"/>
                    <a:pt x="43147" y="90673"/>
                  </a:cubicBezTo>
                  <a:cubicBezTo>
                    <a:pt x="43147" y="90673"/>
                    <a:pt x="43147" y="90673"/>
                    <a:pt x="42914" y="92169"/>
                  </a:cubicBezTo>
                  <a:cubicBezTo>
                    <a:pt x="42914" y="92169"/>
                    <a:pt x="42914" y="92169"/>
                    <a:pt x="44545" y="92768"/>
                  </a:cubicBezTo>
                  <a:cubicBezTo>
                    <a:pt x="44545" y="92768"/>
                    <a:pt x="44545" y="92768"/>
                    <a:pt x="44777" y="94862"/>
                  </a:cubicBezTo>
                  <a:cubicBezTo>
                    <a:pt x="44777" y="94862"/>
                    <a:pt x="44777" y="94862"/>
                    <a:pt x="44079" y="96059"/>
                  </a:cubicBezTo>
                  <a:cubicBezTo>
                    <a:pt x="44079" y="96059"/>
                    <a:pt x="44079" y="96059"/>
                    <a:pt x="42914" y="96957"/>
                  </a:cubicBezTo>
                  <a:cubicBezTo>
                    <a:pt x="42914" y="96957"/>
                    <a:pt x="42914" y="96957"/>
                    <a:pt x="41517" y="99351"/>
                  </a:cubicBezTo>
                  <a:cubicBezTo>
                    <a:pt x="41517" y="99351"/>
                    <a:pt x="41517" y="99351"/>
                    <a:pt x="39421" y="101147"/>
                  </a:cubicBezTo>
                  <a:cubicBezTo>
                    <a:pt x="39421" y="101147"/>
                    <a:pt x="39421" y="101147"/>
                    <a:pt x="35229" y="103840"/>
                  </a:cubicBezTo>
                  <a:cubicBezTo>
                    <a:pt x="35229" y="103840"/>
                    <a:pt x="35229" y="103840"/>
                    <a:pt x="34996" y="106234"/>
                  </a:cubicBezTo>
                  <a:cubicBezTo>
                    <a:pt x="34996" y="106234"/>
                    <a:pt x="34996" y="106234"/>
                    <a:pt x="33366" y="107132"/>
                  </a:cubicBezTo>
                  <a:cubicBezTo>
                    <a:pt x="33366" y="107132"/>
                    <a:pt x="33366" y="107132"/>
                    <a:pt x="31736" y="108329"/>
                  </a:cubicBezTo>
                  <a:cubicBezTo>
                    <a:pt x="31736" y="108329"/>
                    <a:pt x="31736" y="108329"/>
                    <a:pt x="29640" y="109226"/>
                  </a:cubicBezTo>
                  <a:cubicBezTo>
                    <a:pt x="29640" y="109226"/>
                    <a:pt x="29640" y="109226"/>
                    <a:pt x="28941" y="109825"/>
                  </a:cubicBezTo>
                  <a:cubicBezTo>
                    <a:pt x="28941" y="109825"/>
                    <a:pt x="28941" y="109825"/>
                    <a:pt x="28010" y="110723"/>
                  </a:cubicBezTo>
                  <a:cubicBezTo>
                    <a:pt x="28010" y="110723"/>
                    <a:pt x="28010" y="110723"/>
                    <a:pt x="27311" y="111620"/>
                  </a:cubicBezTo>
                  <a:cubicBezTo>
                    <a:pt x="27311" y="111620"/>
                    <a:pt x="27311" y="111620"/>
                    <a:pt x="26845" y="113416"/>
                  </a:cubicBezTo>
                  <a:cubicBezTo>
                    <a:pt x="26845" y="113416"/>
                    <a:pt x="26845" y="113416"/>
                    <a:pt x="25681" y="113715"/>
                  </a:cubicBezTo>
                  <a:cubicBezTo>
                    <a:pt x="25681" y="113715"/>
                    <a:pt x="25681" y="113715"/>
                    <a:pt x="24050" y="114314"/>
                  </a:cubicBezTo>
                  <a:cubicBezTo>
                    <a:pt x="24050" y="114314"/>
                    <a:pt x="24050" y="114314"/>
                    <a:pt x="22886" y="114314"/>
                  </a:cubicBezTo>
                  <a:cubicBezTo>
                    <a:pt x="22886" y="114314"/>
                    <a:pt x="22886" y="114314"/>
                    <a:pt x="21722" y="114912"/>
                  </a:cubicBezTo>
                  <a:cubicBezTo>
                    <a:pt x="21722" y="114912"/>
                    <a:pt x="21722" y="114912"/>
                    <a:pt x="20091" y="116109"/>
                  </a:cubicBezTo>
                  <a:cubicBezTo>
                    <a:pt x="20091" y="116109"/>
                    <a:pt x="20091" y="116109"/>
                    <a:pt x="20557" y="117606"/>
                  </a:cubicBezTo>
                  <a:cubicBezTo>
                    <a:pt x="20557" y="117606"/>
                    <a:pt x="20557" y="117606"/>
                    <a:pt x="20091" y="117905"/>
                  </a:cubicBezTo>
                  <a:cubicBezTo>
                    <a:pt x="20091" y="117905"/>
                    <a:pt x="20091" y="117905"/>
                    <a:pt x="18927" y="117007"/>
                  </a:cubicBezTo>
                  <a:cubicBezTo>
                    <a:pt x="18927" y="117007"/>
                    <a:pt x="18927" y="117007"/>
                    <a:pt x="17763" y="116408"/>
                  </a:cubicBezTo>
                  <a:cubicBezTo>
                    <a:pt x="17763" y="116408"/>
                    <a:pt x="17763" y="116408"/>
                    <a:pt x="16831" y="114613"/>
                  </a:cubicBezTo>
                  <a:cubicBezTo>
                    <a:pt x="16831" y="114613"/>
                    <a:pt x="16831" y="114613"/>
                    <a:pt x="16598" y="115211"/>
                  </a:cubicBezTo>
                  <a:cubicBezTo>
                    <a:pt x="16598" y="115211"/>
                    <a:pt x="16598" y="115211"/>
                    <a:pt x="16598" y="117606"/>
                  </a:cubicBezTo>
                  <a:cubicBezTo>
                    <a:pt x="16598" y="117606"/>
                    <a:pt x="16598" y="117606"/>
                    <a:pt x="15201" y="117606"/>
                  </a:cubicBezTo>
                  <a:cubicBezTo>
                    <a:pt x="15201" y="117606"/>
                    <a:pt x="15201" y="117606"/>
                    <a:pt x="15201" y="118503"/>
                  </a:cubicBezTo>
                  <a:cubicBezTo>
                    <a:pt x="15201" y="118503"/>
                    <a:pt x="15201" y="118503"/>
                    <a:pt x="13804" y="118503"/>
                  </a:cubicBezTo>
                  <a:cubicBezTo>
                    <a:pt x="13804" y="118503"/>
                    <a:pt x="13804" y="118503"/>
                    <a:pt x="13804" y="118204"/>
                  </a:cubicBezTo>
                  <a:cubicBezTo>
                    <a:pt x="13804" y="117905"/>
                    <a:pt x="13105" y="117905"/>
                    <a:pt x="13105" y="117905"/>
                  </a:cubicBezTo>
                  <a:cubicBezTo>
                    <a:pt x="13105" y="117905"/>
                    <a:pt x="13105" y="117905"/>
                    <a:pt x="12173" y="117905"/>
                  </a:cubicBezTo>
                  <a:cubicBezTo>
                    <a:pt x="12173" y="117905"/>
                    <a:pt x="12173" y="117905"/>
                    <a:pt x="11009" y="118204"/>
                  </a:cubicBezTo>
                  <a:cubicBezTo>
                    <a:pt x="11009" y="118204"/>
                    <a:pt x="11009" y="118204"/>
                    <a:pt x="9612" y="120000"/>
                  </a:cubicBezTo>
                  <a:cubicBezTo>
                    <a:pt x="9612" y="120000"/>
                    <a:pt x="9612" y="120000"/>
                    <a:pt x="7050" y="120000"/>
                  </a:cubicBezTo>
                  <a:cubicBezTo>
                    <a:pt x="7050" y="120000"/>
                    <a:pt x="7050" y="120000"/>
                    <a:pt x="4721" y="120000"/>
                  </a:cubicBezTo>
                  <a:cubicBezTo>
                    <a:pt x="4721" y="120000"/>
                    <a:pt x="4721" y="120000"/>
                    <a:pt x="4721" y="118802"/>
                  </a:cubicBezTo>
                  <a:cubicBezTo>
                    <a:pt x="4721" y="118802"/>
                    <a:pt x="4721" y="118802"/>
                    <a:pt x="6351" y="116408"/>
                  </a:cubicBezTo>
                  <a:cubicBezTo>
                    <a:pt x="6351" y="116408"/>
                    <a:pt x="6351" y="116408"/>
                    <a:pt x="9146" y="116408"/>
                  </a:cubicBezTo>
                  <a:cubicBezTo>
                    <a:pt x="9146" y="116408"/>
                    <a:pt x="9146" y="116408"/>
                    <a:pt x="10310" y="116408"/>
                  </a:cubicBezTo>
                  <a:cubicBezTo>
                    <a:pt x="10310" y="116408"/>
                    <a:pt x="10310" y="116408"/>
                    <a:pt x="11475" y="115511"/>
                  </a:cubicBezTo>
                  <a:cubicBezTo>
                    <a:pt x="11475" y="115511"/>
                    <a:pt x="11475" y="115511"/>
                    <a:pt x="13105" y="114912"/>
                  </a:cubicBezTo>
                  <a:cubicBezTo>
                    <a:pt x="13105" y="114912"/>
                    <a:pt x="13105" y="114912"/>
                    <a:pt x="13804" y="114314"/>
                  </a:cubicBezTo>
                  <a:cubicBezTo>
                    <a:pt x="13804" y="114314"/>
                    <a:pt x="13804" y="114314"/>
                    <a:pt x="14502" y="112817"/>
                  </a:cubicBezTo>
                  <a:cubicBezTo>
                    <a:pt x="14502" y="112817"/>
                    <a:pt x="14502" y="112817"/>
                    <a:pt x="15900" y="111920"/>
                  </a:cubicBezTo>
                  <a:cubicBezTo>
                    <a:pt x="15900" y="111920"/>
                    <a:pt x="15900" y="111920"/>
                    <a:pt x="17995" y="111620"/>
                  </a:cubicBezTo>
                  <a:cubicBezTo>
                    <a:pt x="17995" y="111620"/>
                    <a:pt x="17995" y="111620"/>
                    <a:pt x="19160" y="111620"/>
                  </a:cubicBezTo>
                  <a:cubicBezTo>
                    <a:pt x="19160" y="111620"/>
                    <a:pt x="19160" y="111620"/>
                    <a:pt x="20091" y="112817"/>
                  </a:cubicBezTo>
                  <a:cubicBezTo>
                    <a:pt x="20091" y="112817"/>
                    <a:pt x="20091" y="112817"/>
                    <a:pt x="21023" y="111920"/>
                  </a:cubicBezTo>
                  <a:cubicBezTo>
                    <a:pt x="21023" y="111920"/>
                    <a:pt x="21023" y="111920"/>
                    <a:pt x="21955" y="110124"/>
                  </a:cubicBezTo>
                  <a:cubicBezTo>
                    <a:pt x="21955" y="110124"/>
                    <a:pt x="21955" y="110124"/>
                    <a:pt x="23119" y="108628"/>
                  </a:cubicBezTo>
                  <a:cubicBezTo>
                    <a:pt x="23119" y="108628"/>
                    <a:pt x="23119" y="108628"/>
                    <a:pt x="24283" y="107730"/>
                  </a:cubicBezTo>
                  <a:cubicBezTo>
                    <a:pt x="24283" y="107730"/>
                    <a:pt x="24283" y="107730"/>
                    <a:pt x="26612" y="107132"/>
                  </a:cubicBezTo>
                  <a:cubicBezTo>
                    <a:pt x="26612" y="107132"/>
                    <a:pt x="26612" y="107132"/>
                    <a:pt x="27544" y="105935"/>
                  </a:cubicBezTo>
                  <a:cubicBezTo>
                    <a:pt x="27544" y="105935"/>
                    <a:pt x="27544" y="105935"/>
                    <a:pt x="28708" y="104438"/>
                  </a:cubicBezTo>
                  <a:cubicBezTo>
                    <a:pt x="28708" y="104438"/>
                    <a:pt x="28708" y="104438"/>
                    <a:pt x="30106" y="102942"/>
                  </a:cubicBezTo>
                  <a:cubicBezTo>
                    <a:pt x="30106" y="102942"/>
                    <a:pt x="30106" y="102942"/>
                    <a:pt x="31270" y="102044"/>
                  </a:cubicBezTo>
                  <a:cubicBezTo>
                    <a:pt x="31270" y="102044"/>
                    <a:pt x="31270" y="102044"/>
                    <a:pt x="31736" y="100249"/>
                  </a:cubicBezTo>
                  <a:cubicBezTo>
                    <a:pt x="31736" y="100249"/>
                    <a:pt x="31736" y="100249"/>
                    <a:pt x="31969" y="97556"/>
                  </a:cubicBezTo>
                  <a:cubicBezTo>
                    <a:pt x="31969" y="97556"/>
                    <a:pt x="31969" y="97556"/>
                    <a:pt x="32434" y="95760"/>
                  </a:cubicBezTo>
                  <a:cubicBezTo>
                    <a:pt x="32434" y="95760"/>
                    <a:pt x="32434" y="95760"/>
                    <a:pt x="32667" y="95162"/>
                  </a:cubicBezTo>
                  <a:cubicBezTo>
                    <a:pt x="32667" y="95162"/>
                    <a:pt x="32667" y="95162"/>
                    <a:pt x="33832" y="93067"/>
                  </a:cubicBezTo>
                  <a:cubicBezTo>
                    <a:pt x="33832" y="93067"/>
                    <a:pt x="33832" y="93067"/>
                    <a:pt x="33133" y="93067"/>
                  </a:cubicBezTo>
                  <a:cubicBezTo>
                    <a:pt x="33133" y="93067"/>
                    <a:pt x="33133" y="93067"/>
                    <a:pt x="31969" y="93366"/>
                  </a:cubicBezTo>
                  <a:cubicBezTo>
                    <a:pt x="31969" y="93366"/>
                    <a:pt x="31969" y="93366"/>
                    <a:pt x="31270" y="93366"/>
                  </a:cubicBezTo>
                  <a:cubicBezTo>
                    <a:pt x="31270" y="93366"/>
                    <a:pt x="31270" y="93366"/>
                    <a:pt x="30106" y="93067"/>
                  </a:cubicBezTo>
                  <a:cubicBezTo>
                    <a:pt x="30106" y="93067"/>
                    <a:pt x="30106" y="93067"/>
                    <a:pt x="29640" y="92468"/>
                  </a:cubicBezTo>
                  <a:cubicBezTo>
                    <a:pt x="29640" y="92468"/>
                    <a:pt x="29640" y="92468"/>
                    <a:pt x="30804" y="90972"/>
                  </a:cubicBezTo>
                  <a:cubicBezTo>
                    <a:pt x="30804" y="90972"/>
                    <a:pt x="30804" y="90972"/>
                    <a:pt x="29640" y="91271"/>
                  </a:cubicBezTo>
                  <a:cubicBezTo>
                    <a:pt x="29640" y="91271"/>
                    <a:pt x="29640" y="91271"/>
                    <a:pt x="28941" y="92169"/>
                  </a:cubicBezTo>
                  <a:cubicBezTo>
                    <a:pt x="28941" y="92169"/>
                    <a:pt x="28941" y="92169"/>
                    <a:pt x="28475" y="94264"/>
                  </a:cubicBezTo>
                  <a:cubicBezTo>
                    <a:pt x="28475" y="94264"/>
                    <a:pt x="28475" y="94264"/>
                    <a:pt x="27777" y="95162"/>
                  </a:cubicBezTo>
                  <a:cubicBezTo>
                    <a:pt x="27777" y="95162"/>
                    <a:pt x="27777" y="95162"/>
                    <a:pt x="27544" y="94264"/>
                  </a:cubicBezTo>
                  <a:cubicBezTo>
                    <a:pt x="27544" y="94264"/>
                    <a:pt x="27544" y="94264"/>
                    <a:pt x="26845" y="93067"/>
                  </a:cubicBezTo>
                  <a:cubicBezTo>
                    <a:pt x="26845" y="93067"/>
                    <a:pt x="26845" y="93067"/>
                    <a:pt x="25681" y="91571"/>
                  </a:cubicBezTo>
                  <a:cubicBezTo>
                    <a:pt x="25681" y="91571"/>
                    <a:pt x="25681" y="91571"/>
                    <a:pt x="23818" y="90074"/>
                  </a:cubicBezTo>
                  <a:cubicBezTo>
                    <a:pt x="23818" y="90074"/>
                    <a:pt x="23818" y="90074"/>
                    <a:pt x="23352" y="90074"/>
                  </a:cubicBezTo>
                  <a:cubicBezTo>
                    <a:pt x="23352" y="90074"/>
                    <a:pt x="23352" y="90074"/>
                    <a:pt x="21722" y="91571"/>
                  </a:cubicBezTo>
                  <a:cubicBezTo>
                    <a:pt x="21722" y="91571"/>
                    <a:pt x="21722" y="91571"/>
                    <a:pt x="20790" y="91571"/>
                  </a:cubicBezTo>
                  <a:cubicBezTo>
                    <a:pt x="20790" y="91571"/>
                    <a:pt x="20790" y="91571"/>
                    <a:pt x="19393" y="91571"/>
                  </a:cubicBezTo>
                  <a:cubicBezTo>
                    <a:pt x="19393" y="91571"/>
                    <a:pt x="19393" y="91571"/>
                    <a:pt x="19626" y="87680"/>
                  </a:cubicBezTo>
                  <a:cubicBezTo>
                    <a:pt x="19626" y="87680"/>
                    <a:pt x="19626" y="87680"/>
                    <a:pt x="19859" y="86483"/>
                  </a:cubicBezTo>
                  <a:cubicBezTo>
                    <a:pt x="19859" y="86483"/>
                    <a:pt x="19859" y="86483"/>
                    <a:pt x="20557" y="85286"/>
                  </a:cubicBezTo>
                  <a:cubicBezTo>
                    <a:pt x="20557" y="85286"/>
                    <a:pt x="20557" y="85286"/>
                    <a:pt x="20557" y="83790"/>
                  </a:cubicBezTo>
                  <a:cubicBezTo>
                    <a:pt x="20557" y="83790"/>
                    <a:pt x="20557" y="83790"/>
                    <a:pt x="20324" y="81396"/>
                  </a:cubicBezTo>
                  <a:cubicBezTo>
                    <a:pt x="20324" y="81396"/>
                    <a:pt x="20324" y="81396"/>
                    <a:pt x="19859" y="79002"/>
                  </a:cubicBezTo>
                  <a:cubicBezTo>
                    <a:pt x="19859" y="79002"/>
                    <a:pt x="19859" y="79002"/>
                    <a:pt x="19393" y="79600"/>
                  </a:cubicBezTo>
                  <a:cubicBezTo>
                    <a:pt x="19393" y="79600"/>
                    <a:pt x="19393" y="79600"/>
                    <a:pt x="18461" y="80798"/>
                  </a:cubicBezTo>
                  <a:cubicBezTo>
                    <a:pt x="18461" y="80798"/>
                    <a:pt x="18461" y="80798"/>
                    <a:pt x="17763" y="81396"/>
                  </a:cubicBezTo>
                  <a:cubicBezTo>
                    <a:pt x="17763" y="81396"/>
                    <a:pt x="17763" y="81396"/>
                    <a:pt x="17064" y="81396"/>
                  </a:cubicBezTo>
                  <a:cubicBezTo>
                    <a:pt x="17064" y="81396"/>
                    <a:pt x="17064" y="81396"/>
                    <a:pt x="16365" y="80498"/>
                  </a:cubicBezTo>
                  <a:cubicBezTo>
                    <a:pt x="16365" y="80498"/>
                    <a:pt x="16365" y="80498"/>
                    <a:pt x="15900" y="80498"/>
                  </a:cubicBezTo>
                  <a:cubicBezTo>
                    <a:pt x="15900" y="80498"/>
                    <a:pt x="15900" y="80498"/>
                    <a:pt x="14968" y="79900"/>
                  </a:cubicBezTo>
                  <a:cubicBezTo>
                    <a:pt x="14968" y="79900"/>
                    <a:pt x="14968" y="79900"/>
                    <a:pt x="14269" y="79002"/>
                  </a:cubicBezTo>
                  <a:cubicBezTo>
                    <a:pt x="14269" y="79002"/>
                    <a:pt x="14269" y="79002"/>
                    <a:pt x="13571" y="78404"/>
                  </a:cubicBezTo>
                  <a:cubicBezTo>
                    <a:pt x="13571" y="78404"/>
                    <a:pt x="13571" y="78404"/>
                    <a:pt x="12872" y="77506"/>
                  </a:cubicBezTo>
                  <a:cubicBezTo>
                    <a:pt x="12872" y="77506"/>
                    <a:pt x="12872" y="77506"/>
                    <a:pt x="12639" y="76608"/>
                  </a:cubicBezTo>
                  <a:cubicBezTo>
                    <a:pt x="12639" y="76608"/>
                    <a:pt x="12639" y="76608"/>
                    <a:pt x="12406" y="74513"/>
                  </a:cubicBezTo>
                  <a:cubicBezTo>
                    <a:pt x="12406" y="74513"/>
                    <a:pt x="12406" y="74513"/>
                    <a:pt x="13338" y="73616"/>
                  </a:cubicBezTo>
                  <a:cubicBezTo>
                    <a:pt x="13338" y="73616"/>
                    <a:pt x="13338" y="73616"/>
                    <a:pt x="14269" y="73616"/>
                  </a:cubicBezTo>
                  <a:cubicBezTo>
                    <a:pt x="14269" y="73616"/>
                    <a:pt x="14269" y="73616"/>
                    <a:pt x="15434" y="73616"/>
                  </a:cubicBezTo>
                  <a:cubicBezTo>
                    <a:pt x="15434" y="73616"/>
                    <a:pt x="15434" y="73616"/>
                    <a:pt x="16598" y="74513"/>
                  </a:cubicBezTo>
                  <a:cubicBezTo>
                    <a:pt x="16598" y="74513"/>
                    <a:pt x="16598" y="74513"/>
                    <a:pt x="17064" y="73017"/>
                  </a:cubicBezTo>
                  <a:cubicBezTo>
                    <a:pt x="17064" y="73017"/>
                    <a:pt x="17064" y="73017"/>
                    <a:pt x="16365" y="72119"/>
                  </a:cubicBezTo>
                  <a:cubicBezTo>
                    <a:pt x="16365" y="72119"/>
                    <a:pt x="16365" y="72119"/>
                    <a:pt x="16132" y="72119"/>
                  </a:cubicBezTo>
                  <a:cubicBezTo>
                    <a:pt x="16132" y="72119"/>
                    <a:pt x="16132" y="72119"/>
                    <a:pt x="14968" y="72119"/>
                  </a:cubicBezTo>
                  <a:cubicBezTo>
                    <a:pt x="14968" y="72119"/>
                    <a:pt x="14968" y="72119"/>
                    <a:pt x="14269" y="72119"/>
                  </a:cubicBezTo>
                  <a:cubicBezTo>
                    <a:pt x="14269" y="72119"/>
                    <a:pt x="14269" y="72119"/>
                    <a:pt x="12872" y="70922"/>
                  </a:cubicBezTo>
                  <a:cubicBezTo>
                    <a:pt x="12872" y="70922"/>
                    <a:pt x="12872" y="70922"/>
                    <a:pt x="12406" y="69725"/>
                  </a:cubicBezTo>
                  <a:cubicBezTo>
                    <a:pt x="12406" y="69725"/>
                    <a:pt x="12406" y="69725"/>
                    <a:pt x="11941" y="68229"/>
                  </a:cubicBezTo>
                  <a:cubicBezTo>
                    <a:pt x="11941" y="68229"/>
                    <a:pt x="11941" y="68229"/>
                    <a:pt x="11475" y="66733"/>
                  </a:cubicBezTo>
                  <a:cubicBezTo>
                    <a:pt x="11475" y="66733"/>
                    <a:pt x="11475" y="66733"/>
                    <a:pt x="11475" y="66134"/>
                  </a:cubicBezTo>
                  <a:cubicBezTo>
                    <a:pt x="11475" y="66134"/>
                    <a:pt x="11475" y="66134"/>
                    <a:pt x="11941" y="65536"/>
                  </a:cubicBezTo>
                  <a:cubicBezTo>
                    <a:pt x="11941" y="65536"/>
                    <a:pt x="11941" y="65536"/>
                    <a:pt x="12639" y="64039"/>
                  </a:cubicBezTo>
                  <a:cubicBezTo>
                    <a:pt x="12639" y="64039"/>
                    <a:pt x="12639" y="64039"/>
                    <a:pt x="13804" y="62244"/>
                  </a:cubicBezTo>
                  <a:cubicBezTo>
                    <a:pt x="13804" y="62244"/>
                    <a:pt x="13804" y="62244"/>
                    <a:pt x="15201" y="61047"/>
                  </a:cubicBezTo>
                  <a:cubicBezTo>
                    <a:pt x="15201" y="61047"/>
                    <a:pt x="15201" y="61047"/>
                    <a:pt x="16132" y="59551"/>
                  </a:cubicBezTo>
                  <a:cubicBezTo>
                    <a:pt x="16132" y="59551"/>
                    <a:pt x="16132" y="59551"/>
                    <a:pt x="16365" y="58054"/>
                  </a:cubicBezTo>
                  <a:cubicBezTo>
                    <a:pt x="16365" y="58054"/>
                    <a:pt x="16365" y="58054"/>
                    <a:pt x="17530" y="56558"/>
                  </a:cubicBezTo>
                  <a:cubicBezTo>
                    <a:pt x="17530" y="56558"/>
                    <a:pt x="17530" y="56558"/>
                    <a:pt x="18461" y="56259"/>
                  </a:cubicBezTo>
                  <a:cubicBezTo>
                    <a:pt x="18461" y="56259"/>
                    <a:pt x="18461" y="56259"/>
                    <a:pt x="19160" y="56857"/>
                  </a:cubicBezTo>
                  <a:cubicBezTo>
                    <a:pt x="19160" y="56857"/>
                    <a:pt x="19160" y="56857"/>
                    <a:pt x="19859" y="58054"/>
                  </a:cubicBezTo>
                  <a:cubicBezTo>
                    <a:pt x="19859" y="58054"/>
                    <a:pt x="19859" y="58054"/>
                    <a:pt x="20324" y="58054"/>
                  </a:cubicBezTo>
                  <a:cubicBezTo>
                    <a:pt x="20324" y="58054"/>
                    <a:pt x="20324" y="58054"/>
                    <a:pt x="21256" y="58054"/>
                  </a:cubicBezTo>
                  <a:cubicBezTo>
                    <a:pt x="21256" y="58054"/>
                    <a:pt x="21256" y="58054"/>
                    <a:pt x="21722" y="58054"/>
                  </a:cubicBezTo>
                  <a:cubicBezTo>
                    <a:pt x="21722" y="58054"/>
                    <a:pt x="21722" y="58054"/>
                    <a:pt x="22420" y="56857"/>
                  </a:cubicBezTo>
                  <a:cubicBezTo>
                    <a:pt x="22420" y="56857"/>
                    <a:pt x="22420" y="56857"/>
                    <a:pt x="23119" y="56857"/>
                  </a:cubicBezTo>
                  <a:cubicBezTo>
                    <a:pt x="23119" y="56857"/>
                    <a:pt x="23119" y="56857"/>
                    <a:pt x="23352" y="56259"/>
                  </a:cubicBezTo>
                  <a:cubicBezTo>
                    <a:pt x="23352" y="56259"/>
                    <a:pt x="23352" y="56259"/>
                    <a:pt x="23818" y="55361"/>
                  </a:cubicBezTo>
                  <a:cubicBezTo>
                    <a:pt x="23818" y="55361"/>
                    <a:pt x="23818" y="55361"/>
                    <a:pt x="24050" y="56259"/>
                  </a:cubicBezTo>
                  <a:cubicBezTo>
                    <a:pt x="24050" y="56259"/>
                    <a:pt x="24050" y="56259"/>
                    <a:pt x="24749" y="56259"/>
                  </a:cubicBezTo>
                  <a:cubicBezTo>
                    <a:pt x="24749" y="56259"/>
                    <a:pt x="24749" y="56259"/>
                    <a:pt x="25215" y="56259"/>
                  </a:cubicBezTo>
                  <a:cubicBezTo>
                    <a:pt x="25215" y="56259"/>
                    <a:pt x="25215" y="56259"/>
                    <a:pt x="26147" y="56259"/>
                  </a:cubicBezTo>
                  <a:cubicBezTo>
                    <a:pt x="26147" y="56259"/>
                    <a:pt x="26147" y="56259"/>
                    <a:pt x="26845" y="55361"/>
                  </a:cubicBezTo>
                  <a:cubicBezTo>
                    <a:pt x="26845" y="55361"/>
                    <a:pt x="26845" y="55361"/>
                    <a:pt x="27544" y="55361"/>
                  </a:cubicBezTo>
                  <a:cubicBezTo>
                    <a:pt x="27544" y="55361"/>
                    <a:pt x="27544" y="55361"/>
                    <a:pt x="27777" y="53266"/>
                  </a:cubicBezTo>
                  <a:cubicBezTo>
                    <a:pt x="27777" y="53266"/>
                    <a:pt x="27777" y="53266"/>
                    <a:pt x="27311" y="51770"/>
                  </a:cubicBezTo>
                  <a:cubicBezTo>
                    <a:pt x="27311" y="51770"/>
                    <a:pt x="27311" y="51770"/>
                    <a:pt x="26845" y="49376"/>
                  </a:cubicBezTo>
                  <a:cubicBezTo>
                    <a:pt x="26845" y="49376"/>
                    <a:pt x="26845" y="49376"/>
                    <a:pt x="27777" y="49376"/>
                  </a:cubicBezTo>
                  <a:cubicBezTo>
                    <a:pt x="27777" y="49376"/>
                    <a:pt x="27777" y="49376"/>
                    <a:pt x="28708" y="48179"/>
                  </a:cubicBezTo>
                  <a:cubicBezTo>
                    <a:pt x="28708" y="48179"/>
                    <a:pt x="28708" y="48179"/>
                    <a:pt x="28475" y="46383"/>
                  </a:cubicBezTo>
                  <a:cubicBezTo>
                    <a:pt x="28475" y="46383"/>
                    <a:pt x="28475" y="46383"/>
                    <a:pt x="27078" y="46084"/>
                  </a:cubicBezTo>
                  <a:cubicBezTo>
                    <a:pt x="27078" y="46084"/>
                    <a:pt x="27078" y="46084"/>
                    <a:pt x="26379" y="46084"/>
                  </a:cubicBezTo>
                  <a:cubicBezTo>
                    <a:pt x="26379" y="46084"/>
                    <a:pt x="26379" y="46084"/>
                    <a:pt x="25681" y="46383"/>
                  </a:cubicBezTo>
                  <a:cubicBezTo>
                    <a:pt x="25681" y="46383"/>
                    <a:pt x="25681" y="46383"/>
                    <a:pt x="24982" y="46982"/>
                  </a:cubicBezTo>
                  <a:cubicBezTo>
                    <a:pt x="24982" y="46982"/>
                    <a:pt x="24982" y="46982"/>
                    <a:pt x="24516" y="48179"/>
                  </a:cubicBezTo>
                  <a:cubicBezTo>
                    <a:pt x="24516" y="48179"/>
                    <a:pt x="24516" y="48179"/>
                    <a:pt x="23818" y="48179"/>
                  </a:cubicBezTo>
                  <a:cubicBezTo>
                    <a:pt x="23818" y="48179"/>
                    <a:pt x="23818" y="48179"/>
                    <a:pt x="23119" y="46383"/>
                  </a:cubicBezTo>
                  <a:cubicBezTo>
                    <a:pt x="23119" y="46383"/>
                    <a:pt x="23119" y="46383"/>
                    <a:pt x="21256" y="46383"/>
                  </a:cubicBezTo>
                  <a:cubicBezTo>
                    <a:pt x="21256" y="46383"/>
                    <a:pt x="21256" y="46383"/>
                    <a:pt x="19160" y="46383"/>
                  </a:cubicBezTo>
                  <a:cubicBezTo>
                    <a:pt x="19160" y="46383"/>
                    <a:pt x="19160" y="46383"/>
                    <a:pt x="17530" y="45785"/>
                  </a:cubicBezTo>
                  <a:cubicBezTo>
                    <a:pt x="17530" y="45785"/>
                    <a:pt x="17530" y="45785"/>
                    <a:pt x="15900" y="44887"/>
                  </a:cubicBezTo>
                  <a:cubicBezTo>
                    <a:pt x="15900" y="44887"/>
                    <a:pt x="15900" y="44887"/>
                    <a:pt x="14968" y="43391"/>
                  </a:cubicBezTo>
                  <a:cubicBezTo>
                    <a:pt x="14968" y="43391"/>
                    <a:pt x="14968" y="43391"/>
                    <a:pt x="14735" y="40399"/>
                  </a:cubicBezTo>
                  <a:cubicBezTo>
                    <a:pt x="14735" y="40399"/>
                    <a:pt x="14735" y="40399"/>
                    <a:pt x="15900" y="39800"/>
                  </a:cubicBezTo>
                  <a:cubicBezTo>
                    <a:pt x="15900" y="39800"/>
                    <a:pt x="15900" y="39800"/>
                    <a:pt x="16598" y="39201"/>
                  </a:cubicBezTo>
                  <a:cubicBezTo>
                    <a:pt x="16598" y="39201"/>
                    <a:pt x="16598" y="39201"/>
                    <a:pt x="14968" y="38304"/>
                  </a:cubicBezTo>
                  <a:cubicBezTo>
                    <a:pt x="14968" y="38304"/>
                    <a:pt x="14968" y="38304"/>
                    <a:pt x="14036" y="37406"/>
                  </a:cubicBezTo>
                  <a:cubicBezTo>
                    <a:pt x="14036" y="37406"/>
                    <a:pt x="14036" y="37406"/>
                    <a:pt x="12872" y="36209"/>
                  </a:cubicBezTo>
                  <a:cubicBezTo>
                    <a:pt x="12872" y="36209"/>
                    <a:pt x="12872" y="36209"/>
                    <a:pt x="12639" y="35610"/>
                  </a:cubicBezTo>
                  <a:cubicBezTo>
                    <a:pt x="12639" y="35610"/>
                    <a:pt x="12639" y="35610"/>
                    <a:pt x="13571" y="34713"/>
                  </a:cubicBezTo>
                  <a:cubicBezTo>
                    <a:pt x="13571" y="34713"/>
                    <a:pt x="13571" y="34713"/>
                    <a:pt x="14269" y="34713"/>
                  </a:cubicBezTo>
                  <a:cubicBezTo>
                    <a:pt x="14269" y="34713"/>
                    <a:pt x="14269" y="34713"/>
                    <a:pt x="15667" y="34413"/>
                  </a:cubicBezTo>
                  <a:cubicBezTo>
                    <a:pt x="15667" y="34413"/>
                    <a:pt x="15667" y="34413"/>
                    <a:pt x="17530" y="32917"/>
                  </a:cubicBezTo>
                  <a:cubicBezTo>
                    <a:pt x="17530" y="32917"/>
                    <a:pt x="17530" y="32917"/>
                    <a:pt x="17763" y="33516"/>
                  </a:cubicBezTo>
                  <a:cubicBezTo>
                    <a:pt x="17763" y="33516"/>
                    <a:pt x="17763" y="33516"/>
                    <a:pt x="18927" y="32917"/>
                  </a:cubicBezTo>
                  <a:cubicBezTo>
                    <a:pt x="18927" y="32917"/>
                    <a:pt x="18927" y="32917"/>
                    <a:pt x="18927" y="32618"/>
                  </a:cubicBezTo>
                  <a:cubicBezTo>
                    <a:pt x="18927" y="32618"/>
                    <a:pt x="18927" y="32618"/>
                    <a:pt x="19626" y="32319"/>
                  </a:cubicBezTo>
                  <a:cubicBezTo>
                    <a:pt x="19626" y="32319"/>
                    <a:pt x="19626" y="32319"/>
                    <a:pt x="21023" y="32019"/>
                  </a:cubicBezTo>
                  <a:cubicBezTo>
                    <a:pt x="21023" y="32019"/>
                    <a:pt x="21023" y="32019"/>
                    <a:pt x="22653" y="32019"/>
                  </a:cubicBezTo>
                  <a:cubicBezTo>
                    <a:pt x="22653" y="32019"/>
                    <a:pt x="22653" y="32019"/>
                    <a:pt x="23352" y="32618"/>
                  </a:cubicBezTo>
                  <a:cubicBezTo>
                    <a:pt x="23352" y="32618"/>
                    <a:pt x="23352" y="32618"/>
                    <a:pt x="22886" y="34114"/>
                  </a:cubicBezTo>
                  <a:cubicBezTo>
                    <a:pt x="22886" y="34114"/>
                    <a:pt x="22886" y="34114"/>
                    <a:pt x="22886" y="34713"/>
                  </a:cubicBezTo>
                  <a:cubicBezTo>
                    <a:pt x="22886" y="34713"/>
                    <a:pt x="22886" y="34713"/>
                    <a:pt x="23585" y="35311"/>
                  </a:cubicBezTo>
                  <a:cubicBezTo>
                    <a:pt x="23585" y="35311"/>
                    <a:pt x="23585" y="35311"/>
                    <a:pt x="24283" y="36209"/>
                  </a:cubicBezTo>
                  <a:cubicBezTo>
                    <a:pt x="24283" y="36209"/>
                    <a:pt x="24283" y="36209"/>
                    <a:pt x="25681" y="36209"/>
                  </a:cubicBezTo>
                  <a:cubicBezTo>
                    <a:pt x="25681" y="36209"/>
                    <a:pt x="25681" y="36209"/>
                    <a:pt x="27544" y="36808"/>
                  </a:cubicBezTo>
                  <a:cubicBezTo>
                    <a:pt x="27544" y="36808"/>
                    <a:pt x="27544" y="36808"/>
                    <a:pt x="28941" y="35910"/>
                  </a:cubicBezTo>
                  <a:cubicBezTo>
                    <a:pt x="28941" y="35910"/>
                    <a:pt x="28941" y="35910"/>
                    <a:pt x="29873" y="34713"/>
                  </a:cubicBezTo>
                  <a:cubicBezTo>
                    <a:pt x="29873" y="34713"/>
                    <a:pt x="29873" y="34713"/>
                    <a:pt x="31037" y="33815"/>
                  </a:cubicBezTo>
                  <a:cubicBezTo>
                    <a:pt x="31037" y="33815"/>
                    <a:pt x="30106" y="33216"/>
                    <a:pt x="29873" y="33216"/>
                  </a:cubicBezTo>
                  <a:cubicBezTo>
                    <a:pt x="29407" y="33216"/>
                    <a:pt x="28941" y="32618"/>
                    <a:pt x="28941" y="32618"/>
                  </a:cubicBezTo>
                  <a:cubicBezTo>
                    <a:pt x="28941" y="32618"/>
                    <a:pt x="28941" y="32618"/>
                    <a:pt x="28243" y="32019"/>
                  </a:cubicBezTo>
                  <a:cubicBezTo>
                    <a:pt x="28243" y="32019"/>
                    <a:pt x="28243" y="32019"/>
                    <a:pt x="28243" y="30822"/>
                  </a:cubicBezTo>
                  <a:cubicBezTo>
                    <a:pt x="28243" y="30822"/>
                    <a:pt x="28243" y="30822"/>
                    <a:pt x="28010" y="29326"/>
                  </a:cubicBezTo>
                  <a:cubicBezTo>
                    <a:pt x="28010" y="29326"/>
                    <a:pt x="28010" y="29326"/>
                    <a:pt x="24516" y="28129"/>
                  </a:cubicBezTo>
                  <a:cubicBezTo>
                    <a:pt x="24516" y="28129"/>
                    <a:pt x="24516" y="28129"/>
                    <a:pt x="24516" y="23640"/>
                  </a:cubicBezTo>
                  <a:cubicBezTo>
                    <a:pt x="24516" y="23640"/>
                    <a:pt x="24516" y="23640"/>
                    <a:pt x="22886" y="21546"/>
                  </a:cubicBezTo>
                  <a:cubicBezTo>
                    <a:pt x="22886" y="21546"/>
                    <a:pt x="22886" y="21546"/>
                    <a:pt x="19626" y="17057"/>
                  </a:cubicBezTo>
                  <a:cubicBezTo>
                    <a:pt x="19626" y="17057"/>
                    <a:pt x="19626" y="17057"/>
                    <a:pt x="20091" y="17057"/>
                  </a:cubicBezTo>
                  <a:cubicBezTo>
                    <a:pt x="20091" y="17057"/>
                    <a:pt x="20091" y="17057"/>
                    <a:pt x="20091" y="16159"/>
                  </a:cubicBezTo>
                  <a:cubicBezTo>
                    <a:pt x="20091" y="16159"/>
                    <a:pt x="20091" y="16159"/>
                    <a:pt x="21256" y="16159"/>
                  </a:cubicBezTo>
                  <a:cubicBezTo>
                    <a:pt x="21256" y="16159"/>
                    <a:pt x="21256" y="16159"/>
                    <a:pt x="21256" y="14962"/>
                  </a:cubicBezTo>
                  <a:cubicBezTo>
                    <a:pt x="21256" y="14962"/>
                    <a:pt x="21256" y="14962"/>
                    <a:pt x="21489" y="13466"/>
                  </a:cubicBezTo>
                  <a:cubicBezTo>
                    <a:pt x="21489" y="13466"/>
                    <a:pt x="21489" y="13466"/>
                    <a:pt x="22187" y="13466"/>
                  </a:cubicBezTo>
                  <a:cubicBezTo>
                    <a:pt x="22187" y="13466"/>
                    <a:pt x="22187" y="13466"/>
                    <a:pt x="22886" y="14064"/>
                  </a:cubicBezTo>
                  <a:cubicBezTo>
                    <a:pt x="22886" y="14064"/>
                    <a:pt x="22886" y="14064"/>
                    <a:pt x="24050" y="14064"/>
                  </a:cubicBezTo>
                  <a:cubicBezTo>
                    <a:pt x="24050" y="14064"/>
                    <a:pt x="24050" y="14064"/>
                    <a:pt x="24516" y="14064"/>
                  </a:cubicBezTo>
                  <a:cubicBezTo>
                    <a:pt x="24516" y="14064"/>
                    <a:pt x="24516" y="14064"/>
                    <a:pt x="25681" y="14064"/>
                  </a:cubicBezTo>
                  <a:cubicBezTo>
                    <a:pt x="25681" y="14064"/>
                    <a:pt x="25681" y="14064"/>
                    <a:pt x="27777" y="13166"/>
                  </a:cubicBezTo>
                  <a:cubicBezTo>
                    <a:pt x="27777" y="13166"/>
                    <a:pt x="27777" y="13166"/>
                    <a:pt x="28475" y="12269"/>
                  </a:cubicBezTo>
                  <a:cubicBezTo>
                    <a:pt x="28475" y="12269"/>
                    <a:pt x="28475" y="12269"/>
                    <a:pt x="29174" y="10773"/>
                  </a:cubicBezTo>
                  <a:cubicBezTo>
                    <a:pt x="29174" y="10773"/>
                    <a:pt x="29174" y="10773"/>
                    <a:pt x="29174" y="8379"/>
                  </a:cubicBezTo>
                  <a:cubicBezTo>
                    <a:pt x="29174" y="8379"/>
                    <a:pt x="29174" y="8379"/>
                    <a:pt x="29873" y="8379"/>
                  </a:cubicBezTo>
                  <a:cubicBezTo>
                    <a:pt x="29873" y="8379"/>
                    <a:pt x="29873" y="8379"/>
                    <a:pt x="30571" y="7481"/>
                  </a:cubicBezTo>
                  <a:cubicBezTo>
                    <a:pt x="30571" y="7481"/>
                    <a:pt x="30571" y="7481"/>
                    <a:pt x="31969" y="5984"/>
                  </a:cubicBezTo>
                  <a:cubicBezTo>
                    <a:pt x="31969" y="5984"/>
                    <a:pt x="31969" y="5984"/>
                    <a:pt x="34530" y="5386"/>
                  </a:cubicBezTo>
                  <a:cubicBezTo>
                    <a:pt x="34530" y="5386"/>
                    <a:pt x="34530" y="5386"/>
                    <a:pt x="35462" y="3890"/>
                  </a:cubicBezTo>
                  <a:cubicBezTo>
                    <a:pt x="35462" y="3890"/>
                    <a:pt x="35462" y="3890"/>
                    <a:pt x="36393" y="3291"/>
                  </a:cubicBezTo>
                  <a:cubicBezTo>
                    <a:pt x="36393" y="3291"/>
                    <a:pt x="36393" y="3291"/>
                    <a:pt x="37092" y="2393"/>
                  </a:cubicBezTo>
                  <a:cubicBezTo>
                    <a:pt x="37092" y="2393"/>
                    <a:pt x="37092" y="2393"/>
                    <a:pt x="40818" y="2693"/>
                  </a:cubicBezTo>
                  <a:cubicBezTo>
                    <a:pt x="40818" y="2693"/>
                    <a:pt x="40818" y="2693"/>
                    <a:pt x="41284" y="1197"/>
                  </a:cubicBezTo>
                  <a:cubicBezTo>
                    <a:pt x="41284" y="1197"/>
                    <a:pt x="41284" y="1197"/>
                    <a:pt x="43147" y="0"/>
                  </a:cubicBez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37" name="Shape 1413">
              <a:extLst>
                <a:ext uri="{FF2B5EF4-FFF2-40B4-BE49-F238E27FC236}">
                  <a16:creationId xmlns:a16="http://schemas.microsoft.com/office/drawing/2014/main" id="{0DF5D08B-01C7-14D7-F9C3-EEA6AEA083AF}"/>
                </a:ext>
              </a:extLst>
            </p:cNvPr>
            <p:cNvSpPr/>
            <p:nvPr/>
          </p:nvSpPr>
          <p:spPr>
            <a:xfrm>
              <a:off x="10317320" y="5361301"/>
              <a:ext cx="628883" cy="545535"/>
            </a:xfrm>
            <a:custGeom>
              <a:avLst/>
              <a:gdLst/>
              <a:ahLst/>
              <a:cxnLst/>
              <a:rect l="0" t="0" r="0" b="0"/>
              <a:pathLst>
                <a:path w="120000" h="120000" extrusionOk="0">
                  <a:moveTo>
                    <a:pt x="80000" y="0"/>
                  </a:moveTo>
                  <a:lnTo>
                    <a:pt x="80000" y="0"/>
                  </a:lnTo>
                  <a:lnTo>
                    <a:pt x="82474" y="0"/>
                  </a:lnTo>
                  <a:lnTo>
                    <a:pt x="86185" y="1052"/>
                  </a:lnTo>
                  <a:lnTo>
                    <a:pt x="86597" y="3684"/>
                  </a:lnTo>
                  <a:lnTo>
                    <a:pt x="87010" y="5263"/>
                  </a:lnTo>
                  <a:lnTo>
                    <a:pt x="88659" y="6315"/>
                  </a:lnTo>
                  <a:lnTo>
                    <a:pt x="89896" y="8947"/>
                  </a:lnTo>
                  <a:lnTo>
                    <a:pt x="91958" y="15789"/>
                  </a:lnTo>
                  <a:lnTo>
                    <a:pt x="94432" y="21052"/>
                  </a:lnTo>
                  <a:lnTo>
                    <a:pt x="97731" y="28947"/>
                  </a:lnTo>
                  <a:lnTo>
                    <a:pt x="99381" y="32631"/>
                  </a:lnTo>
                  <a:lnTo>
                    <a:pt x="103505" y="40526"/>
                  </a:lnTo>
                  <a:lnTo>
                    <a:pt x="105567" y="42631"/>
                  </a:lnTo>
                  <a:lnTo>
                    <a:pt x="106804" y="44210"/>
                  </a:lnTo>
                  <a:lnTo>
                    <a:pt x="106804" y="45789"/>
                  </a:lnTo>
                  <a:lnTo>
                    <a:pt x="106804" y="50526"/>
                  </a:lnTo>
                  <a:lnTo>
                    <a:pt x="105567" y="45263"/>
                  </a:lnTo>
                  <a:lnTo>
                    <a:pt x="105154" y="50526"/>
                  </a:lnTo>
                  <a:lnTo>
                    <a:pt x="107628" y="55789"/>
                  </a:lnTo>
                  <a:lnTo>
                    <a:pt x="110515" y="61052"/>
                  </a:lnTo>
                  <a:lnTo>
                    <a:pt x="113402" y="67894"/>
                  </a:lnTo>
                  <a:lnTo>
                    <a:pt x="115463" y="72105"/>
                  </a:lnTo>
                  <a:lnTo>
                    <a:pt x="117938" y="75789"/>
                  </a:lnTo>
                  <a:lnTo>
                    <a:pt x="119175" y="80526"/>
                  </a:lnTo>
                  <a:lnTo>
                    <a:pt x="120000" y="88421"/>
                  </a:lnTo>
                  <a:lnTo>
                    <a:pt x="120000" y="92631"/>
                  </a:lnTo>
                  <a:lnTo>
                    <a:pt x="120000" y="97368"/>
                  </a:lnTo>
                  <a:lnTo>
                    <a:pt x="120000" y="101578"/>
                  </a:lnTo>
                  <a:lnTo>
                    <a:pt x="118762" y="103157"/>
                  </a:lnTo>
                  <a:lnTo>
                    <a:pt x="117938" y="105263"/>
                  </a:lnTo>
                  <a:lnTo>
                    <a:pt x="117938" y="107894"/>
                  </a:lnTo>
                  <a:lnTo>
                    <a:pt x="118350" y="111052"/>
                  </a:lnTo>
                  <a:lnTo>
                    <a:pt x="117938" y="114736"/>
                  </a:lnTo>
                  <a:lnTo>
                    <a:pt x="116701" y="118421"/>
                  </a:lnTo>
                  <a:lnTo>
                    <a:pt x="115463" y="119473"/>
                  </a:lnTo>
                  <a:lnTo>
                    <a:pt x="114226" y="119999"/>
                  </a:lnTo>
                  <a:lnTo>
                    <a:pt x="115051" y="117894"/>
                  </a:lnTo>
                  <a:lnTo>
                    <a:pt x="115876" y="116842"/>
                  </a:lnTo>
                  <a:lnTo>
                    <a:pt x="115876" y="114210"/>
                  </a:lnTo>
                  <a:lnTo>
                    <a:pt x="115463" y="114210"/>
                  </a:lnTo>
                  <a:lnTo>
                    <a:pt x="112989" y="116315"/>
                  </a:lnTo>
                  <a:lnTo>
                    <a:pt x="111340" y="116842"/>
                  </a:lnTo>
                  <a:lnTo>
                    <a:pt x="110103" y="116315"/>
                  </a:lnTo>
                  <a:lnTo>
                    <a:pt x="108865" y="116842"/>
                  </a:lnTo>
                  <a:lnTo>
                    <a:pt x="107628" y="117894"/>
                  </a:lnTo>
                  <a:lnTo>
                    <a:pt x="106804" y="117368"/>
                  </a:lnTo>
                  <a:lnTo>
                    <a:pt x="105154" y="116842"/>
                  </a:lnTo>
                  <a:lnTo>
                    <a:pt x="104329" y="115263"/>
                  </a:lnTo>
                  <a:lnTo>
                    <a:pt x="104742" y="114210"/>
                  </a:lnTo>
                  <a:lnTo>
                    <a:pt x="105154" y="114210"/>
                  </a:lnTo>
                  <a:lnTo>
                    <a:pt x="108041" y="114736"/>
                  </a:lnTo>
                  <a:lnTo>
                    <a:pt x="108865" y="114210"/>
                  </a:lnTo>
                  <a:lnTo>
                    <a:pt x="108453" y="113684"/>
                  </a:lnTo>
                  <a:lnTo>
                    <a:pt x="107216" y="112631"/>
                  </a:lnTo>
                  <a:lnTo>
                    <a:pt x="105567" y="113157"/>
                  </a:lnTo>
                  <a:lnTo>
                    <a:pt x="104329" y="111578"/>
                  </a:lnTo>
                  <a:lnTo>
                    <a:pt x="103092" y="108947"/>
                  </a:lnTo>
                  <a:lnTo>
                    <a:pt x="101443" y="106842"/>
                  </a:lnTo>
                  <a:lnTo>
                    <a:pt x="101030" y="105263"/>
                  </a:lnTo>
                  <a:lnTo>
                    <a:pt x="99793" y="103157"/>
                  </a:lnTo>
                  <a:lnTo>
                    <a:pt x="97731" y="102631"/>
                  </a:lnTo>
                  <a:lnTo>
                    <a:pt x="96082" y="101578"/>
                  </a:lnTo>
                  <a:lnTo>
                    <a:pt x="94432" y="101052"/>
                  </a:lnTo>
                  <a:lnTo>
                    <a:pt x="92783" y="95263"/>
                  </a:lnTo>
                  <a:lnTo>
                    <a:pt x="91958" y="93157"/>
                  </a:lnTo>
                  <a:lnTo>
                    <a:pt x="90721" y="91578"/>
                  </a:lnTo>
                  <a:lnTo>
                    <a:pt x="90309" y="90526"/>
                  </a:lnTo>
                  <a:lnTo>
                    <a:pt x="89072" y="88947"/>
                  </a:lnTo>
                  <a:lnTo>
                    <a:pt x="87835" y="87894"/>
                  </a:lnTo>
                  <a:lnTo>
                    <a:pt x="88247" y="85789"/>
                  </a:lnTo>
                  <a:lnTo>
                    <a:pt x="88659" y="84736"/>
                  </a:lnTo>
                  <a:lnTo>
                    <a:pt x="87422" y="81578"/>
                  </a:lnTo>
                  <a:lnTo>
                    <a:pt x="86185" y="82105"/>
                  </a:lnTo>
                  <a:lnTo>
                    <a:pt x="86185" y="83157"/>
                  </a:lnTo>
                  <a:lnTo>
                    <a:pt x="86185" y="85789"/>
                  </a:lnTo>
                  <a:lnTo>
                    <a:pt x="85360" y="85789"/>
                  </a:lnTo>
                  <a:lnTo>
                    <a:pt x="84536" y="84736"/>
                  </a:lnTo>
                  <a:lnTo>
                    <a:pt x="83298" y="83157"/>
                  </a:lnTo>
                  <a:lnTo>
                    <a:pt x="81237" y="78947"/>
                  </a:lnTo>
                  <a:lnTo>
                    <a:pt x="80000" y="77368"/>
                  </a:lnTo>
                  <a:lnTo>
                    <a:pt x="79587" y="76842"/>
                  </a:lnTo>
                  <a:lnTo>
                    <a:pt x="80000" y="75789"/>
                  </a:lnTo>
                  <a:lnTo>
                    <a:pt x="79175" y="73684"/>
                  </a:lnTo>
                  <a:lnTo>
                    <a:pt x="77938" y="73157"/>
                  </a:lnTo>
                  <a:lnTo>
                    <a:pt x="79175" y="70000"/>
                  </a:lnTo>
                  <a:lnTo>
                    <a:pt x="80000" y="68421"/>
                  </a:lnTo>
                  <a:lnTo>
                    <a:pt x="80412" y="66842"/>
                  </a:lnTo>
                  <a:lnTo>
                    <a:pt x="80824" y="65263"/>
                  </a:lnTo>
                  <a:lnTo>
                    <a:pt x="80000" y="63684"/>
                  </a:lnTo>
                  <a:lnTo>
                    <a:pt x="79587" y="65789"/>
                  </a:lnTo>
                  <a:lnTo>
                    <a:pt x="78762" y="65263"/>
                  </a:lnTo>
                  <a:lnTo>
                    <a:pt x="78762" y="64210"/>
                  </a:lnTo>
                  <a:lnTo>
                    <a:pt x="77525" y="62105"/>
                  </a:lnTo>
                  <a:lnTo>
                    <a:pt x="77113" y="62105"/>
                  </a:lnTo>
                  <a:lnTo>
                    <a:pt x="77113" y="62631"/>
                  </a:lnTo>
                  <a:lnTo>
                    <a:pt x="77525" y="63684"/>
                  </a:lnTo>
                  <a:lnTo>
                    <a:pt x="77938" y="65263"/>
                  </a:lnTo>
                  <a:lnTo>
                    <a:pt x="77938" y="66842"/>
                  </a:lnTo>
                  <a:lnTo>
                    <a:pt x="77938" y="67368"/>
                  </a:lnTo>
                  <a:lnTo>
                    <a:pt x="77113" y="68421"/>
                  </a:lnTo>
                  <a:lnTo>
                    <a:pt x="76701" y="67894"/>
                  </a:lnTo>
                  <a:lnTo>
                    <a:pt x="75876" y="66842"/>
                  </a:lnTo>
                  <a:lnTo>
                    <a:pt x="74639" y="64210"/>
                  </a:lnTo>
                  <a:lnTo>
                    <a:pt x="74226" y="63157"/>
                  </a:lnTo>
                  <a:lnTo>
                    <a:pt x="74226" y="61052"/>
                  </a:lnTo>
                  <a:lnTo>
                    <a:pt x="74226" y="57894"/>
                  </a:lnTo>
                  <a:lnTo>
                    <a:pt x="75051" y="55789"/>
                  </a:lnTo>
                  <a:lnTo>
                    <a:pt x="75463" y="51578"/>
                  </a:lnTo>
                  <a:lnTo>
                    <a:pt x="75463" y="48947"/>
                  </a:lnTo>
                  <a:lnTo>
                    <a:pt x="75051" y="45263"/>
                  </a:lnTo>
                  <a:lnTo>
                    <a:pt x="74226" y="41578"/>
                  </a:lnTo>
                  <a:lnTo>
                    <a:pt x="72989" y="40526"/>
                  </a:lnTo>
                  <a:lnTo>
                    <a:pt x="71752" y="37894"/>
                  </a:lnTo>
                  <a:lnTo>
                    <a:pt x="69278" y="37368"/>
                  </a:lnTo>
                  <a:lnTo>
                    <a:pt x="68041" y="37368"/>
                  </a:lnTo>
                  <a:lnTo>
                    <a:pt x="67216" y="35263"/>
                  </a:lnTo>
                  <a:lnTo>
                    <a:pt x="65979" y="34736"/>
                  </a:lnTo>
                  <a:lnTo>
                    <a:pt x="64329" y="32105"/>
                  </a:lnTo>
                  <a:lnTo>
                    <a:pt x="62680" y="31578"/>
                  </a:lnTo>
                  <a:lnTo>
                    <a:pt x="62268" y="28947"/>
                  </a:lnTo>
                  <a:lnTo>
                    <a:pt x="61443" y="27894"/>
                  </a:lnTo>
                  <a:lnTo>
                    <a:pt x="58969" y="25263"/>
                  </a:lnTo>
                  <a:lnTo>
                    <a:pt x="56907" y="23157"/>
                  </a:lnTo>
                  <a:lnTo>
                    <a:pt x="55257" y="22105"/>
                  </a:lnTo>
                  <a:lnTo>
                    <a:pt x="53608" y="20526"/>
                  </a:lnTo>
                  <a:lnTo>
                    <a:pt x="52371" y="20000"/>
                  </a:lnTo>
                  <a:lnTo>
                    <a:pt x="50309" y="20000"/>
                  </a:lnTo>
                  <a:lnTo>
                    <a:pt x="48247" y="20526"/>
                  </a:lnTo>
                  <a:lnTo>
                    <a:pt x="47835" y="22105"/>
                  </a:lnTo>
                  <a:lnTo>
                    <a:pt x="48247" y="23684"/>
                  </a:lnTo>
                  <a:lnTo>
                    <a:pt x="47835" y="24736"/>
                  </a:lnTo>
                  <a:lnTo>
                    <a:pt x="47010" y="24736"/>
                  </a:lnTo>
                  <a:lnTo>
                    <a:pt x="46185" y="23684"/>
                  </a:lnTo>
                  <a:lnTo>
                    <a:pt x="44123" y="25789"/>
                  </a:lnTo>
                  <a:lnTo>
                    <a:pt x="41649" y="28421"/>
                  </a:lnTo>
                  <a:lnTo>
                    <a:pt x="38762" y="29473"/>
                  </a:lnTo>
                  <a:lnTo>
                    <a:pt x="34226" y="31052"/>
                  </a:lnTo>
                  <a:lnTo>
                    <a:pt x="34226" y="27894"/>
                  </a:lnTo>
                  <a:lnTo>
                    <a:pt x="32989" y="26315"/>
                  </a:lnTo>
                  <a:lnTo>
                    <a:pt x="31752" y="25789"/>
                  </a:lnTo>
                  <a:lnTo>
                    <a:pt x="29690" y="24210"/>
                  </a:lnTo>
                  <a:lnTo>
                    <a:pt x="31340" y="23157"/>
                  </a:lnTo>
                  <a:lnTo>
                    <a:pt x="31752" y="22631"/>
                  </a:lnTo>
                  <a:lnTo>
                    <a:pt x="28865" y="22105"/>
                  </a:lnTo>
                  <a:lnTo>
                    <a:pt x="28865" y="20526"/>
                  </a:lnTo>
                  <a:lnTo>
                    <a:pt x="29690" y="20526"/>
                  </a:lnTo>
                  <a:lnTo>
                    <a:pt x="30103" y="19473"/>
                  </a:lnTo>
                  <a:lnTo>
                    <a:pt x="30103" y="18421"/>
                  </a:lnTo>
                  <a:lnTo>
                    <a:pt x="29690" y="18421"/>
                  </a:lnTo>
                  <a:lnTo>
                    <a:pt x="28865" y="18947"/>
                  </a:lnTo>
                  <a:lnTo>
                    <a:pt x="28865" y="19473"/>
                  </a:lnTo>
                  <a:lnTo>
                    <a:pt x="28453" y="20000"/>
                  </a:lnTo>
                  <a:lnTo>
                    <a:pt x="27628" y="18947"/>
                  </a:lnTo>
                  <a:lnTo>
                    <a:pt x="25567" y="18947"/>
                  </a:lnTo>
                  <a:lnTo>
                    <a:pt x="26391" y="20526"/>
                  </a:lnTo>
                  <a:lnTo>
                    <a:pt x="26804" y="20526"/>
                  </a:lnTo>
                  <a:lnTo>
                    <a:pt x="27216" y="22631"/>
                  </a:lnTo>
                  <a:lnTo>
                    <a:pt x="26804" y="22631"/>
                  </a:lnTo>
                  <a:lnTo>
                    <a:pt x="25154" y="21578"/>
                  </a:lnTo>
                  <a:lnTo>
                    <a:pt x="23505" y="20000"/>
                  </a:lnTo>
                  <a:lnTo>
                    <a:pt x="21855" y="19473"/>
                  </a:lnTo>
                  <a:lnTo>
                    <a:pt x="18144" y="19473"/>
                  </a:lnTo>
                  <a:lnTo>
                    <a:pt x="16907" y="18421"/>
                  </a:lnTo>
                  <a:lnTo>
                    <a:pt x="16082" y="17368"/>
                  </a:lnTo>
                  <a:lnTo>
                    <a:pt x="14845" y="17368"/>
                  </a:lnTo>
                  <a:lnTo>
                    <a:pt x="10721" y="18421"/>
                  </a:lnTo>
                  <a:lnTo>
                    <a:pt x="7835" y="18421"/>
                  </a:lnTo>
                  <a:lnTo>
                    <a:pt x="5773" y="20000"/>
                  </a:lnTo>
                  <a:lnTo>
                    <a:pt x="4536" y="20526"/>
                  </a:lnTo>
                  <a:lnTo>
                    <a:pt x="2886" y="16842"/>
                  </a:lnTo>
                  <a:lnTo>
                    <a:pt x="2474" y="14210"/>
                  </a:lnTo>
                  <a:lnTo>
                    <a:pt x="824" y="11578"/>
                  </a:lnTo>
                  <a:lnTo>
                    <a:pt x="0" y="10526"/>
                  </a:lnTo>
                  <a:lnTo>
                    <a:pt x="0" y="8947"/>
                  </a:lnTo>
                  <a:lnTo>
                    <a:pt x="1237" y="8421"/>
                  </a:lnTo>
                  <a:lnTo>
                    <a:pt x="4123" y="7368"/>
                  </a:lnTo>
                  <a:lnTo>
                    <a:pt x="7422" y="6315"/>
                  </a:lnTo>
                  <a:lnTo>
                    <a:pt x="38350" y="3157"/>
                  </a:lnTo>
                  <a:lnTo>
                    <a:pt x="40412" y="8421"/>
                  </a:lnTo>
                  <a:lnTo>
                    <a:pt x="77938" y="5789"/>
                  </a:lnTo>
                  <a:lnTo>
                    <a:pt x="78350" y="10000"/>
                  </a:lnTo>
                  <a:lnTo>
                    <a:pt x="81237" y="10000"/>
                  </a:lnTo>
                  <a:lnTo>
                    <a:pt x="80000" y="0"/>
                  </a:lnTo>
                  <a:close/>
                </a:path>
              </a:pathLst>
            </a:custGeom>
            <a:solidFill>
              <a:srgbClr val="FFFF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38" name="Shape 1416">
              <a:extLst>
                <a:ext uri="{FF2B5EF4-FFF2-40B4-BE49-F238E27FC236}">
                  <a16:creationId xmlns:a16="http://schemas.microsoft.com/office/drawing/2014/main" id="{D64D2F53-B201-E130-4008-BD72D7C5A4B4}"/>
                </a:ext>
              </a:extLst>
            </p:cNvPr>
            <p:cNvSpPr/>
            <p:nvPr/>
          </p:nvSpPr>
          <p:spPr>
            <a:xfrm>
              <a:off x="10096886" y="4801408"/>
              <a:ext cx="596467" cy="215340"/>
            </a:xfrm>
            <a:custGeom>
              <a:avLst/>
              <a:gdLst/>
              <a:ahLst/>
              <a:cxnLst/>
              <a:rect l="0" t="0" r="0" b="0"/>
              <a:pathLst>
                <a:path w="120000" h="120000" extrusionOk="0">
                  <a:moveTo>
                    <a:pt x="71042" y="15700"/>
                  </a:moveTo>
                  <a:cubicBezTo>
                    <a:pt x="30552" y="23551"/>
                    <a:pt x="30552" y="23551"/>
                    <a:pt x="30552" y="23551"/>
                  </a:cubicBezTo>
                  <a:cubicBezTo>
                    <a:pt x="31288" y="34766"/>
                    <a:pt x="31288" y="34766"/>
                    <a:pt x="31288" y="34766"/>
                  </a:cubicBezTo>
                  <a:cubicBezTo>
                    <a:pt x="9570" y="35887"/>
                    <a:pt x="9570" y="35887"/>
                    <a:pt x="9570" y="35887"/>
                  </a:cubicBezTo>
                  <a:cubicBezTo>
                    <a:pt x="8834" y="37009"/>
                    <a:pt x="8834" y="37009"/>
                    <a:pt x="8834" y="37009"/>
                  </a:cubicBezTo>
                  <a:cubicBezTo>
                    <a:pt x="8834" y="40373"/>
                    <a:pt x="8834" y="40373"/>
                    <a:pt x="8834" y="40373"/>
                  </a:cubicBezTo>
                  <a:cubicBezTo>
                    <a:pt x="8834" y="43738"/>
                    <a:pt x="8834" y="43738"/>
                    <a:pt x="8834" y="43738"/>
                  </a:cubicBezTo>
                  <a:cubicBezTo>
                    <a:pt x="8466" y="47102"/>
                    <a:pt x="8466" y="47102"/>
                    <a:pt x="8466" y="47102"/>
                  </a:cubicBezTo>
                  <a:cubicBezTo>
                    <a:pt x="7730" y="48224"/>
                    <a:pt x="7730" y="48224"/>
                    <a:pt x="7730" y="48224"/>
                  </a:cubicBezTo>
                  <a:cubicBezTo>
                    <a:pt x="7361" y="50467"/>
                    <a:pt x="7361" y="50467"/>
                    <a:pt x="7361" y="50467"/>
                  </a:cubicBezTo>
                  <a:cubicBezTo>
                    <a:pt x="7730" y="51588"/>
                    <a:pt x="7730" y="51588"/>
                    <a:pt x="7730" y="51588"/>
                  </a:cubicBezTo>
                  <a:cubicBezTo>
                    <a:pt x="7730" y="51588"/>
                    <a:pt x="8466" y="54953"/>
                    <a:pt x="8466" y="56074"/>
                  </a:cubicBezTo>
                  <a:cubicBezTo>
                    <a:pt x="8834" y="57196"/>
                    <a:pt x="8098" y="58317"/>
                    <a:pt x="8098" y="58317"/>
                  </a:cubicBezTo>
                  <a:cubicBezTo>
                    <a:pt x="7361" y="61682"/>
                    <a:pt x="7361" y="61682"/>
                    <a:pt x="7361" y="61682"/>
                  </a:cubicBezTo>
                  <a:cubicBezTo>
                    <a:pt x="6993" y="65046"/>
                    <a:pt x="6993" y="65046"/>
                    <a:pt x="6993" y="65046"/>
                  </a:cubicBezTo>
                  <a:cubicBezTo>
                    <a:pt x="7361" y="65046"/>
                    <a:pt x="7361" y="65046"/>
                    <a:pt x="7361" y="65046"/>
                  </a:cubicBezTo>
                  <a:cubicBezTo>
                    <a:pt x="7361" y="69532"/>
                    <a:pt x="7361" y="69532"/>
                    <a:pt x="7361" y="69532"/>
                  </a:cubicBezTo>
                  <a:cubicBezTo>
                    <a:pt x="6993" y="71775"/>
                    <a:pt x="6993" y="71775"/>
                    <a:pt x="6993" y="71775"/>
                  </a:cubicBezTo>
                  <a:cubicBezTo>
                    <a:pt x="6625" y="74018"/>
                    <a:pt x="6625" y="74018"/>
                    <a:pt x="6625" y="74018"/>
                  </a:cubicBezTo>
                  <a:cubicBezTo>
                    <a:pt x="5889" y="77383"/>
                    <a:pt x="5889" y="77383"/>
                    <a:pt x="5889" y="77383"/>
                  </a:cubicBezTo>
                  <a:cubicBezTo>
                    <a:pt x="4785" y="78504"/>
                    <a:pt x="4785" y="78504"/>
                    <a:pt x="4785" y="78504"/>
                  </a:cubicBezTo>
                  <a:cubicBezTo>
                    <a:pt x="4785" y="84112"/>
                    <a:pt x="4785" y="84112"/>
                    <a:pt x="4785" y="84112"/>
                  </a:cubicBezTo>
                  <a:cubicBezTo>
                    <a:pt x="4417" y="86355"/>
                    <a:pt x="4417" y="86355"/>
                    <a:pt x="4417" y="86355"/>
                  </a:cubicBezTo>
                  <a:cubicBezTo>
                    <a:pt x="4417" y="88598"/>
                    <a:pt x="4417" y="88598"/>
                    <a:pt x="4417" y="88598"/>
                  </a:cubicBezTo>
                  <a:cubicBezTo>
                    <a:pt x="2944" y="91962"/>
                    <a:pt x="2944" y="91962"/>
                    <a:pt x="2944" y="91962"/>
                  </a:cubicBezTo>
                  <a:cubicBezTo>
                    <a:pt x="1840" y="97570"/>
                    <a:pt x="1840" y="97570"/>
                    <a:pt x="1840" y="97570"/>
                  </a:cubicBezTo>
                  <a:cubicBezTo>
                    <a:pt x="1840" y="103177"/>
                    <a:pt x="1840" y="103177"/>
                    <a:pt x="1840" y="103177"/>
                  </a:cubicBezTo>
                  <a:cubicBezTo>
                    <a:pt x="1840" y="111028"/>
                    <a:pt x="1840" y="111028"/>
                    <a:pt x="1840" y="111028"/>
                  </a:cubicBezTo>
                  <a:cubicBezTo>
                    <a:pt x="736" y="116635"/>
                    <a:pt x="736" y="116635"/>
                    <a:pt x="736" y="116635"/>
                  </a:cubicBezTo>
                  <a:cubicBezTo>
                    <a:pt x="0" y="120000"/>
                    <a:pt x="0" y="120000"/>
                    <a:pt x="0" y="120000"/>
                  </a:cubicBezTo>
                  <a:cubicBezTo>
                    <a:pt x="0" y="120000"/>
                    <a:pt x="0" y="120000"/>
                    <a:pt x="0" y="120000"/>
                  </a:cubicBezTo>
                  <a:cubicBezTo>
                    <a:pt x="85398" y="99813"/>
                    <a:pt x="85398" y="99813"/>
                    <a:pt x="85398" y="99813"/>
                  </a:cubicBezTo>
                  <a:cubicBezTo>
                    <a:pt x="85398" y="99813"/>
                    <a:pt x="85398" y="99813"/>
                    <a:pt x="85398" y="99813"/>
                  </a:cubicBezTo>
                  <a:cubicBezTo>
                    <a:pt x="85398" y="98691"/>
                    <a:pt x="85398" y="98691"/>
                    <a:pt x="85398" y="98691"/>
                  </a:cubicBezTo>
                  <a:cubicBezTo>
                    <a:pt x="85766" y="91962"/>
                    <a:pt x="85766" y="91962"/>
                    <a:pt x="85766" y="91962"/>
                  </a:cubicBezTo>
                  <a:cubicBezTo>
                    <a:pt x="85766" y="88598"/>
                    <a:pt x="85766" y="88598"/>
                    <a:pt x="85766" y="88598"/>
                  </a:cubicBezTo>
                  <a:cubicBezTo>
                    <a:pt x="87239" y="84112"/>
                    <a:pt x="87239" y="84112"/>
                    <a:pt x="87239" y="84112"/>
                  </a:cubicBezTo>
                  <a:cubicBezTo>
                    <a:pt x="88343" y="84112"/>
                    <a:pt x="88343" y="84112"/>
                    <a:pt x="88343" y="84112"/>
                  </a:cubicBezTo>
                  <a:cubicBezTo>
                    <a:pt x="89815" y="80747"/>
                    <a:pt x="89815" y="80747"/>
                    <a:pt x="89815" y="80747"/>
                  </a:cubicBezTo>
                  <a:cubicBezTo>
                    <a:pt x="89447" y="76261"/>
                    <a:pt x="89447" y="76261"/>
                    <a:pt x="89447" y="76261"/>
                  </a:cubicBezTo>
                  <a:cubicBezTo>
                    <a:pt x="90552" y="71775"/>
                    <a:pt x="90552" y="71775"/>
                    <a:pt x="90552" y="71775"/>
                  </a:cubicBezTo>
                  <a:cubicBezTo>
                    <a:pt x="103067" y="49345"/>
                    <a:pt x="103067" y="49345"/>
                    <a:pt x="103067" y="49345"/>
                  </a:cubicBezTo>
                  <a:cubicBezTo>
                    <a:pt x="104907" y="45981"/>
                    <a:pt x="104907" y="45981"/>
                    <a:pt x="104907" y="45981"/>
                  </a:cubicBezTo>
                  <a:cubicBezTo>
                    <a:pt x="105644" y="41495"/>
                    <a:pt x="105644" y="41495"/>
                    <a:pt x="105644" y="41495"/>
                  </a:cubicBezTo>
                  <a:cubicBezTo>
                    <a:pt x="107116" y="34766"/>
                    <a:pt x="107116" y="34766"/>
                    <a:pt x="107116" y="34766"/>
                  </a:cubicBezTo>
                  <a:cubicBezTo>
                    <a:pt x="108220" y="34766"/>
                    <a:pt x="108220" y="34766"/>
                    <a:pt x="108220" y="34766"/>
                  </a:cubicBezTo>
                  <a:cubicBezTo>
                    <a:pt x="109325" y="39252"/>
                    <a:pt x="109325" y="39252"/>
                    <a:pt x="109325" y="39252"/>
                  </a:cubicBezTo>
                  <a:cubicBezTo>
                    <a:pt x="110797" y="34766"/>
                    <a:pt x="110797" y="34766"/>
                    <a:pt x="110797" y="34766"/>
                  </a:cubicBezTo>
                  <a:cubicBezTo>
                    <a:pt x="112638" y="28037"/>
                    <a:pt x="112638" y="28037"/>
                    <a:pt x="112638" y="28037"/>
                  </a:cubicBezTo>
                  <a:cubicBezTo>
                    <a:pt x="116687" y="25794"/>
                    <a:pt x="116687" y="25794"/>
                    <a:pt x="116687" y="25794"/>
                  </a:cubicBezTo>
                  <a:cubicBezTo>
                    <a:pt x="117055" y="21308"/>
                    <a:pt x="117055" y="21308"/>
                    <a:pt x="117055" y="21308"/>
                  </a:cubicBezTo>
                  <a:cubicBezTo>
                    <a:pt x="118159" y="15700"/>
                    <a:pt x="118159" y="15700"/>
                    <a:pt x="118159" y="15700"/>
                  </a:cubicBezTo>
                  <a:cubicBezTo>
                    <a:pt x="119631" y="13457"/>
                    <a:pt x="119631" y="13457"/>
                    <a:pt x="119631" y="13457"/>
                  </a:cubicBezTo>
                  <a:cubicBezTo>
                    <a:pt x="120000" y="13457"/>
                    <a:pt x="120000" y="13457"/>
                    <a:pt x="120000" y="13457"/>
                  </a:cubicBezTo>
                  <a:cubicBezTo>
                    <a:pt x="120000" y="0"/>
                    <a:pt x="120000" y="0"/>
                    <a:pt x="120000" y="0"/>
                  </a:cubicBezTo>
                  <a:lnTo>
                    <a:pt x="71042" y="15700"/>
                  </a:lnTo>
                  <a:close/>
                </a:path>
              </a:pathLst>
            </a:custGeom>
            <a:solidFill>
              <a:srgbClr val="FFC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39" name="Shape 1417">
              <a:extLst>
                <a:ext uri="{FF2B5EF4-FFF2-40B4-BE49-F238E27FC236}">
                  <a16:creationId xmlns:a16="http://schemas.microsoft.com/office/drawing/2014/main" id="{3A6966CC-9940-0173-39B8-F1165CA596D4}"/>
                </a:ext>
              </a:extLst>
            </p:cNvPr>
            <p:cNvSpPr/>
            <p:nvPr/>
          </p:nvSpPr>
          <p:spPr>
            <a:xfrm>
              <a:off x="10520466" y="4729626"/>
              <a:ext cx="596467" cy="291908"/>
            </a:xfrm>
            <a:custGeom>
              <a:avLst/>
              <a:gdLst/>
              <a:ahLst/>
              <a:cxnLst/>
              <a:rect l="0" t="0" r="0" b="0"/>
              <a:pathLst>
                <a:path w="120000" h="120000" extrusionOk="0">
                  <a:moveTo>
                    <a:pt x="119263" y="28333"/>
                  </a:moveTo>
                  <a:cubicBezTo>
                    <a:pt x="118527" y="25833"/>
                    <a:pt x="118527" y="25833"/>
                    <a:pt x="118527" y="25833"/>
                  </a:cubicBezTo>
                  <a:cubicBezTo>
                    <a:pt x="117791" y="23333"/>
                    <a:pt x="117791" y="23333"/>
                    <a:pt x="117791" y="23333"/>
                  </a:cubicBezTo>
                  <a:cubicBezTo>
                    <a:pt x="116687" y="23333"/>
                    <a:pt x="116687" y="23333"/>
                    <a:pt x="116687" y="23333"/>
                  </a:cubicBezTo>
                  <a:cubicBezTo>
                    <a:pt x="116319" y="24166"/>
                    <a:pt x="116319" y="24166"/>
                    <a:pt x="116319" y="24166"/>
                  </a:cubicBezTo>
                  <a:cubicBezTo>
                    <a:pt x="115950" y="31666"/>
                    <a:pt x="115950" y="31666"/>
                    <a:pt x="115950" y="31666"/>
                  </a:cubicBezTo>
                  <a:cubicBezTo>
                    <a:pt x="115950" y="33333"/>
                    <a:pt x="115950" y="33333"/>
                    <a:pt x="115950" y="33333"/>
                  </a:cubicBezTo>
                  <a:cubicBezTo>
                    <a:pt x="114846" y="31666"/>
                    <a:pt x="114846" y="31666"/>
                    <a:pt x="114846" y="31666"/>
                  </a:cubicBezTo>
                  <a:cubicBezTo>
                    <a:pt x="114478" y="26666"/>
                    <a:pt x="114478" y="26666"/>
                    <a:pt x="114478" y="26666"/>
                  </a:cubicBezTo>
                  <a:cubicBezTo>
                    <a:pt x="113742" y="23333"/>
                    <a:pt x="113742" y="23333"/>
                    <a:pt x="113742" y="23333"/>
                  </a:cubicBezTo>
                  <a:cubicBezTo>
                    <a:pt x="112638" y="22500"/>
                    <a:pt x="112638" y="22500"/>
                    <a:pt x="112638" y="22500"/>
                  </a:cubicBezTo>
                  <a:cubicBezTo>
                    <a:pt x="110429" y="25000"/>
                    <a:pt x="110429" y="25000"/>
                    <a:pt x="110429" y="25000"/>
                  </a:cubicBezTo>
                  <a:cubicBezTo>
                    <a:pt x="109693" y="25000"/>
                    <a:pt x="109693" y="25000"/>
                    <a:pt x="109693" y="25000"/>
                  </a:cubicBezTo>
                  <a:cubicBezTo>
                    <a:pt x="107484" y="26666"/>
                    <a:pt x="107484" y="26666"/>
                    <a:pt x="107484" y="26666"/>
                  </a:cubicBezTo>
                  <a:cubicBezTo>
                    <a:pt x="106380" y="29166"/>
                    <a:pt x="106380" y="29166"/>
                    <a:pt x="106380" y="29166"/>
                  </a:cubicBezTo>
                  <a:cubicBezTo>
                    <a:pt x="105276" y="32500"/>
                    <a:pt x="105276" y="32500"/>
                    <a:pt x="105276" y="32500"/>
                  </a:cubicBezTo>
                  <a:cubicBezTo>
                    <a:pt x="104907" y="30833"/>
                    <a:pt x="104907" y="30833"/>
                    <a:pt x="104907" y="30833"/>
                  </a:cubicBezTo>
                  <a:cubicBezTo>
                    <a:pt x="104907" y="26666"/>
                    <a:pt x="104907" y="26666"/>
                    <a:pt x="104907" y="26666"/>
                  </a:cubicBezTo>
                  <a:cubicBezTo>
                    <a:pt x="104907" y="25000"/>
                    <a:pt x="104907" y="25000"/>
                    <a:pt x="104907" y="25000"/>
                  </a:cubicBezTo>
                  <a:cubicBezTo>
                    <a:pt x="104171" y="22500"/>
                    <a:pt x="104171" y="22500"/>
                    <a:pt x="104171" y="22500"/>
                  </a:cubicBezTo>
                  <a:cubicBezTo>
                    <a:pt x="103803" y="20833"/>
                    <a:pt x="103803" y="20833"/>
                    <a:pt x="103803" y="20833"/>
                  </a:cubicBezTo>
                  <a:cubicBezTo>
                    <a:pt x="103435" y="19166"/>
                    <a:pt x="103435" y="19166"/>
                    <a:pt x="103435" y="19166"/>
                  </a:cubicBezTo>
                  <a:cubicBezTo>
                    <a:pt x="103435" y="16666"/>
                    <a:pt x="103435" y="16666"/>
                    <a:pt x="103435" y="16666"/>
                  </a:cubicBezTo>
                  <a:cubicBezTo>
                    <a:pt x="103435" y="15000"/>
                    <a:pt x="103435" y="15000"/>
                    <a:pt x="103435" y="15000"/>
                  </a:cubicBezTo>
                  <a:cubicBezTo>
                    <a:pt x="104171" y="13333"/>
                    <a:pt x="104171" y="13333"/>
                    <a:pt x="104171" y="13333"/>
                  </a:cubicBezTo>
                  <a:cubicBezTo>
                    <a:pt x="104171" y="13333"/>
                    <a:pt x="104171" y="13333"/>
                    <a:pt x="104171" y="13333"/>
                  </a:cubicBezTo>
                  <a:cubicBezTo>
                    <a:pt x="104539" y="16666"/>
                    <a:pt x="104539" y="16666"/>
                    <a:pt x="104539" y="16666"/>
                  </a:cubicBezTo>
                  <a:cubicBezTo>
                    <a:pt x="104907" y="21666"/>
                    <a:pt x="104907" y="21666"/>
                    <a:pt x="104907" y="21666"/>
                  </a:cubicBezTo>
                  <a:cubicBezTo>
                    <a:pt x="105644" y="25833"/>
                    <a:pt x="105644" y="25833"/>
                    <a:pt x="105644" y="25833"/>
                  </a:cubicBezTo>
                  <a:cubicBezTo>
                    <a:pt x="106748" y="24166"/>
                    <a:pt x="106748" y="24166"/>
                    <a:pt x="106748" y="24166"/>
                  </a:cubicBezTo>
                  <a:cubicBezTo>
                    <a:pt x="107116" y="23333"/>
                    <a:pt x="107116" y="23333"/>
                    <a:pt x="107116" y="23333"/>
                  </a:cubicBezTo>
                  <a:cubicBezTo>
                    <a:pt x="108220" y="21666"/>
                    <a:pt x="108220" y="21666"/>
                    <a:pt x="108220" y="21666"/>
                  </a:cubicBezTo>
                  <a:cubicBezTo>
                    <a:pt x="108588" y="21666"/>
                    <a:pt x="108588" y="21666"/>
                    <a:pt x="108588" y="21666"/>
                  </a:cubicBezTo>
                  <a:cubicBezTo>
                    <a:pt x="110061" y="20000"/>
                    <a:pt x="110061" y="20000"/>
                    <a:pt x="110061" y="20000"/>
                  </a:cubicBezTo>
                  <a:cubicBezTo>
                    <a:pt x="110429" y="18333"/>
                    <a:pt x="110429" y="18333"/>
                    <a:pt x="110429" y="18333"/>
                  </a:cubicBezTo>
                  <a:cubicBezTo>
                    <a:pt x="112269" y="18333"/>
                    <a:pt x="112269" y="18333"/>
                    <a:pt x="112269" y="18333"/>
                  </a:cubicBezTo>
                  <a:cubicBezTo>
                    <a:pt x="112638" y="15833"/>
                    <a:pt x="112638" y="15833"/>
                    <a:pt x="112638" y="15833"/>
                  </a:cubicBezTo>
                  <a:cubicBezTo>
                    <a:pt x="113006" y="15000"/>
                    <a:pt x="113006" y="15000"/>
                    <a:pt x="113006" y="15000"/>
                  </a:cubicBezTo>
                  <a:cubicBezTo>
                    <a:pt x="113006" y="15000"/>
                    <a:pt x="112638" y="14166"/>
                    <a:pt x="112638" y="13333"/>
                  </a:cubicBezTo>
                  <a:cubicBezTo>
                    <a:pt x="112269" y="13333"/>
                    <a:pt x="112269" y="13333"/>
                    <a:pt x="112269" y="13333"/>
                  </a:cubicBezTo>
                  <a:cubicBezTo>
                    <a:pt x="111533" y="10833"/>
                    <a:pt x="111533" y="10833"/>
                    <a:pt x="111533" y="10833"/>
                  </a:cubicBezTo>
                  <a:cubicBezTo>
                    <a:pt x="111533" y="10000"/>
                    <a:pt x="111533" y="10000"/>
                    <a:pt x="111533" y="10000"/>
                  </a:cubicBezTo>
                  <a:cubicBezTo>
                    <a:pt x="111901" y="10000"/>
                    <a:pt x="111901" y="10000"/>
                    <a:pt x="111901" y="10000"/>
                  </a:cubicBezTo>
                  <a:cubicBezTo>
                    <a:pt x="113742" y="11666"/>
                    <a:pt x="113742" y="11666"/>
                    <a:pt x="113742" y="11666"/>
                  </a:cubicBezTo>
                  <a:cubicBezTo>
                    <a:pt x="114846" y="11666"/>
                    <a:pt x="114846" y="11666"/>
                    <a:pt x="114846" y="11666"/>
                  </a:cubicBezTo>
                  <a:cubicBezTo>
                    <a:pt x="114846" y="9166"/>
                    <a:pt x="114846" y="9166"/>
                    <a:pt x="114846" y="9166"/>
                  </a:cubicBezTo>
                  <a:cubicBezTo>
                    <a:pt x="113742" y="5833"/>
                    <a:pt x="113742" y="5833"/>
                    <a:pt x="113742" y="5833"/>
                  </a:cubicBezTo>
                  <a:cubicBezTo>
                    <a:pt x="113374" y="3333"/>
                    <a:pt x="113374" y="3333"/>
                    <a:pt x="113374" y="3333"/>
                  </a:cubicBezTo>
                  <a:cubicBezTo>
                    <a:pt x="112269" y="0"/>
                    <a:pt x="112269" y="0"/>
                    <a:pt x="112269" y="0"/>
                  </a:cubicBezTo>
                  <a:cubicBezTo>
                    <a:pt x="80245" y="15000"/>
                    <a:pt x="80245" y="15000"/>
                    <a:pt x="80245" y="15000"/>
                  </a:cubicBezTo>
                  <a:cubicBezTo>
                    <a:pt x="57055" y="23333"/>
                    <a:pt x="57055" y="23333"/>
                    <a:pt x="57055" y="23333"/>
                  </a:cubicBezTo>
                  <a:cubicBezTo>
                    <a:pt x="34601" y="29166"/>
                    <a:pt x="34601" y="29166"/>
                    <a:pt x="34601" y="29166"/>
                  </a:cubicBezTo>
                  <a:cubicBezTo>
                    <a:pt x="34601" y="39166"/>
                    <a:pt x="34601" y="39166"/>
                    <a:pt x="34601" y="39166"/>
                  </a:cubicBezTo>
                  <a:cubicBezTo>
                    <a:pt x="34233" y="39166"/>
                    <a:pt x="34233" y="39166"/>
                    <a:pt x="34233" y="39166"/>
                  </a:cubicBezTo>
                  <a:cubicBezTo>
                    <a:pt x="32760" y="40833"/>
                    <a:pt x="32760" y="40833"/>
                    <a:pt x="32760" y="40833"/>
                  </a:cubicBezTo>
                  <a:cubicBezTo>
                    <a:pt x="31656" y="45000"/>
                    <a:pt x="31656" y="45000"/>
                    <a:pt x="31656" y="45000"/>
                  </a:cubicBezTo>
                  <a:cubicBezTo>
                    <a:pt x="31288" y="48333"/>
                    <a:pt x="31288" y="48333"/>
                    <a:pt x="31288" y="48333"/>
                  </a:cubicBezTo>
                  <a:cubicBezTo>
                    <a:pt x="27239" y="50000"/>
                    <a:pt x="27239" y="50000"/>
                    <a:pt x="27239" y="50000"/>
                  </a:cubicBezTo>
                  <a:cubicBezTo>
                    <a:pt x="25398" y="55000"/>
                    <a:pt x="25398" y="55000"/>
                    <a:pt x="25398" y="55000"/>
                  </a:cubicBezTo>
                  <a:cubicBezTo>
                    <a:pt x="23926" y="58333"/>
                    <a:pt x="23926" y="58333"/>
                    <a:pt x="23926" y="58333"/>
                  </a:cubicBezTo>
                  <a:cubicBezTo>
                    <a:pt x="22822" y="55000"/>
                    <a:pt x="22822" y="55000"/>
                    <a:pt x="22822" y="55000"/>
                  </a:cubicBezTo>
                  <a:cubicBezTo>
                    <a:pt x="21717" y="55000"/>
                    <a:pt x="21717" y="55000"/>
                    <a:pt x="21717" y="55000"/>
                  </a:cubicBezTo>
                  <a:cubicBezTo>
                    <a:pt x="20245" y="60000"/>
                    <a:pt x="20245" y="60000"/>
                    <a:pt x="20245" y="60000"/>
                  </a:cubicBezTo>
                  <a:cubicBezTo>
                    <a:pt x="19509" y="63333"/>
                    <a:pt x="19509" y="63333"/>
                    <a:pt x="19509" y="63333"/>
                  </a:cubicBezTo>
                  <a:cubicBezTo>
                    <a:pt x="17668" y="65833"/>
                    <a:pt x="17668" y="65833"/>
                    <a:pt x="17668" y="65833"/>
                  </a:cubicBezTo>
                  <a:cubicBezTo>
                    <a:pt x="5153" y="82500"/>
                    <a:pt x="5153" y="82500"/>
                    <a:pt x="5153" y="82500"/>
                  </a:cubicBezTo>
                  <a:cubicBezTo>
                    <a:pt x="4049" y="85833"/>
                    <a:pt x="4049" y="85833"/>
                    <a:pt x="4049" y="85833"/>
                  </a:cubicBezTo>
                  <a:cubicBezTo>
                    <a:pt x="4417" y="89166"/>
                    <a:pt x="4417" y="89166"/>
                    <a:pt x="4417" y="89166"/>
                  </a:cubicBezTo>
                  <a:cubicBezTo>
                    <a:pt x="2944" y="91666"/>
                    <a:pt x="2944" y="91666"/>
                    <a:pt x="2944" y="91666"/>
                  </a:cubicBezTo>
                  <a:cubicBezTo>
                    <a:pt x="1840" y="91666"/>
                    <a:pt x="1840" y="91666"/>
                    <a:pt x="1840" y="91666"/>
                  </a:cubicBezTo>
                  <a:cubicBezTo>
                    <a:pt x="368" y="95000"/>
                    <a:pt x="368" y="95000"/>
                    <a:pt x="368" y="95000"/>
                  </a:cubicBezTo>
                  <a:cubicBezTo>
                    <a:pt x="368" y="97500"/>
                    <a:pt x="368" y="97500"/>
                    <a:pt x="368" y="97500"/>
                  </a:cubicBezTo>
                  <a:cubicBezTo>
                    <a:pt x="0" y="102500"/>
                    <a:pt x="0" y="102500"/>
                    <a:pt x="0" y="102500"/>
                  </a:cubicBezTo>
                  <a:cubicBezTo>
                    <a:pt x="0" y="103333"/>
                    <a:pt x="0" y="103333"/>
                    <a:pt x="0" y="103333"/>
                  </a:cubicBezTo>
                  <a:cubicBezTo>
                    <a:pt x="0" y="103333"/>
                    <a:pt x="0" y="103333"/>
                    <a:pt x="0" y="103333"/>
                  </a:cubicBezTo>
                  <a:cubicBezTo>
                    <a:pt x="20613" y="98333"/>
                    <a:pt x="20613" y="98333"/>
                    <a:pt x="20613" y="98333"/>
                  </a:cubicBezTo>
                  <a:cubicBezTo>
                    <a:pt x="26871" y="87500"/>
                    <a:pt x="26871" y="87500"/>
                    <a:pt x="26871" y="87500"/>
                  </a:cubicBezTo>
                  <a:cubicBezTo>
                    <a:pt x="30552" y="86666"/>
                    <a:pt x="30552" y="86666"/>
                    <a:pt x="30552" y="86666"/>
                  </a:cubicBezTo>
                  <a:cubicBezTo>
                    <a:pt x="33128" y="86666"/>
                    <a:pt x="33128" y="86666"/>
                    <a:pt x="33128" y="86666"/>
                  </a:cubicBezTo>
                  <a:cubicBezTo>
                    <a:pt x="37546" y="88333"/>
                    <a:pt x="37546" y="88333"/>
                    <a:pt x="37546" y="88333"/>
                  </a:cubicBezTo>
                  <a:cubicBezTo>
                    <a:pt x="39754" y="87500"/>
                    <a:pt x="39754" y="87500"/>
                    <a:pt x="39754" y="87500"/>
                  </a:cubicBezTo>
                  <a:cubicBezTo>
                    <a:pt x="40858" y="86666"/>
                    <a:pt x="40858" y="86666"/>
                    <a:pt x="40858" y="86666"/>
                  </a:cubicBezTo>
                  <a:cubicBezTo>
                    <a:pt x="42699" y="84166"/>
                    <a:pt x="42699" y="84166"/>
                    <a:pt x="42699" y="84166"/>
                  </a:cubicBezTo>
                  <a:cubicBezTo>
                    <a:pt x="45276" y="83333"/>
                    <a:pt x="45276" y="83333"/>
                    <a:pt x="45276" y="83333"/>
                  </a:cubicBezTo>
                  <a:cubicBezTo>
                    <a:pt x="48588" y="84166"/>
                    <a:pt x="48588" y="84166"/>
                    <a:pt x="48588" y="84166"/>
                  </a:cubicBezTo>
                  <a:cubicBezTo>
                    <a:pt x="50797" y="86666"/>
                    <a:pt x="50797" y="86666"/>
                    <a:pt x="50797" y="86666"/>
                  </a:cubicBezTo>
                  <a:cubicBezTo>
                    <a:pt x="52269" y="95000"/>
                    <a:pt x="52269" y="95000"/>
                    <a:pt x="52269" y="95000"/>
                  </a:cubicBezTo>
                  <a:cubicBezTo>
                    <a:pt x="66993" y="88333"/>
                    <a:pt x="66993" y="88333"/>
                    <a:pt x="66993" y="88333"/>
                  </a:cubicBezTo>
                  <a:cubicBezTo>
                    <a:pt x="86134" y="120000"/>
                    <a:pt x="86134" y="120000"/>
                    <a:pt x="86134" y="120000"/>
                  </a:cubicBezTo>
                  <a:cubicBezTo>
                    <a:pt x="89447" y="116666"/>
                    <a:pt x="89447" y="116666"/>
                    <a:pt x="89447" y="116666"/>
                  </a:cubicBezTo>
                  <a:cubicBezTo>
                    <a:pt x="90184" y="116666"/>
                    <a:pt x="90184" y="116666"/>
                    <a:pt x="90184" y="116666"/>
                  </a:cubicBezTo>
                  <a:cubicBezTo>
                    <a:pt x="93496" y="115833"/>
                    <a:pt x="93496" y="115833"/>
                    <a:pt x="93496" y="115833"/>
                  </a:cubicBezTo>
                  <a:cubicBezTo>
                    <a:pt x="94233" y="113333"/>
                    <a:pt x="94233" y="113333"/>
                    <a:pt x="94233" y="113333"/>
                  </a:cubicBezTo>
                  <a:cubicBezTo>
                    <a:pt x="95337" y="110833"/>
                    <a:pt x="95337" y="110833"/>
                    <a:pt x="95337" y="110833"/>
                  </a:cubicBezTo>
                  <a:cubicBezTo>
                    <a:pt x="95705" y="103333"/>
                    <a:pt x="95705" y="103333"/>
                    <a:pt x="95705" y="103333"/>
                  </a:cubicBezTo>
                  <a:cubicBezTo>
                    <a:pt x="96809" y="97500"/>
                    <a:pt x="96809" y="97500"/>
                    <a:pt x="96809" y="97500"/>
                  </a:cubicBezTo>
                  <a:cubicBezTo>
                    <a:pt x="98282" y="92500"/>
                    <a:pt x="98282" y="92500"/>
                    <a:pt x="98282" y="92500"/>
                  </a:cubicBezTo>
                  <a:cubicBezTo>
                    <a:pt x="99754" y="90000"/>
                    <a:pt x="99754" y="90000"/>
                    <a:pt x="99754" y="90000"/>
                  </a:cubicBezTo>
                  <a:cubicBezTo>
                    <a:pt x="99754" y="88333"/>
                    <a:pt x="99754" y="88333"/>
                    <a:pt x="99754" y="88333"/>
                  </a:cubicBezTo>
                  <a:cubicBezTo>
                    <a:pt x="99386" y="85833"/>
                    <a:pt x="99386" y="85833"/>
                    <a:pt x="99386" y="85833"/>
                  </a:cubicBezTo>
                  <a:cubicBezTo>
                    <a:pt x="99018" y="84166"/>
                    <a:pt x="99018" y="84166"/>
                    <a:pt x="99018" y="84166"/>
                  </a:cubicBezTo>
                  <a:cubicBezTo>
                    <a:pt x="99386" y="83333"/>
                    <a:pt x="99386" y="83333"/>
                    <a:pt x="99386" y="83333"/>
                  </a:cubicBezTo>
                  <a:cubicBezTo>
                    <a:pt x="99386" y="81666"/>
                    <a:pt x="99386" y="81666"/>
                    <a:pt x="99386" y="81666"/>
                  </a:cubicBezTo>
                  <a:cubicBezTo>
                    <a:pt x="99754" y="80833"/>
                    <a:pt x="99754" y="80833"/>
                    <a:pt x="99754" y="80833"/>
                  </a:cubicBezTo>
                  <a:cubicBezTo>
                    <a:pt x="100122" y="80833"/>
                    <a:pt x="100122" y="80833"/>
                    <a:pt x="100122" y="80833"/>
                  </a:cubicBezTo>
                  <a:cubicBezTo>
                    <a:pt x="100490" y="81666"/>
                    <a:pt x="100490" y="81666"/>
                    <a:pt x="100490" y="81666"/>
                  </a:cubicBezTo>
                  <a:cubicBezTo>
                    <a:pt x="100858" y="85000"/>
                    <a:pt x="100858" y="85000"/>
                    <a:pt x="100858" y="85000"/>
                  </a:cubicBezTo>
                  <a:cubicBezTo>
                    <a:pt x="102331" y="83333"/>
                    <a:pt x="102331" y="83333"/>
                    <a:pt x="102331" y="83333"/>
                  </a:cubicBezTo>
                  <a:cubicBezTo>
                    <a:pt x="103435" y="82500"/>
                    <a:pt x="103435" y="82500"/>
                    <a:pt x="103435" y="82500"/>
                  </a:cubicBezTo>
                  <a:cubicBezTo>
                    <a:pt x="103435" y="80833"/>
                    <a:pt x="103435" y="80833"/>
                    <a:pt x="103435" y="80833"/>
                  </a:cubicBezTo>
                  <a:cubicBezTo>
                    <a:pt x="103435" y="79166"/>
                    <a:pt x="103435" y="79166"/>
                    <a:pt x="103435" y="79166"/>
                  </a:cubicBezTo>
                  <a:cubicBezTo>
                    <a:pt x="104171" y="78333"/>
                    <a:pt x="104171" y="78333"/>
                    <a:pt x="104171" y="78333"/>
                  </a:cubicBezTo>
                  <a:cubicBezTo>
                    <a:pt x="104171" y="77500"/>
                    <a:pt x="104171" y="77500"/>
                    <a:pt x="104171" y="77500"/>
                  </a:cubicBezTo>
                  <a:cubicBezTo>
                    <a:pt x="104907" y="79166"/>
                    <a:pt x="104907" y="79166"/>
                    <a:pt x="104907" y="79166"/>
                  </a:cubicBezTo>
                  <a:cubicBezTo>
                    <a:pt x="106748" y="77500"/>
                    <a:pt x="106748" y="77500"/>
                    <a:pt x="106748" y="77500"/>
                  </a:cubicBezTo>
                  <a:cubicBezTo>
                    <a:pt x="108220" y="75833"/>
                    <a:pt x="108220" y="75833"/>
                    <a:pt x="108220" y="75833"/>
                  </a:cubicBezTo>
                  <a:cubicBezTo>
                    <a:pt x="108957" y="75833"/>
                    <a:pt x="108957" y="75833"/>
                    <a:pt x="108957" y="75833"/>
                  </a:cubicBezTo>
                  <a:cubicBezTo>
                    <a:pt x="110061" y="74166"/>
                    <a:pt x="110061" y="74166"/>
                    <a:pt x="110061" y="74166"/>
                  </a:cubicBezTo>
                  <a:cubicBezTo>
                    <a:pt x="110797" y="73333"/>
                    <a:pt x="110797" y="73333"/>
                    <a:pt x="110797" y="73333"/>
                  </a:cubicBezTo>
                  <a:cubicBezTo>
                    <a:pt x="110797" y="72500"/>
                    <a:pt x="110797" y="72500"/>
                    <a:pt x="110797" y="72500"/>
                  </a:cubicBezTo>
                  <a:cubicBezTo>
                    <a:pt x="112269" y="75000"/>
                    <a:pt x="112269" y="75000"/>
                    <a:pt x="112269" y="75000"/>
                  </a:cubicBezTo>
                  <a:cubicBezTo>
                    <a:pt x="113006" y="71666"/>
                    <a:pt x="113006" y="71666"/>
                    <a:pt x="113006" y="71666"/>
                  </a:cubicBezTo>
                  <a:cubicBezTo>
                    <a:pt x="113374" y="67500"/>
                    <a:pt x="113374" y="67500"/>
                    <a:pt x="113374" y="67500"/>
                  </a:cubicBezTo>
                  <a:cubicBezTo>
                    <a:pt x="113742" y="65833"/>
                    <a:pt x="113742" y="65833"/>
                    <a:pt x="113742" y="65833"/>
                  </a:cubicBezTo>
                  <a:cubicBezTo>
                    <a:pt x="114110" y="64166"/>
                    <a:pt x="114110" y="64166"/>
                    <a:pt x="114110" y="64166"/>
                  </a:cubicBezTo>
                  <a:cubicBezTo>
                    <a:pt x="114110" y="64166"/>
                    <a:pt x="113742" y="61666"/>
                    <a:pt x="113374" y="62500"/>
                  </a:cubicBezTo>
                  <a:cubicBezTo>
                    <a:pt x="113006" y="62500"/>
                    <a:pt x="111901" y="63333"/>
                    <a:pt x="111901" y="63333"/>
                  </a:cubicBezTo>
                  <a:cubicBezTo>
                    <a:pt x="111533" y="65000"/>
                    <a:pt x="111533" y="65000"/>
                    <a:pt x="111533" y="65000"/>
                  </a:cubicBezTo>
                  <a:cubicBezTo>
                    <a:pt x="110797" y="65000"/>
                    <a:pt x="110797" y="65000"/>
                    <a:pt x="110797" y="65000"/>
                  </a:cubicBezTo>
                  <a:cubicBezTo>
                    <a:pt x="110061" y="66666"/>
                    <a:pt x="110061" y="66666"/>
                    <a:pt x="110061" y="66666"/>
                  </a:cubicBezTo>
                  <a:cubicBezTo>
                    <a:pt x="108220" y="69166"/>
                    <a:pt x="108220" y="69166"/>
                    <a:pt x="108220" y="69166"/>
                  </a:cubicBezTo>
                  <a:cubicBezTo>
                    <a:pt x="107116" y="69166"/>
                    <a:pt x="107116" y="69166"/>
                    <a:pt x="107116" y="69166"/>
                  </a:cubicBezTo>
                  <a:cubicBezTo>
                    <a:pt x="104171" y="67500"/>
                    <a:pt x="104171" y="67500"/>
                    <a:pt x="104171" y="67500"/>
                  </a:cubicBezTo>
                  <a:cubicBezTo>
                    <a:pt x="104171" y="65833"/>
                    <a:pt x="104171" y="65833"/>
                    <a:pt x="104171" y="65833"/>
                  </a:cubicBezTo>
                  <a:cubicBezTo>
                    <a:pt x="104171" y="64166"/>
                    <a:pt x="104171" y="64166"/>
                    <a:pt x="104171" y="64166"/>
                  </a:cubicBezTo>
                  <a:cubicBezTo>
                    <a:pt x="104539" y="63333"/>
                    <a:pt x="104539" y="63333"/>
                    <a:pt x="104539" y="63333"/>
                  </a:cubicBezTo>
                  <a:cubicBezTo>
                    <a:pt x="105276" y="63333"/>
                    <a:pt x="105276" y="63333"/>
                    <a:pt x="105276" y="63333"/>
                  </a:cubicBezTo>
                  <a:cubicBezTo>
                    <a:pt x="106012" y="64166"/>
                    <a:pt x="106012" y="64166"/>
                    <a:pt x="106012" y="64166"/>
                  </a:cubicBezTo>
                  <a:cubicBezTo>
                    <a:pt x="107852" y="64166"/>
                    <a:pt x="107852" y="64166"/>
                    <a:pt x="107852" y="64166"/>
                  </a:cubicBezTo>
                  <a:cubicBezTo>
                    <a:pt x="108957" y="62500"/>
                    <a:pt x="108957" y="62500"/>
                    <a:pt x="108957" y="62500"/>
                  </a:cubicBezTo>
                  <a:cubicBezTo>
                    <a:pt x="108957" y="60833"/>
                    <a:pt x="108957" y="60833"/>
                    <a:pt x="108957" y="60833"/>
                  </a:cubicBezTo>
                  <a:cubicBezTo>
                    <a:pt x="108588" y="59166"/>
                    <a:pt x="108588" y="59166"/>
                    <a:pt x="108588" y="59166"/>
                  </a:cubicBezTo>
                  <a:cubicBezTo>
                    <a:pt x="108957" y="56666"/>
                    <a:pt x="108957" y="56666"/>
                    <a:pt x="108957" y="56666"/>
                  </a:cubicBezTo>
                  <a:cubicBezTo>
                    <a:pt x="109325" y="56666"/>
                    <a:pt x="109325" y="56666"/>
                    <a:pt x="109325" y="56666"/>
                  </a:cubicBezTo>
                  <a:cubicBezTo>
                    <a:pt x="110061" y="55000"/>
                    <a:pt x="110061" y="55000"/>
                    <a:pt x="110061" y="55000"/>
                  </a:cubicBezTo>
                  <a:cubicBezTo>
                    <a:pt x="110061" y="53333"/>
                    <a:pt x="110061" y="53333"/>
                    <a:pt x="110061" y="53333"/>
                  </a:cubicBezTo>
                  <a:cubicBezTo>
                    <a:pt x="108957" y="53333"/>
                    <a:pt x="108957" y="53333"/>
                    <a:pt x="108957" y="53333"/>
                  </a:cubicBezTo>
                  <a:cubicBezTo>
                    <a:pt x="106748" y="50833"/>
                    <a:pt x="106748" y="50833"/>
                    <a:pt x="106748" y="50833"/>
                  </a:cubicBezTo>
                  <a:cubicBezTo>
                    <a:pt x="104171" y="50000"/>
                    <a:pt x="104171" y="50000"/>
                    <a:pt x="104171" y="50000"/>
                  </a:cubicBezTo>
                  <a:cubicBezTo>
                    <a:pt x="103067" y="48333"/>
                    <a:pt x="103067" y="48333"/>
                    <a:pt x="103067" y="48333"/>
                  </a:cubicBezTo>
                  <a:cubicBezTo>
                    <a:pt x="103067" y="47500"/>
                    <a:pt x="103067" y="47500"/>
                    <a:pt x="103067" y="47500"/>
                  </a:cubicBezTo>
                  <a:cubicBezTo>
                    <a:pt x="104539" y="47500"/>
                    <a:pt x="104539" y="47500"/>
                    <a:pt x="104539" y="47500"/>
                  </a:cubicBezTo>
                  <a:cubicBezTo>
                    <a:pt x="106748" y="47500"/>
                    <a:pt x="106748" y="47500"/>
                    <a:pt x="106748" y="47500"/>
                  </a:cubicBezTo>
                  <a:cubicBezTo>
                    <a:pt x="108220" y="49166"/>
                    <a:pt x="108220" y="49166"/>
                    <a:pt x="108220" y="49166"/>
                  </a:cubicBezTo>
                  <a:cubicBezTo>
                    <a:pt x="108588" y="47500"/>
                    <a:pt x="108588" y="47500"/>
                    <a:pt x="108588" y="47500"/>
                  </a:cubicBezTo>
                  <a:cubicBezTo>
                    <a:pt x="108220" y="45833"/>
                    <a:pt x="108220" y="45833"/>
                    <a:pt x="108220" y="45833"/>
                  </a:cubicBezTo>
                  <a:cubicBezTo>
                    <a:pt x="107852" y="45000"/>
                    <a:pt x="107852" y="45000"/>
                    <a:pt x="107852" y="45000"/>
                  </a:cubicBezTo>
                  <a:cubicBezTo>
                    <a:pt x="107484" y="43333"/>
                    <a:pt x="107484" y="43333"/>
                    <a:pt x="107484" y="43333"/>
                  </a:cubicBezTo>
                  <a:cubicBezTo>
                    <a:pt x="108220" y="42500"/>
                    <a:pt x="108220" y="42500"/>
                    <a:pt x="108220" y="42500"/>
                  </a:cubicBezTo>
                  <a:cubicBezTo>
                    <a:pt x="109325" y="42500"/>
                    <a:pt x="109325" y="42500"/>
                    <a:pt x="109325" y="42500"/>
                  </a:cubicBezTo>
                  <a:cubicBezTo>
                    <a:pt x="109693" y="46666"/>
                    <a:pt x="109693" y="46666"/>
                    <a:pt x="109693" y="46666"/>
                  </a:cubicBezTo>
                  <a:cubicBezTo>
                    <a:pt x="110429" y="48333"/>
                    <a:pt x="110429" y="48333"/>
                    <a:pt x="110429" y="48333"/>
                  </a:cubicBezTo>
                  <a:cubicBezTo>
                    <a:pt x="111533" y="48333"/>
                    <a:pt x="111533" y="48333"/>
                    <a:pt x="111533" y="48333"/>
                  </a:cubicBezTo>
                  <a:cubicBezTo>
                    <a:pt x="111901" y="47500"/>
                    <a:pt x="111901" y="47500"/>
                    <a:pt x="111901" y="47500"/>
                  </a:cubicBezTo>
                  <a:cubicBezTo>
                    <a:pt x="112638" y="48333"/>
                    <a:pt x="112638" y="48333"/>
                    <a:pt x="112638" y="48333"/>
                  </a:cubicBezTo>
                  <a:cubicBezTo>
                    <a:pt x="114110" y="48333"/>
                    <a:pt x="114110" y="48333"/>
                    <a:pt x="114110" y="48333"/>
                  </a:cubicBezTo>
                  <a:cubicBezTo>
                    <a:pt x="116319" y="48333"/>
                    <a:pt x="116319" y="48333"/>
                    <a:pt x="116319" y="48333"/>
                  </a:cubicBezTo>
                  <a:cubicBezTo>
                    <a:pt x="116687" y="47500"/>
                    <a:pt x="116687" y="47500"/>
                    <a:pt x="116687" y="47500"/>
                  </a:cubicBezTo>
                  <a:cubicBezTo>
                    <a:pt x="116687" y="44166"/>
                    <a:pt x="116687" y="44166"/>
                    <a:pt x="116687" y="44166"/>
                  </a:cubicBezTo>
                  <a:cubicBezTo>
                    <a:pt x="117055" y="42500"/>
                    <a:pt x="117055" y="42500"/>
                    <a:pt x="117055" y="42500"/>
                  </a:cubicBezTo>
                  <a:cubicBezTo>
                    <a:pt x="117423" y="40000"/>
                    <a:pt x="117423" y="40000"/>
                    <a:pt x="117423" y="40000"/>
                  </a:cubicBezTo>
                  <a:cubicBezTo>
                    <a:pt x="117423" y="38333"/>
                    <a:pt x="117423" y="38333"/>
                    <a:pt x="117423" y="38333"/>
                  </a:cubicBezTo>
                  <a:cubicBezTo>
                    <a:pt x="117791" y="35000"/>
                    <a:pt x="117791" y="35000"/>
                    <a:pt x="117791" y="35000"/>
                  </a:cubicBezTo>
                  <a:cubicBezTo>
                    <a:pt x="118527" y="35000"/>
                    <a:pt x="118527" y="35000"/>
                    <a:pt x="118527" y="35000"/>
                  </a:cubicBezTo>
                  <a:cubicBezTo>
                    <a:pt x="118895" y="36666"/>
                    <a:pt x="118895" y="36666"/>
                    <a:pt x="118895" y="36666"/>
                  </a:cubicBezTo>
                  <a:cubicBezTo>
                    <a:pt x="119631" y="35000"/>
                    <a:pt x="119631" y="35000"/>
                    <a:pt x="119631" y="35000"/>
                  </a:cubicBezTo>
                  <a:cubicBezTo>
                    <a:pt x="119631" y="32500"/>
                    <a:pt x="119631" y="32500"/>
                    <a:pt x="119631" y="32500"/>
                  </a:cubicBezTo>
                  <a:cubicBezTo>
                    <a:pt x="120000" y="30833"/>
                    <a:pt x="120000" y="30833"/>
                    <a:pt x="120000" y="30833"/>
                  </a:cubicBezTo>
                  <a:lnTo>
                    <a:pt x="119263" y="28333"/>
                  </a:lnTo>
                  <a:close/>
                </a:path>
              </a:pathLst>
            </a:custGeom>
            <a:solidFill>
              <a:srgbClr val="FFFF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highlight>
                  <a:srgbClr val="FFC000"/>
                </a:highlight>
                <a:uLnTx/>
                <a:uFillTx/>
                <a:latin typeface="Calibri" panose="020F0502020204030204" pitchFamily="34" charset="0"/>
                <a:ea typeface="Source Sans Pro"/>
                <a:cs typeface="Calibri" panose="020F0502020204030204" pitchFamily="34" charset="0"/>
                <a:sym typeface="Source Sans Pro"/>
              </a:endParaRPr>
            </a:p>
          </p:txBody>
        </p:sp>
        <p:sp>
          <p:nvSpPr>
            <p:cNvPr id="340" name="Shape 1418">
              <a:extLst>
                <a:ext uri="{FF2B5EF4-FFF2-40B4-BE49-F238E27FC236}">
                  <a16:creationId xmlns:a16="http://schemas.microsoft.com/office/drawing/2014/main" id="{E530110E-476A-B9AE-F32A-B442DAF53CB1}"/>
                </a:ext>
              </a:extLst>
            </p:cNvPr>
            <p:cNvSpPr/>
            <p:nvPr/>
          </p:nvSpPr>
          <p:spPr>
            <a:xfrm>
              <a:off x="10434020" y="4968899"/>
              <a:ext cx="367388" cy="437864"/>
            </a:xfrm>
            <a:custGeom>
              <a:avLst/>
              <a:gdLst/>
              <a:ahLst/>
              <a:cxnLst/>
              <a:rect l="0" t="0" r="0" b="0"/>
              <a:pathLst>
                <a:path w="120000" h="120000" extrusionOk="0">
                  <a:moveTo>
                    <a:pt x="118208" y="71111"/>
                  </a:moveTo>
                  <a:cubicBezTo>
                    <a:pt x="117014" y="70555"/>
                    <a:pt x="117014" y="70555"/>
                    <a:pt x="117014" y="70555"/>
                  </a:cubicBezTo>
                  <a:cubicBezTo>
                    <a:pt x="116417" y="68888"/>
                    <a:pt x="116417" y="68888"/>
                    <a:pt x="116417" y="68888"/>
                  </a:cubicBezTo>
                  <a:cubicBezTo>
                    <a:pt x="116417" y="66666"/>
                    <a:pt x="116417" y="66666"/>
                    <a:pt x="116417" y="66666"/>
                  </a:cubicBezTo>
                  <a:cubicBezTo>
                    <a:pt x="116417" y="66111"/>
                    <a:pt x="116417" y="66111"/>
                    <a:pt x="116417" y="66111"/>
                  </a:cubicBezTo>
                  <a:cubicBezTo>
                    <a:pt x="114029" y="63888"/>
                    <a:pt x="114029" y="63888"/>
                    <a:pt x="114029" y="63888"/>
                  </a:cubicBezTo>
                  <a:cubicBezTo>
                    <a:pt x="113432" y="62222"/>
                    <a:pt x="113432" y="62222"/>
                    <a:pt x="113432" y="62222"/>
                  </a:cubicBezTo>
                  <a:cubicBezTo>
                    <a:pt x="113432" y="61111"/>
                    <a:pt x="113432" y="61111"/>
                    <a:pt x="113432" y="61111"/>
                  </a:cubicBezTo>
                  <a:cubicBezTo>
                    <a:pt x="113432" y="60555"/>
                    <a:pt x="113432" y="60555"/>
                    <a:pt x="113432" y="60555"/>
                  </a:cubicBezTo>
                  <a:cubicBezTo>
                    <a:pt x="111641" y="59444"/>
                    <a:pt x="111641" y="59444"/>
                    <a:pt x="111641" y="59444"/>
                  </a:cubicBezTo>
                  <a:cubicBezTo>
                    <a:pt x="109850" y="58888"/>
                    <a:pt x="109850" y="58888"/>
                    <a:pt x="109850" y="58888"/>
                  </a:cubicBezTo>
                  <a:cubicBezTo>
                    <a:pt x="109253" y="58888"/>
                    <a:pt x="109253" y="58888"/>
                    <a:pt x="109253" y="58888"/>
                  </a:cubicBezTo>
                  <a:cubicBezTo>
                    <a:pt x="108656" y="57777"/>
                    <a:pt x="108656" y="57777"/>
                    <a:pt x="108656" y="57777"/>
                  </a:cubicBezTo>
                  <a:cubicBezTo>
                    <a:pt x="108059" y="56111"/>
                    <a:pt x="108059" y="56111"/>
                    <a:pt x="108059" y="56111"/>
                  </a:cubicBezTo>
                  <a:cubicBezTo>
                    <a:pt x="108059" y="55000"/>
                    <a:pt x="108059" y="55000"/>
                    <a:pt x="108059" y="55000"/>
                  </a:cubicBezTo>
                  <a:cubicBezTo>
                    <a:pt x="106865" y="53333"/>
                    <a:pt x="106865" y="53333"/>
                    <a:pt x="106865" y="53333"/>
                  </a:cubicBezTo>
                  <a:cubicBezTo>
                    <a:pt x="105074" y="50555"/>
                    <a:pt x="105074" y="50555"/>
                    <a:pt x="105074" y="50555"/>
                  </a:cubicBezTo>
                  <a:cubicBezTo>
                    <a:pt x="103880" y="49444"/>
                    <a:pt x="103880" y="49444"/>
                    <a:pt x="103880" y="49444"/>
                  </a:cubicBezTo>
                  <a:cubicBezTo>
                    <a:pt x="102089" y="48333"/>
                    <a:pt x="102089" y="48333"/>
                    <a:pt x="102089" y="48333"/>
                  </a:cubicBezTo>
                  <a:cubicBezTo>
                    <a:pt x="100298" y="46666"/>
                    <a:pt x="100298" y="46666"/>
                    <a:pt x="100298" y="46666"/>
                  </a:cubicBezTo>
                  <a:cubicBezTo>
                    <a:pt x="98507" y="45000"/>
                    <a:pt x="98507" y="45000"/>
                    <a:pt x="98507" y="45000"/>
                  </a:cubicBezTo>
                  <a:cubicBezTo>
                    <a:pt x="94328" y="43333"/>
                    <a:pt x="94328" y="43333"/>
                    <a:pt x="94328" y="43333"/>
                  </a:cubicBezTo>
                  <a:cubicBezTo>
                    <a:pt x="91343" y="39444"/>
                    <a:pt x="91343" y="39444"/>
                    <a:pt x="91343" y="39444"/>
                  </a:cubicBezTo>
                  <a:cubicBezTo>
                    <a:pt x="87761" y="35000"/>
                    <a:pt x="87761" y="35000"/>
                    <a:pt x="87761" y="35000"/>
                  </a:cubicBezTo>
                  <a:cubicBezTo>
                    <a:pt x="84776" y="32777"/>
                    <a:pt x="84776" y="32777"/>
                    <a:pt x="84776" y="32777"/>
                  </a:cubicBezTo>
                  <a:cubicBezTo>
                    <a:pt x="75223" y="25555"/>
                    <a:pt x="75223" y="25555"/>
                    <a:pt x="75223" y="25555"/>
                  </a:cubicBezTo>
                  <a:cubicBezTo>
                    <a:pt x="72238" y="22222"/>
                    <a:pt x="72238" y="22222"/>
                    <a:pt x="72238" y="22222"/>
                  </a:cubicBezTo>
                  <a:cubicBezTo>
                    <a:pt x="69253" y="19444"/>
                    <a:pt x="69253" y="19444"/>
                    <a:pt x="69253" y="19444"/>
                  </a:cubicBezTo>
                  <a:cubicBezTo>
                    <a:pt x="68059" y="17222"/>
                    <a:pt x="68059" y="17222"/>
                    <a:pt x="68059" y="17222"/>
                  </a:cubicBezTo>
                  <a:cubicBezTo>
                    <a:pt x="66268" y="15000"/>
                    <a:pt x="66268" y="15000"/>
                    <a:pt x="66268" y="15000"/>
                  </a:cubicBezTo>
                  <a:cubicBezTo>
                    <a:pt x="64477" y="13333"/>
                    <a:pt x="64477" y="13333"/>
                    <a:pt x="64477" y="13333"/>
                  </a:cubicBezTo>
                  <a:cubicBezTo>
                    <a:pt x="57313" y="10555"/>
                    <a:pt x="57313" y="10555"/>
                    <a:pt x="57313" y="10555"/>
                  </a:cubicBezTo>
                  <a:cubicBezTo>
                    <a:pt x="56119" y="8888"/>
                    <a:pt x="56119" y="8888"/>
                    <a:pt x="56119" y="8888"/>
                  </a:cubicBezTo>
                  <a:cubicBezTo>
                    <a:pt x="54925" y="7777"/>
                    <a:pt x="54925" y="7777"/>
                    <a:pt x="54925" y="7777"/>
                  </a:cubicBezTo>
                  <a:cubicBezTo>
                    <a:pt x="54925" y="6111"/>
                    <a:pt x="54925" y="6111"/>
                    <a:pt x="54925" y="6111"/>
                  </a:cubicBezTo>
                  <a:cubicBezTo>
                    <a:pt x="57910" y="4444"/>
                    <a:pt x="57910" y="4444"/>
                    <a:pt x="57910" y="4444"/>
                  </a:cubicBezTo>
                  <a:cubicBezTo>
                    <a:pt x="60298" y="2777"/>
                    <a:pt x="60298" y="2777"/>
                    <a:pt x="60298" y="2777"/>
                  </a:cubicBezTo>
                  <a:cubicBezTo>
                    <a:pt x="61492" y="2222"/>
                    <a:pt x="61492" y="2222"/>
                    <a:pt x="61492" y="2222"/>
                  </a:cubicBezTo>
                  <a:cubicBezTo>
                    <a:pt x="61492" y="1111"/>
                    <a:pt x="61492" y="1111"/>
                    <a:pt x="61492" y="1111"/>
                  </a:cubicBezTo>
                  <a:cubicBezTo>
                    <a:pt x="62089" y="0"/>
                    <a:pt x="62089" y="0"/>
                    <a:pt x="62089" y="0"/>
                  </a:cubicBezTo>
                  <a:cubicBezTo>
                    <a:pt x="62089" y="0"/>
                    <a:pt x="62089" y="0"/>
                    <a:pt x="62089" y="0"/>
                  </a:cubicBezTo>
                  <a:cubicBezTo>
                    <a:pt x="28656" y="3333"/>
                    <a:pt x="28656" y="3333"/>
                    <a:pt x="28656" y="3333"/>
                  </a:cubicBezTo>
                  <a:cubicBezTo>
                    <a:pt x="28656" y="3333"/>
                    <a:pt x="28656" y="3333"/>
                    <a:pt x="28656" y="3333"/>
                  </a:cubicBezTo>
                  <a:cubicBezTo>
                    <a:pt x="0" y="5555"/>
                    <a:pt x="0" y="5555"/>
                    <a:pt x="0" y="5555"/>
                  </a:cubicBezTo>
                  <a:cubicBezTo>
                    <a:pt x="1791" y="13333"/>
                    <a:pt x="1791" y="13333"/>
                    <a:pt x="1791" y="13333"/>
                  </a:cubicBezTo>
                  <a:cubicBezTo>
                    <a:pt x="6567" y="32222"/>
                    <a:pt x="6567" y="32222"/>
                    <a:pt x="6567" y="32222"/>
                  </a:cubicBezTo>
                  <a:cubicBezTo>
                    <a:pt x="13731" y="54444"/>
                    <a:pt x="13731" y="54444"/>
                    <a:pt x="13731" y="54444"/>
                  </a:cubicBezTo>
                  <a:cubicBezTo>
                    <a:pt x="14925" y="59444"/>
                    <a:pt x="14925" y="59444"/>
                    <a:pt x="14925" y="59444"/>
                  </a:cubicBezTo>
                  <a:cubicBezTo>
                    <a:pt x="19701" y="67777"/>
                    <a:pt x="19701" y="67777"/>
                    <a:pt x="19701" y="67777"/>
                  </a:cubicBezTo>
                  <a:cubicBezTo>
                    <a:pt x="22686" y="71111"/>
                    <a:pt x="22686" y="71111"/>
                    <a:pt x="22686" y="71111"/>
                  </a:cubicBezTo>
                  <a:cubicBezTo>
                    <a:pt x="22686" y="73333"/>
                    <a:pt x="22686" y="73333"/>
                    <a:pt x="22686" y="73333"/>
                  </a:cubicBezTo>
                  <a:cubicBezTo>
                    <a:pt x="23283" y="76111"/>
                    <a:pt x="23283" y="76111"/>
                    <a:pt x="23283" y="76111"/>
                  </a:cubicBezTo>
                  <a:cubicBezTo>
                    <a:pt x="25074" y="77222"/>
                    <a:pt x="25074" y="77222"/>
                    <a:pt x="25074" y="77222"/>
                  </a:cubicBezTo>
                  <a:cubicBezTo>
                    <a:pt x="23880" y="80000"/>
                    <a:pt x="23880" y="80000"/>
                    <a:pt x="23880" y="80000"/>
                  </a:cubicBezTo>
                  <a:cubicBezTo>
                    <a:pt x="20895" y="81666"/>
                    <a:pt x="20895" y="81666"/>
                    <a:pt x="20895" y="81666"/>
                  </a:cubicBezTo>
                  <a:cubicBezTo>
                    <a:pt x="23283" y="83333"/>
                    <a:pt x="23283" y="83333"/>
                    <a:pt x="23283" y="83333"/>
                  </a:cubicBezTo>
                  <a:cubicBezTo>
                    <a:pt x="22686" y="86111"/>
                    <a:pt x="22686" y="86111"/>
                    <a:pt x="22686" y="86111"/>
                  </a:cubicBezTo>
                  <a:cubicBezTo>
                    <a:pt x="20895" y="87222"/>
                    <a:pt x="20895" y="87222"/>
                    <a:pt x="20895" y="87222"/>
                  </a:cubicBezTo>
                  <a:cubicBezTo>
                    <a:pt x="20895" y="90555"/>
                    <a:pt x="20895" y="90555"/>
                    <a:pt x="20895" y="90555"/>
                  </a:cubicBezTo>
                  <a:cubicBezTo>
                    <a:pt x="22089" y="95555"/>
                    <a:pt x="22089" y="95555"/>
                    <a:pt x="22089" y="95555"/>
                  </a:cubicBezTo>
                  <a:cubicBezTo>
                    <a:pt x="23283" y="97777"/>
                    <a:pt x="23283" y="97777"/>
                    <a:pt x="23283" y="97777"/>
                  </a:cubicBezTo>
                  <a:cubicBezTo>
                    <a:pt x="23880" y="101111"/>
                    <a:pt x="23880" y="101111"/>
                    <a:pt x="23880" y="101111"/>
                  </a:cubicBezTo>
                  <a:cubicBezTo>
                    <a:pt x="22686" y="102222"/>
                    <a:pt x="22686" y="102222"/>
                    <a:pt x="22686" y="102222"/>
                  </a:cubicBezTo>
                  <a:cubicBezTo>
                    <a:pt x="22089" y="103333"/>
                    <a:pt x="22089" y="103333"/>
                    <a:pt x="22089" y="103333"/>
                  </a:cubicBezTo>
                  <a:cubicBezTo>
                    <a:pt x="23283" y="105555"/>
                    <a:pt x="23283" y="105555"/>
                    <a:pt x="23283" y="105555"/>
                  </a:cubicBezTo>
                  <a:cubicBezTo>
                    <a:pt x="24477" y="107222"/>
                    <a:pt x="24477" y="107222"/>
                    <a:pt x="24477" y="107222"/>
                  </a:cubicBezTo>
                  <a:cubicBezTo>
                    <a:pt x="26865" y="110555"/>
                    <a:pt x="26865" y="110555"/>
                    <a:pt x="26865" y="110555"/>
                  </a:cubicBezTo>
                  <a:cubicBezTo>
                    <a:pt x="27462" y="111666"/>
                    <a:pt x="27462" y="111666"/>
                    <a:pt x="27462" y="111666"/>
                  </a:cubicBezTo>
                  <a:cubicBezTo>
                    <a:pt x="31044" y="118333"/>
                    <a:pt x="31044" y="118333"/>
                    <a:pt x="31044" y="118333"/>
                  </a:cubicBezTo>
                  <a:cubicBezTo>
                    <a:pt x="95522" y="115000"/>
                    <a:pt x="95522" y="115000"/>
                    <a:pt x="95522" y="115000"/>
                  </a:cubicBezTo>
                  <a:cubicBezTo>
                    <a:pt x="96119" y="120000"/>
                    <a:pt x="96119" y="120000"/>
                    <a:pt x="96119" y="120000"/>
                  </a:cubicBezTo>
                  <a:cubicBezTo>
                    <a:pt x="100895" y="120000"/>
                    <a:pt x="100895" y="120000"/>
                    <a:pt x="100895" y="120000"/>
                  </a:cubicBezTo>
                  <a:cubicBezTo>
                    <a:pt x="99104" y="107222"/>
                    <a:pt x="99104" y="107222"/>
                    <a:pt x="99104" y="107222"/>
                  </a:cubicBezTo>
                  <a:cubicBezTo>
                    <a:pt x="99104" y="107222"/>
                    <a:pt x="99104" y="107222"/>
                    <a:pt x="99104" y="107222"/>
                  </a:cubicBezTo>
                  <a:cubicBezTo>
                    <a:pt x="103283" y="107777"/>
                    <a:pt x="103283" y="107777"/>
                    <a:pt x="103283" y="107777"/>
                  </a:cubicBezTo>
                  <a:cubicBezTo>
                    <a:pt x="109253" y="108888"/>
                    <a:pt x="109253" y="108888"/>
                    <a:pt x="109253" y="108888"/>
                  </a:cubicBezTo>
                  <a:cubicBezTo>
                    <a:pt x="109850" y="107222"/>
                    <a:pt x="109850" y="107222"/>
                    <a:pt x="109850" y="107222"/>
                  </a:cubicBezTo>
                  <a:cubicBezTo>
                    <a:pt x="109850" y="107222"/>
                    <a:pt x="110447" y="105000"/>
                    <a:pt x="110447" y="105000"/>
                  </a:cubicBezTo>
                  <a:cubicBezTo>
                    <a:pt x="110447" y="104444"/>
                    <a:pt x="109850" y="104444"/>
                    <a:pt x="109850" y="104444"/>
                  </a:cubicBezTo>
                  <a:cubicBezTo>
                    <a:pt x="109850" y="104444"/>
                    <a:pt x="109253" y="103888"/>
                    <a:pt x="108656" y="103888"/>
                  </a:cubicBezTo>
                  <a:cubicBezTo>
                    <a:pt x="108059" y="103333"/>
                    <a:pt x="108059" y="102777"/>
                    <a:pt x="107462" y="102222"/>
                  </a:cubicBezTo>
                  <a:cubicBezTo>
                    <a:pt x="106865" y="101666"/>
                    <a:pt x="107462" y="101666"/>
                    <a:pt x="107462" y="101666"/>
                  </a:cubicBezTo>
                  <a:cubicBezTo>
                    <a:pt x="108656" y="101666"/>
                    <a:pt x="108656" y="101666"/>
                    <a:pt x="108656" y="101666"/>
                  </a:cubicBezTo>
                  <a:cubicBezTo>
                    <a:pt x="110447" y="101666"/>
                    <a:pt x="110447" y="101666"/>
                    <a:pt x="110447" y="101666"/>
                  </a:cubicBezTo>
                  <a:cubicBezTo>
                    <a:pt x="110447" y="101666"/>
                    <a:pt x="109850" y="100555"/>
                    <a:pt x="109850" y="99444"/>
                  </a:cubicBezTo>
                  <a:cubicBezTo>
                    <a:pt x="109253" y="98333"/>
                    <a:pt x="109253" y="98333"/>
                    <a:pt x="109253" y="98333"/>
                  </a:cubicBezTo>
                  <a:cubicBezTo>
                    <a:pt x="111044" y="97777"/>
                    <a:pt x="111044" y="97777"/>
                    <a:pt x="111044" y="97777"/>
                  </a:cubicBezTo>
                  <a:cubicBezTo>
                    <a:pt x="112238" y="96666"/>
                    <a:pt x="112238" y="96666"/>
                    <a:pt x="112238" y="96666"/>
                  </a:cubicBezTo>
                  <a:cubicBezTo>
                    <a:pt x="113432" y="93888"/>
                    <a:pt x="113432" y="93888"/>
                    <a:pt x="113432" y="93888"/>
                  </a:cubicBezTo>
                  <a:cubicBezTo>
                    <a:pt x="111641" y="93333"/>
                    <a:pt x="111641" y="93333"/>
                    <a:pt x="111641" y="93333"/>
                  </a:cubicBezTo>
                  <a:cubicBezTo>
                    <a:pt x="111641" y="93333"/>
                    <a:pt x="111641" y="92777"/>
                    <a:pt x="111641" y="92777"/>
                  </a:cubicBezTo>
                  <a:cubicBezTo>
                    <a:pt x="111641" y="92222"/>
                    <a:pt x="112238" y="92222"/>
                    <a:pt x="112238" y="91666"/>
                  </a:cubicBezTo>
                  <a:cubicBezTo>
                    <a:pt x="112238" y="91666"/>
                    <a:pt x="112835" y="91111"/>
                    <a:pt x="112835" y="91111"/>
                  </a:cubicBezTo>
                  <a:cubicBezTo>
                    <a:pt x="112835" y="89444"/>
                    <a:pt x="112835" y="89444"/>
                    <a:pt x="112835" y="89444"/>
                  </a:cubicBezTo>
                  <a:cubicBezTo>
                    <a:pt x="112835" y="85555"/>
                    <a:pt x="112835" y="85555"/>
                    <a:pt x="112835" y="85555"/>
                  </a:cubicBezTo>
                  <a:cubicBezTo>
                    <a:pt x="112835" y="83888"/>
                    <a:pt x="112835" y="83888"/>
                    <a:pt x="112835" y="83888"/>
                  </a:cubicBezTo>
                  <a:cubicBezTo>
                    <a:pt x="112835" y="83888"/>
                    <a:pt x="114029" y="83888"/>
                    <a:pt x="114626" y="83888"/>
                  </a:cubicBezTo>
                  <a:cubicBezTo>
                    <a:pt x="114626" y="83888"/>
                    <a:pt x="115820" y="84444"/>
                    <a:pt x="115820" y="84444"/>
                  </a:cubicBezTo>
                  <a:cubicBezTo>
                    <a:pt x="115820" y="84444"/>
                    <a:pt x="116417" y="83888"/>
                    <a:pt x="116417" y="83333"/>
                  </a:cubicBezTo>
                  <a:cubicBezTo>
                    <a:pt x="116417" y="83333"/>
                    <a:pt x="116417" y="83333"/>
                    <a:pt x="115223" y="82777"/>
                  </a:cubicBezTo>
                  <a:cubicBezTo>
                    <a:pt x="114626" y="82222"/>
                    <a:pt x="113432" y="81666"/>
                    <a:pt x="113432" y="81666"/>
                  </a:cubicBezTo>
                  <a:cubicBezTo>
                    <a:pt x="113432" y="81111"/>
                    <a:pt x="112835" y="80000"/>
                    <a:pt x="112835" y="80000"/>
                  </a:cubicBezTo>
                  <a:cubicBezTo>
                    <a:pt x="114029" y="80000"/>
                    <a:pt x="114029" y="80000"/>
                    <a:pt x="114029" y="80000"/>
                  </a:cubicBezTo>
                  <a:cubicBezTo>
                    <a:pt x="117014" y="80000"/>
                    <a:pt x="117014" y="80000"/>
                    <a:pt x="117014" y="80000"/>
                  </a:cubicBezTo>
                  <a:cubicBezTo>
                    <a:pt x="117611" y="78333"/>
                    <a:pt x="117611" y="78333"/>
                    <a:pt x="117611" y="78333"/>
                  </a:cubicBezTo>
                  <a:cubicBezTo>
                    <a:pt x="117611" y="78333"/>
                    <a:pt x="115223" y="78333"/>
                    <a:pt x="115223" y="78333"/>
                  </a:cubicBezTo>
                  <a:cubicBezTo>
                    <a:pt x="115223" y="78333"/>
                    <a:pt x="114029" y="77222"/>
                    <a:pt x="114029" y="77222"/>
                  </a:cubicBezTo>
                  <a:cubicBezTo>
                    <a:pt x="114626" y="76111"/>
                    <a:pt x="114626" y="76111"/>
                    <a:pt x="114626" y="76111"/>
                  </a:cubicBezTo>
                  <a:cubicBezTo>
                    <a:pt x="115223" y="76666"/>
                    <a:pt x="115223" y="76666"/>
                    <a:pt x="115223" y="76666"/>
                  </a:cubicBezTo>
                  <a:cubicBezTo>
                    <a:pt x="117611" y="76666"/>
                    <a:pt x="117611" y="76666"/>
                    <a:pt x="117611" y="76666"/>
                  </a:cubicBezTo>
                  <a:cubicBezTo>
                    <a:pt x="118805" y="76111"/>
                    <a:pt x="118805" y="76111"/>
                    <a:pt x="118805" y="76111"/>
                  </a:cubicBezTo>
                  <a:cubicBezTo>
                    <a:pt x="118805" y="74444"/>
                    <a:pt x="118805" y="74444"/>
                    <a:pt x="118805" y="74444"/>
                  </a:cubicBezTo>
                  <a:cubicBezTo>
                    <a:pt x="118805" y="73333"/>
                    <a:pt x="118805" y="73333"/>
                    <a:pt x="118805" y="73333"/>
                  </a:cubicBezTo>
                  <a:cubicBezTo>
                    <a:pt x="120000" y="72222"/>
                    <a:pt x="120000" y="72222"/>
                    <a:pt x="120000" y="72222"/>
                  </a:cubicBezTo>
                  <a:cubicBezTo>
                    <a:pt x="119402" y="71666"/>
                    <a:pt x="119402" y="71666"/>
                    <a:pt x="119402" y="71666"/>
                  </a:cubicBezTo>
                  <a:lnTo>
                    <a:pt x="118208" y="71111"/>
                  </a:lnTo>
                  <a:close/>
                </a:path>
              </a:pathLst>
            </a:custGeom>
            <a:solidFill>
              <a:srgbClr val="FFFF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1" name="Shape 1420">
              <a:extLst>
                <a:ext uri="{FF2B5EF4-FFF2-40B4-BE49-F238E27FC236}">
                  <a16:creationId xmlns:a16="http://schemas.microsoft.com/office/drawing/2014/main" id="{5467587B-F935-EC12-BCAD-CE6AFCD9D3EF}"/>
                </a:ext>
              </a:extLst>
            </p:cNvPr>
            <p:cNvSpPr/>
            <p:nvPr/>
          </p:nvSpPr>
          <p:spPr>
            <a:xfrm>
              <a:off x="10602585" y="4933006"/>
              <a:ext cx="345779" cy="296695"/>
            </a:xfrm>
            <a:custGeom>
              <a:avLst/>
              <a:gdLst/>
              <a:ahLst/>
              <a:cxnLst/>
              <a:rect l="0" t="0" r="0" b="0"/>
              <a:pathLst>
                <a:path w="120000" h="120000" extrusionOk="0">
                  <a:moveTo>
                    <a:pt x="62222" y="11428"/>
                  </a:moveTo>
                  <a:cubicBezTo>
                    <a:pt x="59682" y="3265"/>
                    <a:pt x="59682" y="3265"/>
                    <a:pt x="59682" y="3265"/>
                  </a:cubicBezTo>
                  <a:cubicBezTo>
                    <a:pt x="55873" y="816"/>
                    <a:pt x="55873" y="816"/>
                    <a:pt x="55873" y="816"/>
                  </a:cubicBezTo>
                  <a:cubicBezTo>
                    <a:pt x="50158" y="0"/>
                    <a:pt x="50158" y="0"/>
                    <a:pt x="50158" y="0"/>
                  </a:cubicBezTo>
                  <a:cubicBezTo>
                    <a:pt x="45714" y="816"/>
                    <a:pt x="45714" y="816"/>
                    <a:pt x="45714" y="816"/>
                  </a:cubicBezTo>
                  <a:cubicBezTo>
                    <a:pt x="42539" y="3265"/>
                    <a:pt x="42539" y="3265"/>
                    <a:pt x="42539" y="3265"/>
                  </a:cubicBezTo>
                  <a:cubicBezTo>
                    <a:pt x="40634" y="4081"/>
                    <a:pt x="40634" y="4081"/>
                    <a:pt x="40634" y="4081"/>
                  </a:cubicBezTo>
                  <a:cubicBezTo>
                    <a:pt x="36825" y="4897"/>
                    <a:pt x="36825" y="4897"/>
                    <a:pt x="36825" y="4897"/>
                  </a:cubicBezTo>
                  <a:cubicBezTo>
                    <a:pt x="29206" y="3265"/>
                    <a:pt x="29206" y="3265"/>
                    <a:pt x="29206" y="3265"/>
                  </a:cubicBezTo>
                  <a:cubicBezTo>
                    <a:pt x="24761" y="3265"/>
                    <a:pt x="24761" y="3265"/>
                    <a:pt x="24761" y="3265"/>
                  </a:cubicBezTo>
                  <a:cubicBezTo>
                    <a:pt x="19682" y="4081"/>
                    <a:pt x="19682" y="4081"/>
                    <a:pt x="19682" y="4081"/>
                  </a:cubicBezTo>
                  <a:cubicBezTo>
                    <a:pt x="16507" y="5714"/>
                    <a:pt x="16507" y="5714"/>
                    <a:pt x="16507" y="5714"/>
                  </a:cubicBezTo>
                  <a:cubicBezTo>
                    <a:pt x="7619" y="14693"/>
                    <a:pt x="7619" y="14693"/>
                    <a:pt x="7619" y="14693"/>
                  </a:cubicBezTo>
                  <a:cubicBezTo>
                    <a:pt x="7619" y="14693"/>
                    <a:pt x="7619" y="14693"/>
                    <a:pt x="7619" y="14693"/>
                  </a:cubicBezTo>
                  <a:cubicBezTo>
                    <a:pt x="6984" y="16326"/>
                    <a:pt x="6984" y="16326"/>
                    <a:pt x="6984" y="16326"/>
                  </a:cubicBezTo>
                  <a:cubicBezTo>
                    <a:pt x="6984" y="17959"/>
                    <a:pt x="6984" y="17959"/>
                    <a:pt x="6984" y="17959"/>
                  </a:cubicBezTo>
                  <a:cubicBezTo>
                    <a:pt x="5714" y="18775"/>
                    <a:pt x="5714" y="18775"/>
                    <a:pt x="5714" y="18775"/>
                  </a:cubicBezTo>
                  <a:cubicBezTo>
                    <a:pt x="3174" y="21224"/>
                    <a:pt x="3174" y="21224"/>
                    <a:pt x="3174" y="21224"/>
                  </a:cubicBezTo>
                  <a:cubicBezTo>
                    <a:pt x="0" y="23673"/>
                    <a:pt x="0" y="23673"/>
                    <a:pt x="0" y="23673"/>
                  </a:cubicBezTo>
                  <a:cubicBezTo>
                    <a:pt x="0" y="26122"/>
                    <a:pt x="0" y="26122"/>
                    <a:pt x="0" y="26122"/>
                  </a:cubicBezTo>
                  <a:cubicBezTo>
                    <a:pt x="1269" y="27755"/>
                    <a:pt x="1269" y="27755"/>
                    <a:pt x="1269" y="27755"/>
                  </a:cubicBezTo>
                  <a:cubicBezTo>
                    <a:pt x="2539" y="30204"/>
                    <a:pt x="2539" y="30204"/>
                    <a:pt x="2539" y="30204"/>
                  </a:cubicBezTo>
                  <a:cubicBezTo>
                    <a:pt x="10158" y="34285"/>
                    <a:pt x="10158" y="34285"/>
                    <a:pt x="10158" y="34285"/>
                  </a:cubicBezTo>
                  <a:cubicBezTo>
                    <a:pt x="12063" y="36734"/>
                    <a:pt x="12063" y="36734"/>
                    <a:pt x="12063" y="36734"/>
                  </a:cubicBezTo>
                  <a:cubicBezTo>
                    <a:pt x="13968" y="40000"/>
                    <a:pt x="13968" y="40000"/>
                    <a:pt x="13968" y="40000"/>
                  </a:cubicBezTo>
                  <a:cubicBezTo>
                    <a:pt x="15238" y="43265"/>
                    <a:pt x="15238" y="43265"/>
                    <a:pt x="15238" y="43265"/>
                  </a:cubicBezTo>
                  <a:cubicBezTo>
                    <a:pt x="18412" y="47346"/>
                    <a:pt x="18412" y="47346"/>
                    <a:pt x="18412" y="47346"/>
                  </a:cubicBezTo>
                  <a:cubicBezTo>
                    <a:pt x="21587" y="52244"/>
                    <a:pt x="21587" y="52244"/>
                    <a:pt x="21587" y="52244"/>
                  </a:cubicBezTo>
                  <a:cubicBezTo>
                    <a:pt x="31746" y="62857"/>
                    <a:pt x="31746" y="62857"/>
                    <a:pt x="31746" y="62857"/>
                  </a:cubicBezTo>
                  <a:cubicBezTo>
                    <a:pt x="34920" y="66122"/>
                    <a:pt x="34920" y="66122"/>
                    <a:pt x="34920" y="66122"/>
                  </a:cubicBezTo>
                  <a:cubicBezTo>
                    <a:pt x="38730" y="72653"/>
                    <a:pt x="38730" y="72653"/>
                    <a:pt x="38730" y="72653"/>
                  </a:cubicBezTo>
                  <a:cubicBezTo>
                    <a:pt x="41904" y="78367"/>
                    <a:pt x="41904" y="78367"/>
                    <a:pt x="41904" y="78367"/>
                  </a:cubicBezTo>
                  <a:cubicBezTo>
                    <a:pt x="46349" y="80816"/>
                    <a:pt x="46349" y="80816"/>
                    <a:pt x="46349" y="80816"/>
                  </a:cubicBezTo>
                  <a:cubicBezTo>
                    <a:pt x="48253" y="83265"/>
                    <a:pt x="48253" y="83265"/>
                    <a:pt x="48253" y="83265"/>
                  </a:cubicBezTo>
                  <a:cubicBezTo>
                    <a:pt x="50158" y="85714"/>
                    <a:pt x="50158" y="85714"/>
                    <a:pt x="50158" y="85714"/>
                  </a:cubicBezTo>
                  <a:cubicBezTo>
                    <a:pt x="52063" y="87346"/>
                    <a:pt x="52063" y="87346"/>
                    <a:pt x="52063" y="87346"/>
                  </a:cubicBezTo>
                  <a:cubicBezTo>
                    <a:pt x="53333" y="88979"/>
                    <a:pt x="53333" y="88979"/>
                    <a:pt x="53333" y="88979"/>
                  </a:cubicBezTo>
                  <a:cubicBezTo>
                    <a:pt x="55238" y="93061"/>
                    <a:pt x="55238" y="93061"/>
                    <a:pt x="55238" y="93061"/>
                  </a:cubicBezTo>
                  <a:cubicBezTo>
                    <a:pt x="56507" y="95510"/>
                    <a:pt x="56507" y="95510"/>
                    <a:pt x="56507" y="95510"/>
                  </a:cubicBezTo>
                  <a:cubicBezTo>
                    <a:pt x="56507" y="97142"/>
                    <a:pt x="56507" y="97142"/>
                    <a:pt x="56507" y="97142"/>
                  </a:cubicBezTo>
                  <a:cubicBezTo>
                    <a:pt x="57142" y="99591"/>
                    <a:pt x="57142" y="99591"/>
                    <a:pt x="57142" y="99591"/>
                  </a:cubicBezTo>
                  <a:cubicBezTo>
                    <a:pt x="57777" y="101224"/>
                    <a:pt x="57777" y="101224"/>
                    <a:pt x="57777" y="101224"/>
                  </a:cubicBezTo>
                  <a:cubicBezTo>
                    <a:pt x="58412" y="101224"/>
                    <a:pt x="58412" y="101224"/>
                    <a:pt x="58412" y="101224"/>
                  </a:cubicBezTo>
                  <a:cubicBezTo>
                    <a:pt x="60317" y="102040"/>
                    <a:pt x="60317" y="102040"/>
                    <a:pt x="60317" y="102040"/>
                  </a:cubicBezTo>
                  <a:cubicBezTo>
                    <a:pt x="62222" y="103673"/>
                    <a:pt x="62222" y="103673"/>
                    <a:pt x="62222" y="103673"/>
                  </a:cubicBezTo>
                  <a:cubicBezTo>
                    <a:pt x="62222" y="104489"/>
                    <a:pt x="62222" y="104489"/>
                    <a:pt x="62222" y="104489"/>
                  </a:cubicBezTo>
                  <a:cubicBezTo>
                    <a:pt x="62222" y="106122"/>
                    <a:pt x="62222" y="106122"/>
                    <a:pt x="62222" y="106122"/>
                  </a:cubicBezTo>
                  <a:cubicBezTo>
                    <a:pt x="62857" y="108571"/>
                    <a:pt x="62857" y="108571"/>
                    <a:pt x="62857" y="108571"/>
                  </a:cubicBezTo>
                  <a:cubicBezTo>
                    <a:pt x="65396" y="111836"/>
                    <a:pt x="65396" y="111836"/>
                    <a:pt x="65396" y="111836"/>
                  </a:cubicBezTo>
                  <a:cubicBezTo>
                    <a:pt x="65396" y="112653"/>
                    <a:pt x="65396" y="112653"/>
                    <a:pt x="65396" y="112653"/>
                  </a:cubicBezTo>
                  <a:cubicBezTo>
                    <a:pt x="65396" y="115918"/>
                    <a:pt x="65396" y="115918"/>
                    <a:pt x="65396" y="115918"/>
                  </a:cubicBezTo>
                  <a:cubicBezTo>
                    <a:pt x="66031" y="118367"/>
                    <a:pt x="66031" y="118367"/>
                    <a:pt x="66031" y="118367"/>
                  </a:cubicBezTo>
                  <a:cubicBezTo>
                    <a:pt x="67301" y="119183"/>
                    <a:pt x="67301" y="119183"/>
                    <a:pt x="67301" y="119183"/>
                  </a:cubicBezTo>
                  <a:cubicBezTo>
                    <a:pt x="68571" y="120000"/>
                    <a:pt x="68571" y="120000"/>
                    <a:pt x="68571" y="120000"/>
                  </a:cubicBezTo>
                  <a:cubicBezTo>
                    <a:pt x="68571" y="115102"/>
                    <a:pt x="68571" y="115102"/>
                    <a:pt x="68571" y="115102"/>
                  </a:cubicBezTo>
                  <a:cubicBezTo>
                    <a:pt x="69841" y="114285"/>
                    <a:pt x="69841" y="114285"/>
                    <a:pt x="69841" y="114285"/>
                  </a:cubicBezTo>
                  <a:cubicBezTo>
                    <a:pt x="73015" y="114285"/>
                    <a:pt x="73015" y="114285"/>
                    <a:pt x="73015" y="114285"/>
                  </a:cubicBezTo>
                  <a:cubicBezTo>
                    <a:pt x="73650" y="114285"/>
                    <a:pt x="73650" y="114285"/>
                    <a:pt x="73650" y="114285"/>
                  </a:cubicBezTo>
                  <a:cubicBezTo>
                    <a:pt x="73650" y="114285"/>
                    <a:pt x="74920" y="113469"/>
                    <a:pt x="74920" y="113469"/>
                  </a:cubicBezTo>
                  <a:cubicBezTo>
                    <a:pt x="74920" y="112653"/>
                    <a:pt x="74285" y="111836"/>
                    <a:pt x="74285" y="111836"/>
                  </a:cubicBezTo>
                  <a:cubicBezTo>
                    <a:pt x="73650" y="111836"/>
                    <a:pt x="73650" y="111836"/>
                    <a:pt x="73650" y="111836"/>
                  </a:cubicBezTo>
                  <a:cubicBezTo>
                    <a:pt x="73650" y="111836"/>
                    <a:pt x="71111" y="111020"/>
                    <a:pt x="71111" y="111020"/>
                  </a:cubicBezTo>
                  <a:cubicBezTo>
                    <a:pt x="70476" y="111020"/>
                    <a:pt x="69841" y="109387"/>
                    <a:pt x="69841" y="109387"/>
                  </a:cubicBezTo>
                  <a:cubicBezTo>
                    <a:pt x="69841" y="108571"/>
                    <a:pt x="69841" y="108571"/>
                    <a:pt x="69841" y="108571"/>
                  </a:cubicBezTo>
                  <a:cubicBezTo>
                    <a:pt x="70476" y="105306"/>
                    <a:pt x="70476" y="105306"/>
                    <a:pt x="70476" y="105306"/>
                  </a:cubicBezTo>
                  <a:cubicBezTo>
                    <a:pt x="73015" y="107755"/>
                    <a:pt x="73015" y="107755"/>
                    <a:pt x="73015" y="107755"/>
                  </a:cubicBezTo>
                  <a:cubicBezTo>
                    <a:pt x="73650" y="108571"/>
                    <a:pt x="73650" y="108571"/>
                    <a:pt x="73650" y="108571"/>
                  </a:cubicBezTo>
                  <a:cubicBezTo>
                    <a:pt x="75555" y="110204"/>
                    <a:pt x="75555" y="110204"/>
                    <a:pt x="75555" y="110204"/>
                  </a:cubicBezTo>
                  <a:cubicBezTo>
                    <a:pt x="78095" y="109387"/>
                    <a:pt x="78095" y="109387"/>
                    <a:pt x="78095" y="109387"/>
                  </a:cubicBezTo>
                  <a:cubicBezTo>
                    <a:pt x="78730" y="104489"/>
                    <a:pt x="78730" y="104489"/>
                    <a:pt x="78730" y="104489"/>
                  </a:cubicBezTo>
                  <a:cubicBezTo>
                    <a:pt x="78730" y="103673"/>
                    <a:pt x="78730" y="103673"/>
                    <a:pt x="78730" y="103673"/>
                  </a:cubicBezTo>
                  <a:cubicBezTo>
                    <a:pt x="78095" y="100408"/>
                    <a:pt x="78095" y="100408"/>
                    <a:pt x="78095" y="100408"/>
                  </a:cubicBezTo>
                  <a:cubicBezTo>
                    <a:pt x="80000" y="100408"/>
                    <a:pt x="80000" y="100408"/>
                    <a:pt x="80000" y="100408"/>
                  </a:cubicBezTo>
                  <a:cubicBezTo>
                    <a:pt x="82539" y="100408"/>
                    <a:pt x="82539" y="100408"/>
                    <a:pt x="82539" y="100408"/>
                  </a:cubicBezTo>
                  <a:cubicBezTo>
                    <a:pt x="85714" y="97959"/>
                    <a:pt x="85714" y="97959"/>
                    <a:pt x="85714" y="97959"/>
                  </a:cubicBezTo>
                  <a:cubicBezTo>
                    <a:pt x="85714" y="97142"/>
                    <a:pt x="85714" y="97142"/>
                    <a:pt x="85714" y="97142"/>
                  </a:cubicBezTo>
                  <a:cubicBezTo>
                    <a:pt x="84444" y="96326"/>
                    <a:pt x="84444" y="96326"/>
                    <a:pt x="84444" y="96326"/>
                  </a:cubicBezTo>
                  <a:cubicBezTo>
                    <a:pt x="83174" y="96326"/>
                    <a:pt x="83174" y="96326"/>
                    <a:pt x="83174" y="96326"/>
                  </a:cubicBezTo>
                  <a:cubicBezTo>
                    <a:pt x="81904" y="95510"/>
                    <a:pt x="81904" y="95510"/>
                    <a:pt x="81904" y="95510"/>
                  </a:cubicBezTo>
                  <a:cubicBezTo>
                    <a:pt x="81904" y="93877"/>
                    <a:pt x="81904" y="93877"/>
                    <a:pt x="81904" y="93877"/>
                  </a:cubicBezTo>
                  <a:cubicBezTo>
                    <a:pt x="83809" y="93061"/>
                    <a:pt x="83809" y="93061"/>
                    <a:pt x="83809" y="93061"/>
                  </a:cubicBezTo>
                  <a:cubicBezTo>
                    <a:pt x="84444" y="93877"/>
                    <a:pt x="84444" y="93877"/>
                    <a:pt x="84444" y="93877"/>
                  </a:cubicBezTo>
                  <a:cubicBezTo>
                    <a:pt x="86349" y="95510"/>
                    <a:pt x="86349" y="95510"/>
                    <a:pt x="86349" y="95510"/>
                  </a:cubicBezTo>
                  <a:cubicBezTo>
                    <a:pt x="87619" y="95510"/>
                    <a:pt x="87619" y="95510"/>
                    <a:pt x="87619" y="95510"/>
                  </a:cubicBezTo>
                  <a:cubicBezTo>
                    <a:pt x="90158" y="93061"/>
                    <a:pt x="90158" y="93061"/>
                    <a:pt x="90158" y="93061"/>
                  </a:cubicBezTo>
                  <a:cubicBezTo>
                    <a:pt x="92063" y="89795"/>
                    <a:pt x="92063" y="89795"/>
                    <a:pt x="92063" y="89795"/>
                  </a:cubicBezTo>
                  <a:cubicBezTo>
                    <a:pt x="91428" y="87346"/>
                    <a:pt x="91428" y="87346"/>
                    <a:pt x="91428" y="87346"/>
                  </a:cubicBezTo>
                  <a:cubicBezTo>
                    <a:pt x="89523" y="85714"/>
                    <a:pt x="89523" y="85714"/>
                    <a:pt x="89523" y="85714"/>
                  </a:cubicBezTo>
                  <a:cubicBezTo>
                    <a:pt x="89523" y="84897"/>
                    <a:pt x="89523" y="84897"/>
                    <a:pt x="89523" y="84897"/>
                  </a:cubicBezTo>
                  <a:cubicBezTo>
                    <a:pt x="90793" y="84081"/>
                    <a:pt x="90793" y="84081"/>
                    <a:pt x="90793" y="84081"/>
                  </a:cubicBezTo>
                  <a:cubicBezTo>
                    <a:pt x="93333" y="85714"/>
                    <a:pt x="93333" y="85714"/>
                    <a:pt x="93333" y="85714"/>
                  </a:cubicBezTo>
                  <a:cubicBezTo>
                    <a:pt x="94603" y="84081"/>
                    <a:pt x="94603" y="84081"/>
                    <a:pt x="94603" y="84081"/>
                  </a:cubicBezTo>
                  <a:cubicBezTo>
                    <a:pt x="95873" y="81632"/>
                    <a:pt x="95873" y="81632"/>
                    <a:pt x="95873" y="81632"/>
                  </a:cubicBezTo>
                  <a:cubicBezTo>
                    <a:pt x="98412" y="75918"/>
                    <a:pt x="98412" y="75918"/>
                    <a:pt x="98412" y="75918"/>
                  </a:cubicBezTo>
                  <a:cubicBezTo>
                    <a:pt x="100952" y="73469"/>
                    <a:pt x="100952" y="73469"/>
                    <a:pt x="100952" y="73469"/>
                  </a:cubicBezTo>
                  <a:cubicBezTo>
                    <a:pt x="104126" y="72653"/>
                    <a:pt x="104126" y="72653"/>
                    <a:pt x="104126" y="72653"/>
                  </a:cubicBezTo>
                  <a:cubicBezTo>
                    <a:pt x="106031" y="68571"/>
                    <a:pt x="106031" y="68571"/>
                    <a:pt x="106031" y="68571"/>
                  </a:cubicBezTo>
                  <a:cubicBezTo>
                    <a:pt x="107301" y="66122"/>
                    <a:pt x="107301" y="66122"/>
                    <a:pt x="107301" y="66122"/>
                  </a:cubicBezTo>
                  <a:cubicBezTo>
                    <a:pt x="106031" y="64489"/>
                    <a:pt x="106031" y="64489"/>
                    <a:pt x="106031" y="64489"/>
                  </a:cubicBezTo>
                  <a:cubicBezTo>
                    <a:pt x="104761" y="61224"/>
                    <a:pt x="104761" y="61224"/>
                    <a:pt x="104761" y="61224"/>
                  </a:cubicBezTo>
                  <a:cubicBezTo>
                    <a:pt x="106031" y="61224"/>
                    <a:pt x="106031" y="61224"/>
                    <a:pt x="106031" y="61224"/>
                  </a:cubicBezTo>
                  <a:cubicBezTo>
                    <a:pt x="107301" y="61224"/>
                    <a:pt x="107301" y="61224"/>
                    <a:pt x="107301" y="61224"/>
                  </a:cubicBezTo>
                  <a:cubicBezTo>
                    <a:pt x="107301" y="58775"/>
                    <a:pt x="107301" y="58775"/>
                    <a:pt x="107301" y="58775"/>
                  </a:cubicBezTo>
                  <a:cubicBezTo>
                    <a:pt x="107936" y="57142"/>
                    <a:pt x="107936" y="57142"/>
                    <a:pt x="107936" y="57142"/>
                  </a:cubicBezTo>
                  <a:cubicBezTo>
                    <a:pt x="109841" y="53877"/>
                    <a:pt x="109841" y="53877"/>
                    <a:pt x="109841" y="53877"/>
                  </a:cubicBezTo>
                  <a:cubicBezTo>
                    <a:pt x="111111" y="48979"/>
                    <a:pt x="111111" y="48979"/>
                    <a:pt x="111111" y="48979"/>
                  </a:cubicBezTo>
                  <a:cubicBezTo>
                    <a:pt x="112380" y="45714"/>
                    <a:pt x="112380" y="45714"/>
                    <a:pt x="112380" y="45714"/>
                  </a:cubicBezTo>
                  <a:cubicBezTo>
                    <a:pt x="113015" y="44081"/>
                    <a:pt x="113015" y="44081"/>
                    <a:pt x="113015" y="44081"/>
                  </a:cubicBezTo>
                  <a:cubicBezTo>
                    <a:pt x="114285" y="42448"/>
                    <a:pt x="114285" y="42448"/>
                    <a:pt x="114285" y="42448"/>
                  </a:cubicBezTo>
                  <a:cubicBezTo>
                    <a:pt x="118730" y="37551"/>
                    <a:pt x="118730" y="37551"/>
                    <a:pt x="118730" y="37551"/>
                  </a:cubicBezTo>
                  <a:cubicBezTo>
                    <a:pt x="120000" y="35918"/>
                    <a:pt x="120000" y="35918"/>
                    <a:pt x="120000" y="35918"/>
                  </a:cubicBezTo>
                  <a:cubicBezTo>
                    <a:pt x="87619" y="4897"/>
                    <a:pt x="87619" y="4897"/>
                    <a:pt x="87619" y="4897"/>
                  </a:cubicBezTo>
                  <a:lnTo>
                    <a:pt x="62222" y="11428"/>
                  </a:lnTo>
                  <a:close/>
                </a:path>
              </a:pathLst>
            </a:custGeom>
            <a:solidFill>
              <a:srgbClr val="FFFF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2" name="Shape 1387">
              <a:extLst>
                <a:ext uri="{FF2B5EF4-FFF2-40B4-BE49-F238E27FC236}">
                  <a16:creationId xmlns:a16="http://schemas.microsoft.com/office/drawing/2014/main" id="{23E2E918-57AD-29B4-E0C7-A205712B1C7D}"/>
                </a:ext>
              </a:extLst>
            </p:cNvPr>
            <p:cNvSpPr/>
            <p:nvPr/>
          </p:nvSpPr>
          <p:spPr>
            <a:xfrm>
              <a:off x="8888816" y="4856439"/>
              <a:ext cx="976824" cy="1067143"/>
            </a:xfrm>
            <a:custGeom>
              <a:avLst/>
              <a:gdLst/>
              <a:ahLst/>
              <a:cxnLst/>
              <a:rect l="0" t="0" r="0" b="0"/>
              <a:pathLst>
                <a:path w="120000" h="120000" extrusionOk="0">
                  <a:moveTo>
                    <a:pt x="118407" y="68071"/>
                  </a:moveTo>
                  <a:lnTo>
                    <a:pt x="118938" y="65919"/>
                  </a:lnTo>
                  <a:lnTo>
                    <a:pt x="120000" y="64573"/>
                  </a:lnTo>
                  <a:lnTo>
                    <a:pt x="119469" y="62959"/>
                  </a:lnTo>
                  <a:lnTo>
                    <a:pt x="118938" y="60807"/>
                  </a:lnTo>
                  <a:lnTo>
                    <a:pt x="118672" y="59999"/>
                  </a:lnTo>
                  <a:lnTo>
                    <a:pt x="118672" y="58385"/>
                  </a:lnTo>
                  <a:lnTo>
                    <a:pt x="118407" y="57847"/>
                  </a:lnTo>
                  <a:lnTo>
                    <a:pt x="117345" y="55426"/>
                  </a:lnTo>
                  <a:lnTo>
                    <a:pt x="117345" y="54887"/>
                  </a:lnTo>
                  <a:lnTo>
                    <a:pt x="115486" y="53273"/>
                  </a:lnTo>
                  <a:lnTo>
                    <a:pt x="115486" y="35246"/>
                  </a:lnTo>
                  <a:lnTo>
                    <a:pt x="112831" y="34977"/>
                  </a:lnTo>
                  <a:lnTo>
                    <a:pt x="112300" y="35515"/>
                  </a:lnTo>
                  <a:lnTo>
                    <a:pt x="111504" y="35246"/>
                  </a:lnTo>
                  <a:lnTo>
                    <a:pt x="110707" y="34439"/>
                  </a:lnTo>
                  <a:lnTo>
                    <a:pt x="109646" y="33901"/>
                  </a:lnTo>
                  <a:lnTo>
                    <a:pt x="108318" y="33901"/>
                  </a:lnTo>
                  <a:lnTo>
                    <a:pt x="106725" y="32825"/>
                  </a:lnTo>
                  <a:lnTo>
                    <a:pt x="105663" y="31479"/>
                  </a:lnTo>
                  <a:lnTo>
                    <a:pt x="104336" y="31210"/>
                  </a:lnTo>
                  <a:lnTo>
                    <a:pt x="102212" y="31748"/>
                  </a:lnTo>
                  <a:lnTo>
                    <a:pt x="101681" y="31479"/>
                  </a:lnTo>
                  <a:lnTo>
                    <a:pt x="100353" y="31210"/>
                  </a:lnTo>
                  <a:lnTo>
                    <a:pt x="99292" y="32017"/>
                  </a:lnTo>
                  <a:lnTo>
                    <a:pt x="98761" y="32286"/>
                  </a:lnTo>
                  <a:lnTo>
                    <a:pt x="97964" y="31748"/>
                  </a:lnTo>
                  <a:lnTo>
                    <a:pt x="96902" y="31748"/>
                  </a:lnTo>
                  <a:lnTo>
                    <a:pt x="96371" y="32556"/>
                  </a:lnTo>
                  <a:lnTo>
                    <a:pt x="95044" y="33363"/>
                  </a:lnTo>
                  <a:lnTo>
                    <a:pt x="93982" y="33632"/>
                  </a:lnTo>
                  <a:lnTo>
                    <a:pt x="93451" y="32825"/>
                  </a:lnTo>
                  <a:lnTo>
                    <a:pt x="92654" y="32017"/>
                  </a:lnTo>
                  <a:lnTo>
                    <a:pt x="90530" y="32286"/>
                  </a:lnTo>
                  <a:lnTo>
                    <a:pt x="89203" y="31479"/>
                  </a:lnTo>
                  <a:lnTo>
                    <a:pt x="88141" y="31748"/>
                  </a:lnTo>
                  <a:lnTo>
                    <a:pt x="87610" y="32825"/>
                  </a:lnTo>
                  <a:lnTo>
                    <a:pt x="87079" y="33094"/>
                  </a:lnTo>
                  <a:lnTo>
                    <a:pt x="86814" y="31748"/>
                  </a:lnTo>
                  <a:lnTo>
                    <a:pt x="86283" y="31210"/>
                  </a:lnTo>
                  <a:lnTo>
                    <a:pt x="84690" y="32286"/>
                  </a:lnTo>
                  <a:lnTo>
                    <a:pt x="84424" y="31210"/>
                  </a:lnTo>
                  <a:lnTo>
                    <a:pt x="82831" y="30134"/>
                  </a:lnTo>
                  <a:lnTo>
                    <a:pt x="82300" y="30134"/>
                  </a:lnTo>
                  <a:lnTo>
                    <a:pt x="81769" y="30941"/>
                  </a:lnTo>
                  <a:lnTo>
                    <a:pt x="80973" y="31479"/>
                  </a:lnTo>
                  <a:lnTo>
                    <a:pt x="80176" y="31210"/>
                  </a:lnTo>
                  <a:lnTo>
                    <a:pt x="79911" y="29865"/>
                  </a:lnTo>
                  <a:lnTo>
                    <a:pt x="79115" y="29865"/>
                  </a:lnTo>
                  <a:lnTo>
                    <a:pt x="78318" y="28251"/>
                  </a:lnTo>
                  <a:lnTo>
                    <a:pt x="76194" y="28251"/>
                  </a:lnTo>
                  <a:lnTo>
                    <a:pt x="75398" y="28789"/>
                  </a:lnTo>
                  <a:lnTo>
                    <a:pt x="74601" y="27982"/>
                  </a:lnTo>
                  <a:lnTo>
                    <a:pt x="74336" y="27982"/>
                  </a:lnTo>
                  <a:lnTo>
                    <a:pt x="73008" y="28251"/>
                  </a:lnTo>
                  <a:lnTo>
                    <a:pt x="71415" y="27174"/>
                  </a:lnTo>
                  <a:lnTo>
                    <a:pt x="69292" y="27174"/>
                  </a:lnTo>
                  <a:lnTo>
                    <a:pt x="68761" y="25291"/>
                  </a:lnTo>
                  <a:lnTo>
                    <a:pt x="67699" y="24753"/>
                  </a:lnTo>
                  <a:lnTo>
                    <a:pt x="67168" y="25022"/>
                  </a:lnTo>
                  <a:lnTo>
                    <a:pt x="66371" y="24753"/>
                  </a:lnTo>
                  <a:lnTo>
                    <a:pt x="65575" y="25022"/>
                  </a:lnTo>
                  <a:lnTo>
                    <a:pt x="64778" y="25022"/>
                  </a:lnTo>
                  <a:lnTo>
                    <a:pt x="64247" y="24215"/>
                  </a:lnTo>
                  <a:lnTo>
                    <a:pt x="62389" y="22331"/>
                  </a:lnTo>
                  <a:lnTo>
                    <a:pt x="63451" y="1614"/>
                  </a:lnTo>
                  <a:lnTo>
                    <a:pt x="36902" y="0"/>
                  </a:lnTo>
                  <a:lnTo>
                    <a:pt x="33185" y="48968"/>
                  </a:lnTo>
                  <a:lnTo>
                    <a:pt x="1592" y="46008"/>
                  </a:lnTo>
                  <a:lnTo>
                    <a:pt x="1327" y="48430"/>
                  </a:lnTo>
                  <a:lnTo>
                    <a:pt x="0" y="48430"/>
                  </a:lnTo>
                  <a:lnTo>
                    <a:pt x="530" y="49237"/>
                  </a:lnTo>
                  <a:lnTo>
                    <a:pt x="1858" y="50044"/>
                  </a:lnTo>
                  <a:lnTo>
                    <a:pt x="2654" y="51121"/>
                  </a:lnTo>
                  <a:lnTo>
                    <a:pt x="2920" y="51928"/>
                  </a:lnTo>
                  <a:lnTo>
                    <a:pt x="3451" y="53004"/>
                  </a:lnTo>
                  <a:lnTo>
                    <a:pt x="3982" y="53273"/>
                  </a:lnTo>
                  <a:lnTo>
                    <a:pt x="4778" y="53811"/>
                  </a:lnTo>
                  <a:lnTo>
                    <a:pt x="5575" y="54349"/>
                  </a:lnTo>
                  <a:lnTo>
                    <a:pt x="5840" y="55156"/>
                  </a:lnTo>
                  <a:lnTo>
                    <a:pt x="6902" y="56502"/>
                  </a:lnTo>
                  <a:lnTo>
                    <a:pt x="7964" y="57309"/>
                  </a:lnTo>
                  <a:lnTo>
                    <a:pt x="10088" y="60269"/>
                  </a:lnTo>
                  <a:lnTo>
                    <a:pt x="10884" y="60269"/>
                  </a:lnTo>
                  <a:lnTo>
                    <a:pt x="11681" y="61076"/>
                  </a:lnTo>
                  <a:lnTo>
                    <a:pt x="12743" y="61883"/>
                  </a:lnTo>
                  <a:lnTo>
                    <a:pt x="14070" y="62959"/>
                  </a:lnTo>
                  <a:lnTo>
                    <a:pt x="14601" y="64035"/>
                  </a:lnTo>
                  <a:lnTo>
                    <a:pt x="14601" y="65919"/>
                  </a:lnTo>
                  <a:lnTo>
                    <a:pt x="15663" y="67533"/>
                  </a:lnTo>
                  <a:lnTo>
                    <a:pt x="15929" y="68609"/>
                  </a:lnTo>
                  <a:lnTo>
                    <a:pt x="15663" y="69686"/>
                  </a:lnTo>
                  <a:lnTo>
                    <a:pt x="15663" y="71031"/>
                  </a:lnTo>
                  <a:lnTo>
                    <a:pt x="15929" y="72645"/>
                  </a:lnTo>
                  <a:lnTo>
                    <a:pt x="17256" y="73991"/>
                  </a:lnTo>
                  <a:lnTo>
                    <a:pt x="17522" y="74798"/>
                  </a:lnTo>
                  <a:lnTo>
                    <a:pt x="17787" y="75067"/>
                  </a:lnTo>
                  <a:lnTo>
                    <a:pt x="18318" y="75605"/>
                  </a:lnTo>
                  <a:lnTo>
                    <a:pt x="18849" y="76143"/>
                  </a:lnTo>
                  <a:lnTo>
                    <a:pt x="19646" y="76950"/>
                  </a:lnTo>
                  <a:lnTo>
                    <a:pt x="20707" y="77757"/>
                  </a:lnTo>
                  <a:lnTo>
                    <a:pt x="21504" y="78565"/>
                  </a:lnTo>
                  <a:lnTo>
                    <a:pt x="22300" y="78834"/>
                  </a:lnTo>
                  <a:lnTo>
                    <a:pt x="23362" y="79641"/>
                  </a:lnTo>
                  <a:lnTo>
                    <a:pt x="24955" y="80448"/>
                  </a:lnTo>
                  <a:lnTo>
                    <a:pt x="26814" y="81793"/>
                  </a:lnTo>
                  <a:lnTo>
                    <a:pt x="27610" y="82062"/>
                  </a:lnTo>
                  <a:lnTo>
                    <a:pt x="28938" y="82600"/>
                  </a:lnTo>
                  <a:lnTo>
                    <a:pt x="30000" y="82600"/>
                  </a:lnTo>
                  <a:lnTo>
                    <a:pt x="30530" y="81524"/>
                  </a:lnTo>
                  <a:lnTo>
                    <a:pt x="31327" y="80717"/>
                  </a:lnTo>
                  <a:lnTo>
                    <a:pt x="31858" y="80179"/>
                  </a:lnTo>
                  <a:lnTo>
                    <a:pt x="32654" y="79910"/>
                  </a:lnTo>
                  <a:lnTo>
                    <a:pt x="32654" y="78565"/>
                  </a:lnTo>
                  <a:lnTo>
                    <a:pt x="33185" y="77488"/>
                  </a:lnTo>
                  <a:lnTo>
                    <a:pt x="33716" y="76143"/>
                  </a:lnTo>
                  <a:lnTo>
                    <a:pt x="35044" y="74529"/>
                  </a:lnTo>
                  <a:lnTo>
                    <a:pt x="36902" y="74260"/>
                  </a:lnTo>
                  <a:lnTo>
                    <a:pt x="37964" y="73991"/>
                  </a:lnTo>
                  <a:lnTo>
                    <a:pt x="39292" y="73991"/>
                  </a:lnTo>
                  <a:lnTo>
                    <a:pt x="40619" y="74529"/>
                  </a:lnTo>
                  <a:lnTo>
                    <a:pt x="42212" y="74798"/>
                  </a:lnTo>
                  <a:lnTo>
                    <a:pt x="43008" y="74798"/>
                  </a:lnTo>
                  <a:lnTo>
                    <a:pt x="45132" y="75067"/>
                  </a:lnTo>
                  <a:lnTo>
                    <a:pt x="45929" y="75605"/>
                  </a:lnTo>
                  <a:lnTo>
                    <a:pt x="46725" y="77219"/>
                  </a:lnTo>
                  <a:lnTo>
                    <a:pt x="47256" y="77219"/>
                  </a:lnTo>
                  <a:lnTo>
                    <a:pt x="48584" y="78565"/>
                  </a:lnTo>
                  <a:lnTo>
                    <a:pt x="49646" y="79103"/>
                  </a:lnTo>
                  <a:lnTo>
                    <a:pt x="50442" y="80717"/>
                  </a:lnTo>
                  <a:lnTo>
                    <a:pt x="52035" y="82869"/>
                  </a:lnTo>
                  <a:lnTo>
                    <a:pt x="53097" y="86098"/>
                  </a:lnTo>
                  <a:lnTo>
                    <a:pt x="53893" y="87174"/>
                  </a:lnTo>
                  <a:lnTo>
                    <a:pt x="54955" y="89327"/>
                  </a:lnTo>
                  <a:lnTo>
                    <a:pt x="54955" y="90134"/>
                  </a:lnTo>
                  <a:lnTo>
                    <a:pt x="55752" y="92286"/>
                  </a:lnTo>
                  <a:lnTo>
                    <a:pt x="57876" y="94170"/>
                  </a:lnTo>
                  <a:lnTo>
                    <a:pt x="58407" y="96322"/>
                  </a:lnTo>
                  <a:lnTo>
                    <a:pt x="61061" y="99551"/>
                  </a:lnTo>
                  <a:lnTo>
                    <a:pt x="62389" y="100089"/>
                  </a:lnTo>
                  <a:lnTo>
                    <a:pt x="62123" y="102511"/>
                  </a:lnTo>
                  <a:lnTo>
                    <a:pt x="61592" y="103049"/>
                  </a:lnTo>
                  <a:lnTo>
                    <a:pt x="62123" y="103587"/>
                  </a:lnTo>
                  <a:lnTo>
                    <a:pt x="62920" y="104394"/>
                  </a:lnTo>
                  <a:lnTo>
                    <a:pt x="62920" y="106008"/>
                  </a:lnTo>
                  <a:lnTo>
                    <a:pt x="64513" y="108968"/>
                  </a:lnTo>
                  <a:lnTo>
                    <a:pt x="65309" y="110582"/>
                  </a:lnTo>
                  <a:lnTo>
                    <a:pt x="66106" y="111928"/>
                  </a:lnTo>
                  <a:lnTo>
                    <a:pt x="66637" y="113273"/>
                  </a:lnTo>
                  <a:lnTo>
                    <a:pt x="68761" y="113542"/>
                  </a:lnTo>
                  <a:lnTo>
                    <a:pt x="70088" y="114887"/>
                  </a:lnTo>
                  <a:lnTo>
                    <a:pt x="72477" y="114887"/>
                  </a:lnTo>
                  <a:lnTo>
                    <a:pt x="74336" y="116771"/>
                  </a:lnTo>
                  <a:lnTo>
                    <a:pt x="75398" y="116771"/>
                  </a:lnTo>
                  <a:lnTo>
                    <a:pt x="75929" y="117578"/>
                  </a:lnTo>
                  <a:lnTo>
                    <a:pt x="77256" y="117847"/>
                  </a:lnTo>
                  <a:lnTo>
                    <a:pt x="77522" y="117309"/>
                  </a:lnTo>
                  <a:lnTo>
                    <a:pt x="80176" y="117847"/>
                  </a:lnTo>
                  <a:lnTo>
                    <a:pt x="80176" y="118116"/>
                  </a:lnTo>
                  <a:lnTo>
                    <a:pt x="80973" y="118923"/>
                  </a:lnTo>
                  <a:lnTo>
                    <a:pt x="82300" y="119999"/>
                  </a:lnTo>
                  <a:lnTo>
                    <a:pt x="83097" y="119461"/>
                  </a:lnTo>
                  <a:lnTo>
                    <a:pt x="83362" y="118923"/>
                  </a:lnTo>
                  <a:lnTo>
                    <a:pt x="85221" y="118654"/>
                  </a:lnTo>
                  <a:lnTo>
                    <a:pt x="84690" y="117309"/>
                  </a:lnTo>
                  <a:lnTo>
                    <a:pt x="84690" y="116502"/>
                  </a:lnTo>
                  <a:lnTo>
                    <a:pt x="84424" y="115426"/>
                  </a:lnTo>
                  <a:lnTo>
                    <a:pt x="84159" y="114349"/>
                  </a:lnTo>
                  <a:lnTo>
                    <a:pt x="83362" y="113811"/>
                  </a:lnTo>
                  <a:lnTo>
                    <a:pt x="82831" y="112197"/>
                  </a:lnTo>
                  <a:lnTo>
                    <a:pt x="82566" y="110582"/>
                  </a:lnTo>
                  <a:lnTo>
                    <a:pt x="81769" y="108699"/>
                  </a:lnTo>
                  <a:lnTo>
                    <a:pt x="81769" y="107085"/>
                  </a:lnTo>
                  <a:lnTo>
                    <a:pt x="82566" y="104663"/>
                  </a:lnTo>
                  <a:lnTo>
                    <a:pt x="83362" y="102242"/>
                  </a:lnTo>
                  <a:lnTo>
                    <a:pt x="84424" y="99551"/>
                  </a:lnTo>
                  <a:lnTo>
                    <a:pt x="84159" y="99013"/>
                  </a:lnTo>
                  <a:lnTo>
                    <a:pt x="83362" y="98475"/>
                  </a:lnTo>
                  <a:lnTo>
                    <a:pt x="82566" y="97668"/>
                  </a:lnTo>
                  <a:lnTo>
                    <a:pt x="82566" y="97130"/>
                  </a:lnTo>
                  <a:lnTo>
                    <a:pt x="83097" y="97399"/>
                  </a:lnTo>
                  <a:lnTo>
                    <a:pt x="85486" y="97130"/>
                  </a:lnTo>
                  <a:lnTo>
                    <a:pt x="85752" y="97130"/>
                  </a:lnTo>
                  <a:lnTo>
                    <a:pt x="86548" y="95515"/>
                  </a:lnTo>
                  <a:lnTo>
                    <a:pt x="85752" y="95515"/>
                  </a:lnTo>
                  <a:lnTo>
                    <a:pt x="85486" y="94977"/>
                  </a:lnTo>
                  <a:lnTo>
                    <a:pt x="85486" y="94439"/>
                  </a:lnTo>
                  <a:lnTo>
                    <a:pt x="86017" y="94170"/>
                  </a:lnTo>
                  <a:lnTo>
                    <a:pt x="87079" y="94170"/>
                  </a:lnTo>
                  <a:lnTo>
                    <a:pt x="88407" y="94170"/>
                  </a:lnTo>
                  <a:lnTo>
                    <a:pt x="88938" y="94439"/>
                  </a:lnTo>
                  <a:lnTo>
                    <a:pt x="89734" y="94170"/>
                  </a:lnTo>
                  <a:lnTo>
                    <a:pt x="91061" y="93094"/>
                  </a:lnTo>
                  <a:lnTo>
                    <a:pt x="90530" y="93094"/>
                  </a:lnTo>
                  <a:lnTo>
                    <a:pt x="89469" y="93901"/>
                  </a:lnTo>
                  <a:lnTo>
                    <a:pt x="89203" y="92825"/>
                  </a:lnTo>
                  <a:lnTo>
                    <a:pt x="89734" y="91210"/>
                  </a:lnTo>
                  <a:lnTo>
                    <a:pt x="90265" y="91748"/>
                  </a:lnTo>
                  <a:lnTo>
                    <a:pt x="90796" y="92017"/>
                  </a:lnTo>
                  <a:lnTo>
                    <a:pt x="92123" y="92017"/>
                  </a:lnTo>
                  <a:lnTo>
                    <a:pt x="92654" y="91479"/>
                  </a:lnTo>
                  <a:lnTo>
                    <a:pt x="92389" y="90403"/>
                  </a:lnTo>
                  <a:lnTo>
                    <a:pt x="91592" y="89327"/>
                  </a:lnTo>
                  <a:lnTo>
                    <a:pt x="91858" y="89058"/>
                  </a:lnTo>
                  <a:lnTo>
                    <a:pt x="92654" y="89058"/>
                  </a:lnTo>
                  <a:lnTo>
                    <a:pt x="93451" y="88520"/>
                  </a:lnTo>
                  <a:lnTo>
                    <a:pt x="93982" y="89058"/>
                  </a:lnTo>
                  <a:lnTo>
                    <a:pt x="94778" y="88520"/>
                  </a:lnTo>
                  <a:lnTo>
                    <a:pt x="95044" y="89058"/>
                  </a:lnTo>
                  <a:lnTo>
                    <a:pt x="95840" y="89596"/>
                  </a:lnTo>
                  <a:lnTo>
                    <a:pt x="96637" y="89058"/>
                  </a:lnTo>
                  <a:lnTo>
                    <a:pt x="97433" y="88520"/>
                  </a:lnTo>
                  <a:lnTo>
                    <a:pt x="99292" y="87982"/>
                  </a:lnTo>
                  <a:lnTo>
                    <a:pt x="101150" y="87713"/>
                  </a:lnTo>
                  <a:lnTo>
                    <a:pt x="104070" y="86098"/>
                  </a:lnTo>
                  <a:lnTo>
                    <a:pt x="104867" y="84484"/>
                  </a:lnTo>
                  <a:lnTo>
                    <a:pt x="105132" y="83139"/>
                  </a:lnTo>
                  <a:lnTo>
                    <a:pt x="105929" y="82600"/>
                  </a:lnTo>
                  <a:lnTo>
                    <a:pt x="106725" y="82331"/>
                  </a:lnTo>
                  <a:lnTo>
                    <a:pt x="106991" y="82062"/>
                  </a:lnTo>
                  <a:lnTo>
                    <a:pt x="107787" y="81524"/>
                  </a:lnTo>
                  <a:lnTo>
                    <a:pt x="107522" y="80717"/>
                  </a:lnTo>
                  <a:lnTo>
                    <a:pt x="107256" y="79910"/>
                  </a:lnTo>
                  <a:lnTo>
                    <a:pt x="106991" y="79641"/>
                  </a:lnTo>
                  <a:lnTo>
                    <a:pt x="106725" y="79103"/>
                  </a:lnTo>
                  <a:lnTo>
                    <a:pt x="106991" y="78295"/>
                  </a:lnTo>
                  <a:lnTo>
                    <a:pt x="108053" y="77488"/>
                  </a:lnTo>
                  <a:lnTo>
                    <a:pt x="108849" y="76950"/>
                  </a:lnTo>
                  <a:lnTo>
                    <a:pt x="109380" y="76950"/>
                  </a:lnTo>
                  <a:lnTo>
                    <a:pt x="109380" y="77757"/>
                  </a:lnTo>
                  <a:lnTo>
                    <a:pt x="109380" y="78834"/>
                  </a:lnTo>
                  <a:lnTo>
                    <a:pt x="109380" y="80448"/>
                  </a:lnTo>
                  <a:lnTo>
                    <a:pt x="109646" y="80717"/>
                  </a:lnTo>
                  <a:lnTo>
                    <a:pt x="111238" y="79372"/>
                  </a:lnTo>
                  <a:lnTo>
                    <a:pt x="112566" y="79103"/>
                  </a:lnTo>
                  <a:lnTo>
                    <a:pt x="116548" y="77488"/>
                  </a:lnTo>
                  <a:lnTo>
                    <a:pt x="117079" y="77219"/>
                  </a:lnTo>
                  <a:lnTo>
                    <a:pt x="117876" y="75874"/>
                  </a:lnTo>
                  <a:lnTo>
                    <a:pt x="118672" y="73183"/>
                  </a:lnTo>
                  <a:lnTo>
                    <a:pt x="118672" y="72107"/>
                  </a:lnTo>
                  <a:lnTo>
                    <a:pt x="117876" y="70224"/>
                  </a:lnTo>
                  <a:lnTo>
                    <a:pt x="118407" y="68878"/>
                  </a:lnTo>
                  <a:lnTo>
                    <a:pt x="118407" y="68071"/>
                  </a:lnTo>
                  <a:close/>
                </a:path>
              </a:pathLst>
            </a:custGeom>
            <a:solidFill>
              <a:srgbClr val="003399"/>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3" name="Shape 1415">
              <a:extLst>
                <a:ext uri="{FF2B5EF4-FFF2-40B4-BE49-F238E27FC236}">
                  <a16:creationId xmlns:a16="http://schemas.microsoft.com/office/drawing/2014/main" id="{0A22802B-74F9-A736-86BC-E5448453BEBF}"/>
                </a:ext>
              </a:extLst>
            </p:cNvPr>
            <p:cNvSpPr/>
            <p:nvPr/>
          </p:nvSpPr>
          <p:spPr>
            <a:xfrm>
              <a:off x="9781363" y="4873190"/>
              <a:ext cx="352261" cy="351727"/>
            </a:xfrm>
            <a:custGeom>
              <a:avLst/>
              <a:gdLst/>
              <a:ahLst/>
              <a:cxnLst/>
              <a:rect l="0" t="0" r="0" b="0"/>
              <a:pathLst>
                <a:path w="120000" h="120000" extrusionOk="0">
                  <a:moveTo>
                    <a:pt x="4417" y="100408"/>
                  </a:moveTo>
                  <a:lnTo>
                    <a:pt x="2944" y="98775"/>
                  </a:lnTo>
                  <a:lnTo>
                    <a:pt x="5153" y="101224"/>
                  </a:lnTo>
                  <a:lnTo>
                    <a:pt x="7361" y="102040"/>
                  </a:lnTo>
                  <a:lnTo>
                    <a:pt x="8834" y="100408"/>
                  </a:lnTo>
                  <a:lnTo>
                    <a:pt x="16196" y="101224"/>
                  </a:lnTo>
                  <a:lnTo>
                    <a:pt x="16196" y="120000"/>
                  </a:lnTo>
                  <a:lnTo>
                    <a:pt x="85398" y="117551"/>
                  </a:lnTo>
                  <a:lnTo>
                    <a:pt x="86134" y="117551"/>
                  </a:lnTo>
                  <a:lnTo>
                    <a:pt x="87607" y="113469"/>
                  </a:lnTo>
                  <a:lnTo>
                    <a:pt x="88343" y="111020"/>
                  </a:lnTo>
                  <a:lnTo>
                    <a:pt x="87607" y="108571"/>
                  </a:lnTo>
                  <a:lnTo>
                    <a:pt x="87607" y="103673"/>
                  </a:lnTo>
                  <a:lnTo>
                    <a:pt x="87607" y="102040"/>
                  </a:lnTo>
                  <a:lnTo>
                    <a:pt x="86134" y="99591"/>
                  </a:lnTo>
                  <a:lnTo>
                    <a:pt x="85398" y="98775"/>
                  </a:lnTo>
                  <a:lnTo>
                    <a:pt x="85398" y="97142"/>
                  </a:lnTo>
                  <a:lnTo>
                    <a:pt x="86134" y="95510"/>
                  </a:lnTo>
                  <a:lnTo>
                    <a:pt x="85398" y="94693"/>
                  </a:lnTo>
                  <a:lnTo>
                    <a:pt x="86871" y="92244"/>
                  </a:lnTo>
                  <a:lnTo>
                    <a:pt x="89079" y="88979"/>
                  </a:lnTo>
                  <a:lnTo>
                    <a:pt x="89815" y="88979"/>
                  </a:lnTo>
                  <a:lnTo>
                    <a:pt x="89079" y="87346"/>
                  </a:lnTo>
                  <a:lnTo>
                    <a:pt x="90552" y="84081"/>
                  </a:lnTo>
                  <a:lnTo>
                    <a:pt x="92024" y="81632"/>
                  </a:lnTo>
                  <a:lnTo>
                    <a:pt x="90552" y="80816"/>
                  </a:lnTo>
                  <a:lnTo>
                    <a:pt x="91288" y="77551"/>
                  </a:lnTo>
                  <a:lnTo>
                    <a:pt x="93496" y="75102"/>
                  </a:lnTo>
                  <a:lnTo>
                    <a:pt x="97177" y="70204"/>
                  </a:lnTo>
                  <a:lnTo>
                    <a:pt x="99386" y="66122"/>
                  </a:lnTo>
                  <a:lnTo>
                    <a:pt x="99386" y="62857"/>
                  </a:lnTo>
                  <a:lnTo>
                    <a:pt x="100858" y="58775"/>
                  </a:lnTo>
                  <a:lnTo>
                    <a:pt x="101595" y="58775"/>
                  </a:lnTo>
                  <a:lnTo>
                    <a:pt x="103067" y="57142"/>
                  </a:lnTo>
                  <a:lnTo>
                    <a:pt x="103803" y="54693"/>
                  </a:lnTo>
                  <a:lnTo>
                    <a:pt x="105276" y="53061"/>
                  </a:lnTo>
                  <a:lnTo>
                    <a:pt x="108220" y="51428"/>
                  </a:lnTo>
                  <a:lnTo>
                    <a:pt x="107484" y="48979"/>
                  </a:lnTo>
                  <a:lnTo>
                    <a:pt x="108957" y="47346"/>
                  </a:lnTo>
                  <a:lnTo>
                    <a:pt x="110429" y="44081"/>
                  </a:lnTo>
                  <a:lnTo>
                    <a:pt x="110429" y="39183"/>
                  </a:lnTo>
                  <a:lnTo>
                    <a:pt x="110429" y="35102"/>
                  </a:lnTo>
                  <a:lnTo>
                    <a:pt x="112638" y="31836"/>
                  </a:lnTo>
                  <a:lnTo>
                    <a:pt x="114846" y="30204"/>
                  </a:lnTo>
                  <a:lnTo>
                    <a:pt x="114846" y="28571"/>
                  </a:lnTo>
                  <a:lnTo>
                    <a:pt x="115582" y="26938"/>
                  </a:lnTo>
                  <a:lnTo>
                    <a:pt x="115582" y="23673"/>
                  </a:lnTo>
                  <a:lnTo>
                    <a:pt x="117791" y="22857"/>
                  </a:lnTo>
                  <a:lnTo>
                    <a:pt x="118527" y="21224"/>
                  </a:lnTo>
                  <a:lnTo>
                    <a:pt x="119263" y="19591"/>
                  </a:lnTo>
                  <a:lnTo>
                    <a:pt x="120000" y="17959"/>
                  </a:lnTo>
                  <a:lnTo>
                    <a:pt x="120000" y="15510"/>
                  </a:lnTo>
                  <a:lnTo>
                    <a:pt x="101595" y="16326"/>
                  </a:lnTo>
                  <a:lnTo>
                    <a:pt x="108957" y="4081"/>
                  </a:lnTo>
                  <a:lnTo>
                    <a:pt x="108220" y="0"/>
                  </a:lnTo>
                  <a:lnTo>
                    <a:pt x="0" y="3265"/>
                  </a:lnTo>
                  <a:lnTo>
                    <a:pt x="5153" y="38367"/>
                  </a:lnTo>
                  <a:lnTo>
                    <a:pt x="4417" y="100408"/>
                  </a:lnTo>
                  <a:close/>
                </a:path>
              </a:pathLst>
            </a:custGeom>
            <a:solidFill>
              <a:srgbClr val="92D05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4" name="Shape 1421">
              <a:extLst>
                <a:ext uri="{FF2B5EF4-FFF2-40B4-BE49-F238E27FC236}">
                  <a16:creationId xmlns:a16="http://schemas.microsoft.com/office/drawing/2014/main" id="{E7680210-B143-FBF3-19B6-D888ED2EBDE6}"/>
                </a:ext>
              </a:extLst>
            </p:cNvPr>
            <p:cNvSpPr/>
            <p:nvPr/>
          </p:nvSpPr>
          <p:spPr>
            <a:xfrm>
              <a:off x="10246003" y="4988038"/>
              <a:ext cx="272300" cy="483323"/>
            </a:xfrm>
            <a:custGeom>
              <a:avLst/>
              <a:gdLst/>
              <a:ahLst/>
              <a:cxnLst/>
              <a:rect l="0" t="0" r="0" b="0"/>
              <a:pathLst>
                <a:path w="120000" h="120000" extrusionOk="0">
                  <a:moveTo>
                    <a:pt x="38095" y="111683"/>
                  </a:moveTo>
                  <a:lnTo>
                    <a:pt x="37142" y="108712"/>
                  </a:lnTo>
                  <a:lnTo>
                    <a:pt x="33333" y="105742"/>
                  </a:lnTo>
                  <a:lnTo>
                    <a:pt x="31428" y="104554"/>
                  </a:lnTo>
                  <a:lnTo>
                    <a:pt x="31428" y="102772"/>
                  </a:lnTo>
                  <a:lnTo>
                    <a:pt x="34285" y="102178"/>
                  </a:lnTo>
                  <a:lnTo>
                    <a:pt x="40952" y="100990"/>
                  </a:lnTo>
                  <a:lnTo>
                    <a:pt x="48571" y="99801"/>
                  </a:lnTo>
                  <a:lnTo>
                    <a:pt x="120000" y="96237"/>
                  </a:lnTo>
                  <a:lnTo>
                    <a:pt x="119047" y="95643"/>
                  </a:lnTo>
                  <a:lnTo>
                    <a:pt x="115238" y="92673"/>
                  </a:lnTo>
                  <a:lnTo>
                    <a:pt x="114285" y="90891"/>
                  </a:lnTo>
                  <a:lnTo>
                    <a:pt x="112380" y="89108"/>
                  </a:lnTo>
                  <a:lnTo>
                    <a:pt x="113333" y="87920"/>
                  </a:lnTo>
                  <a:lnTo>
                    <a:pt x="115238" y="86732"/>
                  </a:lnTo>
                  <a:lnTo>
                    <a:pt x="114285" y="83762"/>
                  </a:lnTo>
                  <a:lnTo>
                    <a:pt x="112380" y="81980"/>
                  </a:lnTo>
                  <a:lnTo>
                    <a:pt x="110476" y="77227"/>
                  </a:lnTo>
                  <a:lnTo>
                    <a:pt x="110476" y="74257"/>
                  </a:lnTo>
                  <a:lnTo>
                    <a:pt x="113333" y="73069"/>
                  </a:lnTo>
                  <a:lnTo>
                    <a:pt x="114285" y="70693"/>
                  </a:lnTo>
                  <a:lnTo>
                    <a:pt x="110476" y="69504"/>
                  </a:lnTo>
                  <a:lnTo>
                    <a:pt x="115238" y="67722"/>
                  </a:lnTo>
                  <a:lnTo>
                    <a:pt x="116190" y="65346"/>
                  </a:lnTo>
                  <a:lnTo>
                    <a:pt x="114285" y="64158"/>
                  </a:lnTo>
                  <a:lnTo>
                    <a:pt x="113333" y="61782"/>
                  </a:lnTo>
                  <a:lnTo>
                    <a:pt x="113333" y="59405"/>
                  </a:lnTo>
                  <a:lnTo>
                    <a:pt x="109523" y="56435"/>
                  </a:lnTo>
                  <a:lnTo>
                    <a:pt x="102857" y="49306"/>
                  </a:lnTo>
                  <a:lnTo>
                    <a:pt x="100952" y="44554"/>
                  </a:lnTo>
                  <a:lnTo>
                    <a:pt x="91428" y="24356"/>
                  </a:lnTo>
                  <a:lnTo>
                    <a:pt x="84761" y="7128"/>
                  </a:lnTo>
                  <a:lnTo>
                    <a:pt x="82857" y="0"/>
                  </a:lnTo>
                  <a:lnTo>
                    <a:pt x="89523" y="0"/>
                  </a:lnTo>
                  <a:lnTo>
                    <a:pt x="89523" y="0"/>
                  </a:lnTo>
                  <a:lnTo>
                    <a:pt x="952" y="4158"/>
                  </a:lnTo>
                  <a:lnTo>
                    <a:pt x="952" y="8316"/>
                  </a:lnTo>
                  <a:lnTo>
                    <a:pt x="0" y="62970"/>
                  </a:lnTo>
                  <a:lnTo>
                    <a:pt x="0" y="92079"/>
                  </a:lnTo>
                  <a:lnTo>
                    <a:pt x="5714" y="116435"/>
                  </a:lnTo>
                  <a:lnTo>
                    <a:pt x="7619" y="116435"/>
                  </a:lnTo>
                  <a:lnTo>
                    <a:pt x="10476" y="117029"/>
                  </a:lnTo>
                  <a:lnTo>
                    <a:pt x="14285" y="117623"/>
                  </a:lnTo>
                  <a:lnTo>
                    <a:pt x="15238" y="115841"/>
                  </a:lnTo>
                  <a:lnTo>
                    <a:pt x="14285" y="113465"/>
                  </a:lnTo>
                  <a:lnTo>
                    <a:pt x="15238" y="111089"/>
                  </a:lnTo>
                  <a:lnTo>
                    <a:pt x="17142" y="109900"/>
                  </a:lnTo>
                  <a:lnTo>
                    <a:pt x="20000" y="109306"/>
                  </a:lnTo>
                  <a:lnTo>
                    <a:pt x="20952" y="110495"/>
                  </a:lnTo>
                  <a:lnTo>
                    <a:pt x="20952" y="112277"/>
                  </a:lnTo>
                  <a:lnTo>
                    <a:pt x="20000" y="113465"/>
                  </a:lnTo>
                  <a:lnTo>
                    <a:pt x="20952" y="114653"/>
                  </a:lnTo>
                  <a:lnTo>
                    <a:pt x="21904" y="115247"/>
                  </a:lnTo>
                  <a:lnTo>
                    <a:pt x="23809" y="115841"/>
                  </a:lnTo>
                  <a:lnTo>
                    <a:pt x="25714" y="117029"/>
                  </a:lnTo>
                  <a:lnTo>
                    <a:pt x="25714" y="118217"/>
                  </a:lnTo>
                  <a:lnTo>
                    <a:pt x="25714" y="118811"/>
                  </a:lnTo>
                  <a:lnTo>
                    <a:pt x="23809" y="120000"/>
                  </a:lnTo>
                  <a:lnTo>
                    <a:pt x="25714" y="119405"/>
                  </a:lnTo>
                  <a:lnTo>
                    <a:pt x="29523" y="118811"/>
                  </a:lnTo>
                  <a:lnTo>
                    <a:pt x="34285" y="118217"/>
                  </a:lnTo>
                  <a:lnTo>
                    <a:pt x="36190" y="117029"/>
                  </a:lnTo>
                  <a:lnTo>
                    <a:pt x="37142" y="117029"/>
                  </a:lnTo>
                  <a:lnTo>
                    <a:pt x="40952" y="116435"/>
                  </a:lnTo>
                  <a:lnTo>
                    <a:pt x="41904" y="115841"/>
                  </a:lnTo>
                  <a:lnTo>
                    <a:pt x="41904" y="115841"/>
                  </a:lnTo>
                  <a:lnTo>
                    <a:pt x="38095" y="111683"/>
                  </a:lnTo>
                  <a:close/>
                </a:path>
              </a:pathLst>
            </a:custGeom>
            <a:solidFill>
              <a:srgbClr val="FFC000"/>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5" name="Shape 1414">
              <a:extLst>
                <a:ext uri="{FF2B5EF4-FFF2-40B4-BE49-F238E27FC236}">
                  <a16:creationId xmlns:a16="http://schemas.microsoft.com/office/drawing/2014/main" id="{34FF9E7D-0961-0832-22B3-FCACECAB9FFA}"/>
                </a:ext>
              </a:extLst>
            </p:cNvPr>
            <p:cNvSpPr/>
            <p:nvPr/>
          </p:nvSpPr>
          <p:spPr>
            <a:xfrm>
              <a:off x="9828908" y="5217737"/>
              <a:ext cx="393324" cy="385226"/>
            </a:xfrm>
            <a:custGeom>
              <a:avLst/>
              <a:gdLst/>
              <a:ahLst/>
              <a:cxnLst/>
              <a:rect l="0" t="0" r="0" b="0"/>
              <a:pathLst>
                <a:path w="120000" h="120000" extrusionOk="0">
                  <a:moveTo>
                    <a:pt x="119340" y="111055"/>
                  </a:moveTo>
                  <a:lnTo>
                    <a:pt x="118021" y="111055"/>
                  </a:lnTo>
                  <a:lnTo>
                    <a:pt x="116043" y="109565"/>
                  </a:lnTo>
                  <a:lnTo>
                    <a:pt x="115384" y="109565"/>
                  </a:lnTo>
                  <a:lnTo>
                    <a:pt x="114065" y="109565"/>
                  </a:lnTo>
                  <a:lnTo>
                    <a:pt x="112747" y="108819"/>
                  </a:lnTo>
                  <a:lnTo>
                    <a:pt x="109450" y="106583"/>
                  </a:lnTo>
                  <a:lnTo>
                    <a:pt x="108791" y="106583"/>
                  </a:lnTo>
                  <a:lnTo>
                    <a:pt x="105494" y="103602"/>
                  </a:lnTo>
                  <a:lnTo>
                    <a:pt x="104175" y="102111"/>
                  </a:lnTo>
                  <a:lnTo>
                    <a:pt x="102197" y="101366"/>
                  </a:lnTo>
                  <a:lnTo>
                    <a:pt x="100219" y="99875"/>
                  </a:lnTo>
                  <a:lnTo>
                    <a:pt x="98901" y="98385"/>
                  </a:lnTo>
                  <a:lnTo>
                    <a:pt x="100879" y="98385"/>
                  </a:lnTo>
                  <a:lnTo>
                    <a:pt x="102197" y="96894"/>
                  </a:lnTo>
                  <a:lnTo>
                    <a:pt x="105494" y="96894"/>
                  </a:lnTo>
                  <a:lnTo>
                    <a:pt x="106153" y="95403"/>
                  </a:lnTo>
                  <a:lnTo>
                    <a:pt x="109450" y="95403"/>
                  </a:lnTo>
                  <a:lnTo>
                    <a:pt x="110769" y="93913"/>
                  </a:lnTo>
                  <a:lnTo>
                    <a:pt x="108791" y="90186"/>
                  </a:lnTo>
                  <a:lnTo>
                    <a:pt x="106813" y="87950"/>
                  </a:lnTo>
                  <a:lnTo>
                    <a:pt x="106153" y="87950"/>
                  </a:lnTo>
                  <a:lnTo>
                    <a:pt x="99560" y="90186"/>
                  </a:lnTo>
                  <a:lnTo>
                    <a:pt x="97582" y="90931"/>
                  </a:lnTo>
                  <a:lnTo>
                    <a:pt x="95604" y="90931"/>
                  </a:lnTo>
                  <a:lnTo>
                    <a:pt x="95604" y="90186"/>
                  </a:lnTo>
                  <a:lnTo>
                    <a:pt x="97582" y="88695"/>
                  </a:lnTo>
                  <a:lnTo>
                    <a:pt x="99560" y="87950"/>
                  </a:lnTo>
                  <a:lnTo>
                    <a:pt x="101538" y="86459"/>
                  </a:lnTo>
                  <a:lnTo>
                    <a:pt x="101538" y="84968"/>
                  </a:lnTo>
                  <a:lnTo>
                    <a:pt x="101538" y="81987"/>
                  </a:lnTo>
                  <a:lnTo>
                    <a:pt x="100879" y="76770"/>
                  </a:lnTo>
                  <a:lnTo>
                    <a:pt x="98901" y="73788"/>
                  </a:lnTo>
                  <a:lnTo>
                    <a:pt x="97582" y="70807"/>
                  </a:lnTo>
                  <a:lnTo>
                    <a:pt x="98241" y="58881"/>
                  </a:lnTo>
                  <a:lnTo>
                    <a:pt x="55384" y="61118"/>
                  </a:lnTo>
                  <a:lnTo>
                    <a:pt x="54725" y="58136"/>
                  </a:lnTo>
                  <a:lnTo>
                    <a:pt x="54725" y="55900"/>
                  </a:lnTo>
                  <a:lnTo>
                    <a:pt x="55384" y="54409"/>
                  </a:lnTo>
                  <a:lnTo>
                    <a:pt x="57362" y="52919"/>
                  </a:lnTo>
                  <a:lnTo>
                    <a:pt x="57362" y="49192"/>
                  </a:lnTo>
                  <a:lnTo>
                    <a:pt x="57362" y="47701"/>
                  </a:lnTo>
                  <a:lnTo>
                    <a:pt x="58021" y="45465"/>
                  </a:lnTo>
                  <a:lnTo>
                    <a:pt x="58681" y="44720"/>
                  </a:lnTo>
                  <a:lnTo>
                    <a:pt x="59340" y="43229"/>
                  </a:lnTo>
                  <a:lnTo>
                    <a:pt x="60000" y="38012"/>
                  </a:lnTo>
                  <a:lnTo>
                    <a:pt x="61318" y="36521"/>
                  </a:lnTo>
                  <a:lnTo>
                    <a:pt x="63956" y="32049"/>
                  </a:lnTo>
                  <a:lnTo>
                    <a:pt x="64615" y="30559"/>
                  </a:lnTo>
                  <a:lnTo>
                    <a:pt x="64615" y="27577"/>
                  </a:lnTo>
                  <a:lnTo>
                    <a:pt x="65274" y="27577"/>
                  </a:lnTo>
                  <a:lnTo>
                    <a:pt x="67252" y="25341"/>
                  </a:lnTo>
                  <a:lnTo>
                    <a:pt x="67912" y="19378"/>
                  </a:lnTo>
                  <a:lnTo>
                    <a:pt x="67252" y="17142"/>
                  </a:lnTo>
                  <a:lnTo>
                    <a:pt x="65274" y="15652"/>
                  </a:lnTo>
                  <a:lnTo>
                    <a:pt x="65274" y="14161"/>
                  </a:lnTo>
                  <a:lnTo>
                    <a:pt x="64615" y="10434"/>
                  </a:lnTo>
                  <a:lnTo>
                    <a:pt x="64615" y="9689"/>
                  </a:lnTo>
                  <a:lnTo>
                    <a:pt x="63956" y="8198"/>
                  </a:lnTo>
                  <a:lnTo>
                    <a:pt x="61978" y="6708"/>
                  </a:lnTo>
                  <a:lnTo>
                    <a:pt x="64615" y="5217"/>
                  </a:lnTo>
                  <a:lnTo>
                    <a:pt x="64615" y="3726"/>
                  </a:lnTo>
                  <a:lnTo>
                    <a:pt x="63956" y="1490"/>
                  </a:lnTo>
                  <a:lnTo>
                    <a:pt x="61978" y="0"/>
                  </a:lnTo>
                  <a:lnTo>
                    <a:pt x="0" y="2236"/>
                  </a:lnTo>
                  <a:lnTo>
                    <a:pt x="0" y="35031"/>
                  </a:lnTo>
                  <a:lnTo>
                    <a:pt x="4615" y="39503"/>
                  </a:lnTo>
                  <a:lnTo>
                    <a:pt x="4615" y="40993"/>
                  </a:lnTo>
                  <a:lnTo>
                    <a:pt x="7252" y="47701"/>
                  </a:lnTo>
                  <a:lnTo>
                    <a:pt x="7912" y="49192"/>
                  </a:lnTo>
                  <a:lnTo>
                    <a:pt x="7912" y="53664"/>
                  </a:lnTo>
                  <a:lnTo>
                    <a:pt x="8571" y="55900"/>
                  </a:lnTo>
                  <a:lnTo>
                    <a:pt x="9890" y="61863"/>
                  </a:lnTo>
                  <a:lnTo>
                    <a:pt x="11208" y="66335"/>
                  </a:lnTo>
                  <a:lnTo>
                    <a:pt x="8571" y="70062"/>
                  </a:lnTo>
                  <a:lnTo>
                    <a:pt x="7252" y="76024"/>
                  </a:lnTo>
                  <a:lnTo>
                    <a:pt x="7252" y="78260"/>
                  </a:lnTo>
                  <a:lnTo>
                    <a:pt x="5934" y="81987"/>
                  </a:lnTo>
                  <a:lnTo>
                    <a:pt x="7912" y="87204"/>
                  </a:lnTo>
                  <a:lnTo>
                    <a:pt x="7912" y="90186"/>
                  </a:lnTo>
                  <a:lnTo>
                    <a:pt x="5934" y="97639"/>
                  </a:lnTo>
                  <a:lnTo>
                    <a:pt x="3956" y="101366"/>
                  </a:lnTo>
                  <a:lnTo>
                    <a:pt x="6593" y="101366"/>
                  </a:lnTo>
                  <a:lnTo>
                    <a:pt x="9890" y="101366"/>
                  </a:lnTo>
                  <a:lnTo>
                    <a:pt x="11868" y="99875"/>
                  </a:lnTo>
                  <a:lnTo>
                    <a:pt x="14505" y="99875"/>
                  </a:lnTo>
                  <a:lnTo>
                    <a:pt x="16483" y="99875"/>
                  </a:lnTo>
                  <a:lnTo>
                    <a:pt x="22417" y="101366"/>
                  </a:lnTo>
                  <a:lnTo>
                    <a:pt x="25714" y="102111"/>
                  </a:lnTo>
                  <a:lnTo>
                    <a:pt x="29010" y="103602"/>
                  </a:lnTo>
                  <a:lnTo>
                    <a:pt x="33626" y="105838"/>
                  </a:lnTo>
                  <a:lnTo>
                    <a:pt x="42197" y="105838"/>
                  </a:lnTo>
                  <a:lnTo>
                    <a:pt x="47472" y="105838"/>
                  </a:lnTo>
                  <a:lnTo>
                    <a:pt x="52087" y="105838"/>
                  </a:lnTo>
                  <a:lnTo>
                    <a:pt x="52747" y="105093"/>
                  </a:lnTo>
                  <a:lnTo>
                    <a:pt x="51428" y="102857"/>
                  </a:lnTo>
                  <a:lnTo>
                    <a:pt x="48131" y="102857"/>
                  </a:lnTo>
                  <a:lnTo>
                    <a:pt x="47472" y="102857"/>
                  </a:lnTo>
                  <a:lnTo>
                    <a:pt x="46153" y="102111"/>
                  </a:lnTo>
                  <a:lnTo>
                    <a:pt x="46813" y="99875"/>
                  </a:lnTo>
                  <a:lnTo>
                    <a:pt x="47472" y="98385"/>
                  </a:lnTo>
                  <a:lnTo>
                    <a:pt x="50769" y="98385"/>
                  </a:lnTo>
                  <a:lnTo>
                    <a:pt x="55384" y="100621"/>
                  </a:lnTo>
                  <a:lnTo>
                    <a:pt x="60000" y="105093"/>
                  </a:lnTo>
                  <a:lnTo>
                    <a:pt x="63956" y="105838"/>
                  </a:lnTo>
                  <a:lnTo>
                    <a:pt x="66593" y="104347"/>
                  </a:lnTo>
                  <a:lnTo>
                    <a:pt x="65934" y="107329"/>
                  </a:lnTo>
                  <a:lnTo>
                    <a:pt x="64615" y="111801"/>
                  </a:lnTo>
                  <a:lnTo>
                    <a:pt x="65934" y="114037"/>
                  </a:lnTo>
                  <a:lnTo>
                    <a:pt x="69890" y="115527"/>
                  </a:lnTo>
                  <a:lnTo>
                    <a:pt x="73186" y="115527"/>
                  </a:lnTo>
                  <a:lnTo>
                    <a:pt x="75824" y="117763"/>
                  </a:lnTo>
                  <a:lnTo>
                    <a:pt x="78461" y="117763"/>
                  </a:lnTo>
                  <a:lnTo>
                    <a:pt x="79780" y="114782"/>
                  </a:lnTo>
                  <a:lnTo>
                    <a:pt x="82417" y="111801"/>
                  </a:lnTo>
                  <a:lnTo>
                    <a:pt x="84395" y="111055"/>
                  </a:lnTo>
                  <a:lnTo>
                    <a:pt x="87032" y="111801"/>
                  </a:lnTo>
                  <a:lnTo>
                    <a:pt x="89670" y="115527"/>
                  </a:lnTo>
                  <a:lnTo>
                    <a:pt x="92307" y="115527"/>
                  </a:lnTo>
                  <a:lnTo>
                    <a:pt x="93626" y="114037"/>
                  </a:lnTo>
                  <a:lnTo>
                    <a:pt x="92307" y="108074"/>
                  </a:lnTo>
                  <a:lnTo>
                    <a:pt x="92307" y="106583"/>
                  </a:lnTo>
                  <a:lnTo>
                    <a:pt x="93626" y="105093"/>
                  </a:lnTo>
                  <a:lnTo>
                    <a:pt x="96263" y="105093"/>
                  </a:lnTo>
                  <a:lnTo>
                    <a:pt x="98901" y="106583"/>
                  </a:lnTo>
                  <a:lnTo>
                    <a:pt x="98901" y="109565"/>
                  </a:lnTo>
                  <a:lnTo>
                    <a:pt x="104175" y="110310"/>
                  </a:lnTo>
                  <a:lnTo>
                    <a:pt x="108791" y="112546"/>
                  </a:lnTo>
                  <a:lnTo>
                    <a:pt x="110769" y="114782"/>
                  </a:lnTo>
                  <a:lnTo>
                    <a:pt x="109450" y="117018"/>
                  </a:lnTo>
                  <a:lnTo>
                    <a:pt x="108791" y="120000"/>
                  </a:lnTo>
                  <a:lnTo>
                    <a:pt x="111428" y="120000"/>
                  </a:lnTo>
                  <a:lnTo>
                    <a:pt x="112747" y="117763"/>
                  </a:lnTo>
                  <a:lnTo>
                    <a:pt x="114065" y="116273"/>
                  </a:lnTo>
                  <a:lnTo>
                    <a:pt x="116043" y="117763"/>
                  </a:lnTo>
                  <a:lnTo>
                    <a:pt x="116043" y="119254"/>
                  </a:lnTo>
                  <a:lnTo>
                    <a:pt x="117362" y="117018"/>
                  </a:lnTo>
                  <a:lnTo>
                    <a:pt x="119340" y="114782"/>
                  </a:lnTo>
                  <a:lnTo>
                    <a:pt x="120000" y="114037"/>
                  </a:lnTo>
                  <a:lnTo>
                    <a:pt x="119340" y="111055"/>
                  </a:lnTo>
                  <a:close/>
                </a:path>
              </a:pathLst>
            </a:custGeom>
            <a:solidFill>
              <a:srgbClr val="FFC000"/>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6" name="Shape 1422">
              <a:extLst>
                <a:ext uri="{FF2B5EF4-FFF2-40B4-BE49-F238E27FC236}">
                  <a16:creationId xmlns:a16="http://schemas.microsoft.com/office/drawing/2014/main" id="{2E43F4A0-06B6-6E63-33ED-7714C8322CA5}"/>
                </a:ext>
              </a:extLst>
            </p:cNvPr>
            <p:cNvSpPr/>
            <p:nvPr/>
          </p:nvSpPr>
          <p:spPr>
            <a:xfrm>
              <a:off x="10008277" y="5004786"/>
              <a:ext cx="250691" cy="485717"/>
            </a:xfrm>
            <a:custGeom>
              <a:avLst/>
              <a:gdLst/>
              <a:ahLst/>
              <a:cxnLst/>
              <a:rect l="0" t="0" r="0" b="0"/>
              <a:pathLst>
                <a:path w="120000" h="120000" extrusionOk="0">
                  <a:moveTo>
                    <a:pt x="113793" y="87487"/>
                  </a:moveTo>
                  <a:lnTo>
                    <a:pt x="113793" y="58522"/>
                  </a:lnTo>
                  <a:lnTo>
                    <a:pt x="114827" y="4137"/>
                  </a:lnTo>
                  <a:lnTo>
                    <a:pt x="114827" y="0"/>
                  </a:lnTo>
                  <a:lnTo>
                    <a:pt x="42413" y="2955"/>
                  </a:lnTo>
                  <a:lnTo>
                    <a:pt x="42413" y="2955"/>
                  </a:lnTo>
                  <a:lnTo>
                    <a:pt x="43448" y="4729"/>
                  </a:lnTo>
                  <a:lnTo>
                    <a:pt x="39310" y="5911"/>
                  </a:lnTo>
                  <a:lnTo>
                    <a:pt x="37241" y="7093"/>
                  </a:lnTo>
                  <a:lnTo>
                    <a:pt x="36206" y="8866"/>
                  </a:lnTo>
                  <a:lnTo>
                    <a:pt x="34137" y="10049"/>
                  </a:lnTo>
                  <a:lnTo>
                    <a:pt x="33103" y="10049"/>
                  </a:lnTo>
                  <a:lnTo>
                    <a:pt x="31034" y="13004"/>
                  </a:lnTo>
                  <a:lnTo>
                    <a:pt x="31034" y="15369"/>
                  </a:lnTo>
                  <a:lnTo>
                    <a:pt x="27931" y="18325"/>
                  </a:lnTo>
                  <a:lnTo>
                    <a:pt x="22758" y="21871"/>
                  </a:lnTo>
                  <a:lnTo>
                    <a:pt x="19655" y="23645"/>
                  </a:lnTo>
                  <a:lnTo>
                    <a:pt x="18620" y="26009"/>
                  </a:lnTo>
                  <a:lnTo>
                    <a:pt x="20689" y="26600"/>
                  </a:lnTo>
                  <a:lnTo>
                    <a:pt x="18620" y="28374"/>
                  </a:lnTo>
                  <a:lnTo>
                    <a:pt x="16551" y="30738"/>
                  </a:lnTo>
                  <a:lnTo>
                    <a:pt x="17586" y="31921"/>
                  </a:lnTo>
                  <a:lnTo>
                    <a:pt x="16551" y="31921"/>
                  </a:lnTo>
                  <a:lnTo>
                    <a:pt x="13448" y="34285"/>
                  </a:lnTo>
                  <a:lnTo>
                    <a:pt x="11379" y="36059"/>
                  </a:lnTo>
                  <a:lnTo>
                    <a:pt x="12413" y="36650"/>
                  </a:lnTo>
                  <a:lnTo>
                    <a:pt x="11379" y="37832"/>
                  </a:lnTo>
                  <a:lnTo>
                    <a:pt x="11379" y="39014"/>
                  </a:lnTo>
                  <a:lnTo>
                    <a:pt x="12413" y="39605"/>
                  </a:lnTo>
                  <a:lnTo>
                    <a:pt x="14482" y="41379"/>
                  </a:lnTo>
                  <a:lnTo>
                    <a:pt x="14482" y="42561"/>
                  </a:lnTo>
                  <a:lnTo>
                    <a:pt x="14482" y="46108"/>
                  </a:lnTo>
                  <a:lnTo>
                    <a:pt x="15517" y="47881"/>
                  </a:lnTo>
                  <a:lnTo>
                    <a:pt x="14482" y="49655"/>
                  </a:lnTo>
                  <a:lnTo>
                    <a:pt x="12413" y="52610"/>
                  </a:lnTo>
                  <a:lnTo>
                    <a:pt x="11379" y="52610"/>
                  </a:lnTo>
                  <a:lnTo>
                    <a:pt x="14482" y="53793"/>
                  </a:lnTo>
                  <a:lnTo>
                    <a:pt x="15517" y="55566"/>
                  </a:lnTo>
                  <a:lnTo>
                    <a:pt x="15517" y="56748"/>
                  </a:lnTo>
                  <a:lnTo>
                    <a:pt x="11379" y="57931"/>
                  </a:lnTo>
                  <a:lnTo>
                    <a:pt x="14482" y="59113"/>
                  </a:lnTo>
                  <a:lnTo>
                    <a:pt x="15517" y="60295"/>
                  </a:lnTo>
                  <a:lnTo>
                    <a:pt x="15517" y="60886"/>
                  </a:lnTo>
                  <a:lnTo>
                    <a:pt x="16551" y="63842"/>
                  </a:lnTo>
                  <a:lnTo>
                    <a:pt x="16551" y="65024"/>
                  </a:lnTo>
                  <a:lnTo>
                    <a:pt x="19655" y="66206"/>
                  </a:lnTo>
                  <a:lnTo>
                    <a:pt x="20689" y="67980"/>
                  </a:lnTo>
                  <a:lnTo>
                    <a:pt x="19655" y="72709"/>
                  </a:lnTo>
                  <a:lnTo>
                    <a:pt x="16551" y="74482"/>
                  </a:lnTo>
                  <a:lnTo>
                    <a:pt x="15517" y="74482"/>
                  </a:lnTo>
                  <a:lnTo>
                    <a:pt x="15517" y="76847"/>
                  </a:lnTo>
                  <a:lnTo>
                    <a:pt x="14482" y="78029"/>
                  </a:lnTo>
                  <a:lnTo>
                    <a:pt x="10344" y="81576"/>
                  </a:lnTo>
                  <a:lnTo>
                    <a:pt x="8275" y="82758"/>
                  </a:lnTo>
                  <a:lnTo>
                    <a:pt x="7241" y="86896"/>
                  </a:lnTo>
                  <a:lnTo>
                    <a:pt x="6206" y="88078"/>
                  </a:lnTo>
                  <a:lnTo>
                    <a:pt x="5172" y="88669"/>
                  </a:lnTo>
                  <a:lnTo>
                    <a:pt x="4137" y="90443"/>
                  </a:lnTo>
                  <a:lnTo>
                    <a:pt x="4137" y="91625"/>
                  </a:lnTo>
                  <a:lnTo>
                    <a:pt x="4137" y="94581"/>
                  </a:lnTo>
                  <a:lnTo>
                    <a:pt x="1034" y="95763"/>
                  </a:lnTo>
                  <a:lnTo>
                    <a:pt x="0" y="96945"/>
                  </a:lnTo>
                  <a:lnTo>
                    <a:pt x="0" y="98719"/>
                  </a:lnTo>
                  <a:lnTo>
                    <a:pt x="1034" y="101083"/>
                  </a:lnTo>
                  <a:lnTo>
                    <a:pt x="68275" y="99310"/>
                  </a:lnTo>
                  <a:lnTo>
                    <a:pt x="67241" y="108768"/>
                  </a:lnTo>
                  <a:lnTo>
                    <a:pt x="69310" y="111133"/>
                  </a:lnTo>
                  <a:lnTo>
                    <a:pt x="72413" y="113497"/>
                  </a:lnTo>
                  <a:lnTo>
                    <a:pt x="73448" y="117635"/>
                  </a:lnTo>
                  <a:lnTo>
                    <a:pt x="73448" y="120000"/>
                  </a:lnTo>
                  <a:lnTo>
                    <a:pt x="73448" y="120000"/>
                  </a:lnTo>
                  <a:lnTo>
                    <a:pt x="74482" y="120000"/>
                  </a:lnTo>
                  <a:lnTo>
                    <a:pt x="79655" y="118226"/>
                  </a:lnTo>
                  <a:lnTo>
                    <a:pt x="81724" y="117635"/>
                  </a:lnTo>
                  <a:lnTo>
                    <a:pt x="84827" y="116453"/>
                  </a:lnTo>
                  <a:lnTo>
                    <a:pt x="84827" y="114088"/>
                  </a:lnTo>
                  <a:lnTo>
                    <a:pt x="88965" y="114088"/>
                  </a:lnTo>
                  <a:lnTo>
                    <a:pt x="92068" y="114088"/>
                  </a:lnTo>
                  <a:lnTo>
                    <a:pt x="96206" y="113497"/>
                  </a:lnTo>
                  <a:lnTo>
                    <a:pt x="101379" y="112315"/>
                  </a:lnTo>
                  <a:lnTo>
                    <a:pt x="105517" y="112315"/>
                  </a:lnTo>
                  <a:lnTo>
                    <a:pt x="107586" y="112315"/>
                  </a:lnTo>
                  <a:lnTo>
                    <a:pt x="110689" y="112315"/>
                  </a:lnTo>
                  <a:lnTo>
                    <a:pt x="112758" y="112315"/>
                  </a:lnTo>
                  <a:lnTo>
                    <a:pt x="116896" y="113497"/>
                  </a:lnTo>
                  <a:lnTo>
                    <a:pt x="118965" y="112315"/>
                  </a:lnTo>
                  <a:lnTo>
                    <a:pt x="120000" y="111724"/>
                  </a:lnTo>
                  <a:lnTo>
                    <a:pt x="120000" y="111724"/>
                  </a:lnTo>
                  <a:lnTo>
                    <a:pt x="120000" y="111724"/>
                  </a:lnTo>
                  <a:lnTo>
                    <a:pt x="113793" y="87487"/>
                  </a:lnTo>
                  <a:close/>
                </a:path>
              </a:pathLst>
            </a:custGeom>
            <a:solidFill>
              <a:srgbClr val="FFC000"/>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7" name="Shape 1430">
              <a:extLst>
                <a:ext uri="{FF2B5EF4-FFF2-40B4-BE49-F238E27FC236}">
                  <a16:creationId xmlns:a16="http://schemas.microsoft.com/office/drawing/2014/main" id="{D7D95C13-0226-8319-3A44-855A4546A041}"/>
                </a:ext>
              </a:extLst>
            </p:cNvPr>
            <p:cNvSpPr/>
            <p:nvPr/>
          </p:nvSpPr>
          <p:spPr>
            <a:xfrm>
              <a:off x="10036377" y="3784510"/>
              <a:ext cx="525151" cy="547928"/>
            </a:xfrm>
            <a:custGeom>
              <a:avLst/>
              <a:gdLst/>
              <a:ahLst/>
              <a:cxnLst/>
              <a:rect l="0" t="0" r="0" b="0"/>
              <a:pathLst>
                <a:path w="120000" h="120000" extrusionOk="0">
                  <a:moveTo>
                    <a:pt x="0" y="22666"/>
                  </a:moveTo>
                  <a:cubicBezTo>
                    <a:pt x="836" y="21777"/>
                    <a:pt x="836" y="21777"/>
                    <a:pt x="836" y="21777"/>
                  </a:cubicBezTo>
                  <a:cubicBezTo>
                    <a:pt x="2508" y="21777"/>
                    <a:pt x="2508" y="21777"/>
                    <a:pt x="2508" y="21777"/>
                  </a:cubicBezTo>
                  <a:cubicBezTo>
                    <a:pt x="4599" y="20444"/>
                    <a:pt x="4599" y="20444"/>
                    <a:pt x="4599" y="20444"/>
                  </a:cubicBezTo>
                  <a:cubicBezTo>
                    <a:pt x="5017" y="19555"/>
                    <a:pt x="5017" y="19555"/>
                    <a:pt x="5017" y="19555"/>
                  </a:cubicBezTo>
                  <a:cubicBezTo>
                    <a:pt x="5853" y="17777"/>
                    <a:pt x="5853" y="17777"/>
                    <a:pt x="5853" y="17777"/>
                  </a:cubicBezTo>
                  <a:cubicBezTo>
                    <a:pt x="7108" y="16444"/>
                    <a:pt x="7108" y="16444"/>
                    <a:pt x="7108" y="16444"/>
                  </a:cubicBezTo>
                  <a:cubicBezTo>
                    <a:pt x="8362" y="16000"/>
                    <a:pt x="8362" y="16000"/>
                    <a:pt x="8362" y="16000"/>
                  </a:cubicBezTo>
                  <a:cubicBezTo>
                    <a:pt x="9616" y="16000"/>
                    <a:pt x="9616" y="16000"/>
                    <a:pt x="9616" y="16000"/>
                  </a:cubicBezTo>
                  <a:cubicBezTo>
                    <a:pt x="12125" y="16000"/>
                    <a:pt x="12125" y="16000"/>
                    <a:pt x="12125" y="16000"/>
                  </a:cubicBezTo>
                  <a:cubicBezTo>
                    <a:pt x="13379" y="15111"/>
                    <a:pt x="13379" y="15111"/>
                    <a:pt x="13379" y="15111"/>
                  </a:cubicBezTo>
                  <a:cubicBezTo>
                    <a:pt x="17560" y="12000"/>
                    <a:pt x="17560" y="12000"/>
                    <a:pt x="17560" y="12000"/>
                  </a:cubicBezTo>
                  <a:cubicBezTo>
                    <a:pt x="18815" y="11555"/>
                    <a:pt x="18815" y="11555"/>
                    <a:pt x="18815" y="11555"/>
                  </a:cubicBezTo>
                  <a:cubicBezTo>
                    <a:pt x="20487" y="9777"/>
                    <a:pt x="20487" y="9777"/>
                    <a:pt x="20487" y="9777"/>
                  </a:cubicBezTo>
                  <a:cubicBezTo>
                    <a:pt x="21742" y="7555"/>
                    <a:pt x="21742" y="7555"/>
                    <a:pt x="21742" y="7555"/>
                  </a:cubicBezTo>
                  <a:cubicBezTo>
                    <a:pt x="23414" y="6222"/>
                    <a:pt x="23414" y="6222"/>
                    <a:pt x="23414" y="6222"/>
                  </a:cubicBezTo>
                  <a:cubicBezTo>
                    <a:pt x="25505" y="4000"/>
                    <a:pt x="25505" y="4000"/>
                    <a:pt x="25505" y="4000"/>
                  </a:cubicBezTo>
                  <a:cubicBezTo>
                    <a:pt x="27177" y="1777"/>
                    <a:pt x="27177" y="1777"/>
                    <a:pt x="27177" y="1777"/>
                  </a:cubicBezTo>
                  <a:cubicBezTo>
                    <a:pt x="29268" y="444"/>
                    <a:pt x="29268" y="444"/>
                    <a:pt x="29268" y="444"/>
                  </a:cubicBezTo>
                  <a:cubicBezTo>
                    <a:pt x="32195" y="0"/>
                    <a:pt x="32195" y="0"/>
                    <a:pt x="32195" y="0"/>
                  </a:cubicBezTo>
                  <a:cubicBezTo>
                    <a:pt x="33449" y="0"/>
                    <a:pt x="33449" y="0"/>
                    <a:pt x="33449" y="0"/>
                  </a:cubicBezTo>
                  <a:cubicBezTo>
                    <a:pt x="35540" y="888"/>
                    <a:pt x="35540" y="888"/>
                    <a:pt x="35540" y="888"/>
                  </a:cubicBezTo>
                  <a:cubicBezTo>
                    <a:pt x="34703" y="1333"/>
                    <a:pt x="34703" y="1333"/>
                    <a:pt x="34703" y="1333"/>
                  </a:cubicBezTo>
                  <a:cubicBezTo>
                    <a:pt x="33031" y="2222"/>
                    <a:pt x="33031" y="2222"/>
                    <a:pt x="33031" y="2222"/>
                  </a:cubicBezTo>
                  <a:cubicBezTo>
                    <a:pt x="31358" y="2666"/>
                    <a:pt x="31358" y="2666"/>
                    <a:pt x="31358" y="2666"/>
                  </a:cubicBezTo>
                  <a:cubicBezTo>
                    <a:pt x="31777" y="3555"/>
                    <a:pt x="31777" y="3555"/>
                    <a:pt x="31777" y="3555"/>
                  </a:cubicBezTo>
                  <a:cubicBezTo>
                    <a:pt x="29268" y="6222"/>
                    <a:pt x="29268" y="6222"/>
                    <a:pt x="29268" y="6222"/>
                  </a:cubicBezTo>
                  <a:cubicBezTo>
                    <a:pt x="29268" y="6222"/>
                    <a:pt x="28432" y="6222"/>
                    <a:pt x="28432" y="6666"/>
                  </a:cubicBezTo>
                  <a:cubicBezTo>
                    <a:pt x="28432" y="7111"/>
                    <a:pt x="27177" y="10222"/>
                    <a:pt x="27177" y="10222"/>
                  </a:cubicBezTo>
                  <a:cubicBezTo>
                    <a:pt x="27177" y="8444"/>
                    <a:pt x="27177" y="8444"/>
                    <a:pt x="27177" y="8444"/>
                  </a:cubicBezTo>
                  <a:cubicBezTo>
                    <a:pt x="26341" y="7555"/>
                    <a:pt x="26341" y="7555"/>
                    <a:pt x="26341" y="7555"/>
                  </a:cubicBezTo>
                  <a:cubicBezTo>
                    <a:pt x="25923" y="12000"/>
                    <a:pt x="25923" y="12000"/>
                    <a:pt x="25923" y="12000"/>
                  </a:cubicBezTo>
                  <a:cubicBezTo>
                    <a:pt x="25923" y="14666"/>
                    <a:pt x="25923" y="14666"/>
                    <a:pt x="25923" y="14666"/>
                  </a:cubicBezTo>
                  <a:cubicBezTo>
                    <a:pt x="27177" y="13777"/>
                    <a:pt x="27177" y="13777"/>
                    <a:pt x="27177" y="13777"/>
                  </a:cubicBezTo>
                  <a:cubicBezTo>
                    <a:pt x="28013" y="12888"/>
                    <a:pt x="28013" y="12888"/>
                    <a:pt x="28013" y="12888"/>
                  </a:cubicBezTo>
                  <a:cubicBezTo>
                    <a:pt x="28432" y="12888"/>
                    <a:pt x="28432" y="12888"/>
                    <a:pt x="28432" y="12888"/>
                  </a:cubicBezTo>
                  <a:cubicBezTo>
                    <a:pt x="28850" y="13777"/>
                    <a:pt x="28850" y="13777"/>
                    <a:pt x="28850" y="13777"/>
                  </a:cubicBezTo>
                  <a:cubicBezTo>
                    <a:pt x="30104" y="13777"/>
                    <a:pt x="30104" y="13777"/>
                    <a:pt x="30104" y="13777"/>
                  </a:cubicBezTo>
                  <a:cubicBezTo>
                    <a:pt x="30940" y="13333"/>
                    <a:pt x="30940" y="13333"/>
                    <a:pt x="30940" y="13333"/>
                  </a:cubicBezTo>
                  <a:cubicBezTo>
                    <a:pt x="32195" y="12444"/>
                    <a:pt x="32195" y="12444"/>
                    <a:pt x="32195" y="12444"/>
                  </a:cubicBezTo>
                  <a:cubicBezTo>
                    <a:pt x="34285" y="12888"/>
                    <a:pt x="34285" y="12888"/>
                    <a:pt x="34285" y="12888"/>
                  </a:cubicBezTo>
                  <a:cubicBezTo>
                    <a:pt x="38466" y="15111"/>
                    <a:pt x="38466" y="15111"/>
                    <a:pt x="38466" y="15111"/>
                  </a:cubicBezTo>
                  <a:cubicBezTo>
                    <a:pt x="40975" y="18222"/>
                    <a:pt x="40975" y="18222"/>
                    <a:pt x="40975" y="18222"/>
                  </a:cubicBezTo>
                  <a:cubicBezTo>
                    <a:pt x="42648" y="19555"/>
                    <a:pt x="42648" y="19555"/>
                    <a:pt x="42648" y="19555"/>
                  </a:cubicBezTo>
                  <a:cubicBezTo>
                    <a:pt x="46411" y="20000"/>
                    <a:pt x="46411" y="20000"/>
                    <a:pt x="46411" y="20000"/>
                  </a:cubicBezTo>
                  <a:cubicBezTo>
                    <a:pt x="47665" y="19555"/>
                    <a:pt x="47665" y="19555"/>
                    <a:pt x="47665" y="19555"/>
                  </a:cubicBezTo>
                  <a:cubicBezTo>
                    <a:pt x="50592" y="20444"/>
                    <a:pt x="50592" y="20444"/>
                    <a:pt x="50592" y="20444"/>
                  </a:cubicBezTo>
                  <a:cubicBezTo>
                    <a:pt x="53101" y="21333"/>
                    <a:pt x="53101" y="21333"/>
                    <a:pt x="53101" y="21333"/>
                  </a:cubicBezTo>
                  <a:cubicBezTo>
                    <a:pt x="54355" y="19555"/>
                    <a:pt x="54355" y="19555"/>
                    <a:pt x="54355" y="19555"/>
                  </a:cubicBezTo>
                  <a:cubicBezTo>
                    <a:pt x="56445" y="17333"/>
                    <a:pt x="56445" y="17333"/>
                    <a:pt x="56445" y="17333"/>
                  </a:cubicBezTo>
                  <a:cubicBezTo>
                    <a:pt x="58118" y="15555"/>
                    <a:pt x="58118" y="15555"/>
                    <a:pt x="58118" y="15555"/>
                  </a:cubicBezTo>
                  <a:cubicBezTo>
                    <a:pt x="61881" y="14666"/>
                    <a:pt x="61881" y="14666"/>
                    <a:pt x="61881" y="14666"/>
                  </a:cubicBezTo>
                  <a:cubicBezTo>
                    <a:pt x="64390" y="13777"/>
                    <a:pt x="64390" y="13777"/>
                    <a:pt x="64390" y="13777"/>
                  </a:cubicBezTo>
                  <a:cubicBezTo>
                    <a:pt x="66898" y="13777"/>
                    <a:pt x="66898" y="13777"/>
                    <a:pt x="66898" y="13777"/>
                  </a:cubicBezTo>
                  <a:cubicBezTo>
                    <a:pt x="70662" y="12444"/>
                    <a:pt x="70662" y="12444"/>
                    <a:pt x="70662" y="12444"/>
                  </a:cubicBezTo>
                  <a:cubicBezTo>
                    <a:pt x="73170" y="11555"/>
                    <a:pt x="73170" y="11555"/>
                    <a:pt x="73170" y="11555"/>
                  </a:cubicBezTo>
                  <a:cubicBezTo>
                    <a:pt x="74425" y="12444"/>
                    <a:pt x="74425" y="12444"/>
                    <a:pt x="74425" y="12444"/>
                  </a:cubicBezTo>
                  <a:cubicBezTo>
                    <a:pt x="75261" y="16000"/>
                    <a:pt x="75261" y="16000"/>
                    <a:pt x="75261" y="16000"/>
                  </a:cubicBezTo>
                  <a:cubicBezTo>
                    <a:pt x="79860" y="16888"/>
                    <a:pt x="79860" y="16888"/>
                    <a:pt x="79860" y="16888"/>
                  </a:cubicBezTo>
                  <a:cubicBezTo>
                    <a:pt x="82787" y="16888"/>
                    <a:pt x="82787" y="16888"/>
                    <a:pt x="82787" y="16888"/>
                  </a:cubicBezTo>
                  <a:cubicBezTo>
                    <a:pt x="84878" y="17333"/>
                    <a:pt x="84878" y="17333"/>
                    <a:pt x="84878" y="17333"/>
                  </a:cubicBezTo>
                  <a:cubicBezTo>
                    <a:pt x="86550" y="19555"/>
                    <a:pt x="86550" y="19555"/>
                    <a:pt x="86550" y="19555"/>
                  </a:cubicBezTo>
                  <a:cubicBezTo>
                    <a:pt x="89059" y="22666"/>
                    <a:pt x="89059" y="22666"/>
                    <a:pt x="89059" y="22666"/>
                  </a:cubicBezTo>
                  <a:cubicBezTo>
                    <a:pt x="89895" y="23555"/>
                    <a:pt x="89895" y="23555"/>
                    <a:pt x="89895" y="23555"/>
                  </a:cubicBezTo>
                  <a:cubicBezTo>
                    <a:pt x="89895" y="23555"/>
                    <a:pt x="90313" y="24000"/>
                    <a:pt x="90731" y="24444"/>
                  </a:cubicBezTo>
                  <a:cubicBezTo>
                    <a:pt x="91149" y="24888"/>
                    <a:pt x="91567" y="25777"/>
                    <a:pt x="91567" y="25777"/>
                  </a:cubicBezTo>
                  <a:cubicBezTo>
                    <a:pt x="93658" y="26222"/>
                    <a:pt x="93658" y="26222"/>
                    <a:pt x="93658" y="26222"/>
                  </a:cubicBezTo>
                  <a:cubicBezTo>
                    <a:pt x="93658" y="26222"/>
                    <a:pt x="94494" y="25333"/>
                    <a:pt x="94494" y="25333"/>
                  </a:cubicBezTo>
                  <a:cubicBezTo>
                    <a:pt x="94494" y="24888"/>
                    <a:pt x="96167" y="24000"/>
                    <a:pt x="96167" y="24000"/>
                  </a:cubicBezTo>
                  <a:cubicBezTo>
                    <a:pt x="97003" y="24888"/>
                    <a:pt x="97003" y="24888"/>
                    <a:pt x="97003" y="24888"/>
                  </a:cubicBezTo>
                  <a:cubicBezTo>
                    <a:pt x="97003" y="24888"/>
                    <a:pt x="97839" y="25333"/>
                    <a:pt x="97003" y="25777"/>
                  </a:cubicBezTo>
                  <a:cubicBezTo>
                    <a:pt x="96585" y="25777"/>
                    <a:pt x="96167" y="26666"/>
                    <a:pt x="95749" y="26666"/>
                  </a:cubicBezTo>
                  <a:cubicBezTo>
                    <a:pt x="94912" y="26666"/>
                    <a:pt x="94076" y="26666"/>
                    <a:pt x="94076" y="26666"/>
                  </a:cubicBezTo>
                  <a:cubicBezTo>
                    <a:pt x="92404" y="26666"/>
                    <a:pt x="92404" y="26666"/>
                    <a:pt x="92404" y="26666"/>
                  </a:cubicBezTo>
                  <a:cubicBezTo>
                    <a:pt x="91567" y="27555"/>
                    <a:pt x="91567" y="27555"/>
                    <a:pt x="91567" y="27555"/>
                  </a:cubicBezTo>
                  <a:cubicBezTo>
                    <a:pt x="86968" y="27555"/>
                    <a:pt x="86968" y="27555"/>
                    <a:pt x="86968" y="27555"/>
                  </a:cubicBezTo>
                  <a:cubicBezTo>
                    <a:pt x="85714" y="28000"/>
                    <a:pt x="85714" y="28000"/>
                    <a:pt x="85714" y="28000"/>
                  </a:cubicBezTo>
                  <a:cubicBezTo>
                    <a:pt x="84041" y="27111"/>
                    <a:pt x="84041" y="27111"/>
                    <a:pt x="84041" y="27111"/>
                  </a:cubicBezTo>
                  <a:cubicBezTo>
                    <a:pt x="82369" y="26222"/>
                    <a:pt x="82369" y="26222"/>
                    <a:pt x="82369" y="26222"/>
                  </a:cubicBezTo>
                  <a:cubicBezTo>
                    <a:pt x="80696" y="28444"/>
                    <a:pt x="80696" y="28444"/>
                    <a:pt x="80696" y="28444"/>
                  </a:cubicBezTo>
                  <a:cubicBezTo>
                    <a:pt x="81114" y="29777"/>
                    <a:pt x="81114" y="29777"/>
                    <a:pt x="81114" y="29777"/>
                  </a:cubicBezTo>
                  <a:cubicBezTo>
                    <a:pt x="81114" y="30666"/>
                    <a:pt x="81114" y="30666"/>
                    <a:pt x="81114" y="30666"/>
                  </a:cubicBezTo>
                  <a:cubicBezTo>
                    <a:pt x="81114" y="30666"/>
                    <a:pt x="81114" y="31555"/>
                    <a:pt x="81533" y="31555"/>
                  </a:cubicBezTo>
                  <a:cubicBezTo>
                    <a:pt x="81533" y="31555"/>
                    <a:pt x="81951" y="32000"/>
                    <a:pt x="81951" y="32000"/>
                  </a:cubicBezTo>
                  <a:cubicBezTo>
                    <a:pt x="84041" y="32888"/>
                    <a:pt x="84041" y="32888"/>
                    <a:pt x="84041" y="32888"/>
                  </a:cubicBezTo>
                  <a:cubicBezTo>
                    <a:pt x="84878" y="32000"/>
                    <a:pt x="84878" y="32000"/>
                    <a:pt x="84878" y="32000"/>
                  </a:cubicBezTo>
                  <a:cubicBezTo>
                    <a:pt x="84878" y="32000"/>
                    <a:pt x="83623" y="31111"/>
                    <a:pt x="84041" y="31111"/>
                  </a:cubicBezTo>
                  <a:cubicBezTo>
                    <a:pt x="84459" y="31111"/>
                    <a:pt x="86132" y="32000"/>
                    <a:pt x="86132" y="32000"/>
                  </a:cubicBezTo>
                  <a:cubicBezTo>
                    <a:pt x="86132" y="32000"/>
                    <a:pt x="85714" y="32888"/>
                    <a:pt x="85714" y="32888"/>
                  </a:cubicBezTo>
                  <a:cubicBezTo>
                    <a:pt x="85296" y="33333"/>
                    <a:pt x="85296" y="33333"/>
                    <a:pt x="85296" y="33333"/>
                  </a:cubicBezTo>
                  <a:cubicBezTo>
                    <a:pt x="85714" y="33777"/>
                    <a:pt x="87804" y="34222"/>
                    <a:pt x="87804" y="34222"/>
                  </a:cubicBezTo>
                  <a:cubicBezTo>
                    <a:pt x="88222" y="34222"/>
                    <a:pt x="89477" y="35111"/>
                    <a:pt x="89477" y="35111"/>
                  </a:cubicBezTo>
                  <a:cubicBezTo>
                    <a:pt x="91567" y="36444"/>
                    <a:pt x="91567" y="36444"/>
                    <a:pt x="91567" y="36444"/>
                  </a:cubicBezTo>
                  <a:cubicBezTo>
                    <a:pt x="94494" y="37777"/>
                    <a:pt x="94494" y="37777"/>
                    <a:pt x="94494" y="37777"/>
                  </a:cubicBezTo>
                  <a:cubicBezTo>
                    <a:pt x="97839" y="39111"/>
                    <a:pt x="97839" y="39111"/>
                    <a:pt x="97839" y="39111"/>
                  </a:cubicBezTo>
                  <a:cubicBezTo>
                    <a:pt x="101184" y="42666"/>
                    <a:pt x="101184" y="42666"/>
                    <a:pt x="101184" y="42666"/>
                  </a:cubicBezTo>
                  <a:cubicBezTo>
                    <a:pt x="102857" y="44888"/>
                    <a:pt x="102857" y="44888"/>
                    <a:pt x="102857" y="44888"/>
                  </a:cubicBezTo>
                  <a:cubicBezTo>
                    <a:pt x="102020" y="45777"/>
                    <a:pt x="102020" y="45777"/>
                    <a:pt x="102020" y="45777"/>
                  </a:cubicBezTo>
                  <a:cubicBezTo>
                    <a:pt x="102020" y="45777"/>
                    <a:pt x="101602" y="45777"/>
                    <a:pt x="101602" y="46222"/>
                  </a:cubicBezTo>
                  <a:cubicBezTo>
                    <a:pt x="102020" y="46666"/>
                    <a:pt x="102857" y="48444"/>
                    <a:pt x="102857" y="48444"/>
                  </a:cubicBezTo>
                  <a:cubicBezTo>
                    <a:pt x="102439" y="48888"/>
                    <a:pt x="103275" y="50222"/>
                    <a:pt x="103275" y="50222"/>
                  </a:cubicBezTo>
                  <a:cubicBezTo>
                    <a:pt x="104111" y="55111"/>
                    <a:pt x="104111" y="55111"/>
                    <a:pt x="104111" y="55111"/>
                  </a:cubicBezTo>
                  <a:cubicBezTo>
                    <a:pt x="104529" y="57777"/>
                    <a:pt x="104529" y="57777"/>
                    <a:pt x="104529" y="57777"/>
                  </a:cubicBezTo>
                  <a:cubicBezTo>
                    <a:pt x="104111" y="60444"/>
                    <a:pt x="104111" y="60444"/>
                    <a:pt x="104111" y="60444"/>
                  </a:cubicBezTo>
                  <a:cubicBezTo>
                    <a:pt x="102439" y="62666"/>
                    <a:pt x="102439" y="62666"/>
                    <a:pt x="102439" y="62666"/>
                  </a:cubicBezTo>
                  <a:cubicBezTo>
                    <a:pt x="101184" y="65333"/>
                    <a:pt x="101184" y="65333"/>
                    <a:pt x="101184" y="65333"/>
                  </a:cubicBezTo>
                  <a:cubicBezTo>
                    <a:pt x="101184" y="65333"/>
                    <a:pt x="100348" y="67111"/>
                    <a:pt x="99930" y="67555"/>
                  </a:cubicBezTo>
                  <a:cubicBezTo>
                    <a:pt x="99930" y="67555"/>
                    <a:pt x="98257" y="68888"/>
                    <a:pt x="98257" y="69333"/>
                  </a:cubicBezTo>
                  <a:cubicBezTo>
                    <a:pt x="98257" y="69333"/>
                    <a:pt x="97421" y="71111"/>
                    <a:pt x="97421" y="71111"/>
                  </a:cubicBezTo>
                  <a:cubicBezTo>
                    <a:pt x="97421" y="74666"/>
                    <a:pt x="97421" y="74666"/>
                    <a:pt x="97421" y="74666"/>
                  </a:cubicBezTo>
                  <a:cubicBezTo>
                    <a:pt x="98257" y="75555"/>
                    <a:pt x="98257" y="75555"/>
                    <a:pt x="98257" y="75555"/>
                  </a:cubicBezTo>
                  <a:cubicBezTo>
                    <a:pt x="100348" y="76444"/>
                    <a:pt x="100348" y="76444"/>
                    <a:pt x="100348" y="76444"/>
                  </a:cubicBezTo>
                  <a:cubicBezTo>
                    <a:pt x="101184" y="75555"/>
                    <a:pt x="101184" y="75555"/>
                    <a:pt x="101184" y="75555"/>
                  </a:cubicBezTo>
                  <a:cubicBezTo>
                    <a:pt x="101184" y="75555"/>
                    <a:pt x="102020" y="75111"/>
                    <a:pt x="102020" y="74666"/>
                  </a:cubicBezTo>
                  <a:cubicBezTo>
                    <a:pt x="102439" y="74666"/>
                    <a:pt x="102857" y="73777"/>
                    <a:pt x="102857" y="73777"/>
                  </a:cubicBezTo>
                  <a:cubicBezTo>
                    <a:pt x="102857" y="73777"/>
                    <a:pt x="104111" y="72888"/>
                    <a:pt x="104111" y="72888"/>
                  </a:cubicBezTo>
                  <a:cubicBezTo>
                    <a:pt x="104111" y="72888"/>
                    <a:pt x="104111" y="71555"/>
                    <a:pt x="104111" y="71555"/>
                  </a:cubicBezTo>
                  <a:cubicBezTo>
                    <a:pt x="104111" y="71555"/>
                    <a:pt x="104529" y="69777"/>
                    <a:pt x="104529" y="69777"/>
                  </a:cubicBezTo>
                  <a:cubicBezTo>
                    <a:pt x="104529" y="69777"/>
                    <a:pt x="105365" y="69333"/>
                    <a:pt x="105365" y="69333"/>
                  </a:cubicBezTo>
                  <a:cubicBezTo>
                    <a:pt x="105365" y="68888"/>
                    <a:pt x="106620" y="68000"/>
                    <a:pt x="106620" y="68000"/>
                  </a:cubicBezTo>
                  <a:cubicBezTo>
                    <a:pt x="106620" y="68000"/>
                    <a:pt x="108292" y="66666"/>
                    <a:pt x="108292" y="66666"/>
                  </a:cubicBezTo>
                  <a:cubicBezTo>
                    <a:pt x="108710" y="66666"/>
                    <a:pt x="109547" y="65333"/>
                    <a:pt x="109547" y="65333"/>
                  </a:cubicBezTo>
                  <a:cubicBezTo>
                    <a:pt x="110801" y="65333"/>
                    <a:pt x="110801" y="65333"/>
                    <a:pt x="110801" y="65333"/>
                  </a:cubicBezTo>
                  <a:cubicBezTo>
                    <a:pt x="112473" y="65777"/>
                    <a:pt x="112473" y="65777"/>
                    <a:pt x="112473" y="65777"/>
                  </a:cubicBezTo>
                  <a:cubicBezTo>
                    <a:pt x="114982" y="68444"/>
                    <a:pt x="114982" y="68444"/>
                    <a:pt x="114982" y="68444"/>
                  </a:cubicBezTo>
                  <a:cubicBezTo>
                    <a:pt x="116655" y="72000"/>
                    <a:pt x="116655" y="72000"/>
                    <a:pt x="116655" y="72000"/>
                  </a:cubicBezTo>
                  <a:cubicBezTo>
                    <a:pt x="118327" y="81777"/>
                    <a:pt x="118327" y="81777"/>
                    <a:pt x="118327" y="81777"/>
                  </a:cubicBezTo>
                  <a:cubicBezTo>
                    <a:pt x="119581" y="84000"/>
                    <a:pt x="119581" y="84000"/>
                    <a:pt x="119581" y="84000"/>
                  </a:cubicBezTo>
                  <a:cubicBezTo>
                    <a:pt x="119581" y="85777"/>
                    <a:pt x="119581" y="85777"/>
                    <a:pt x="119581" y="85777"/>
                  </a:cubicBezTo>
                  <a:cubicBezTo>
                    <a:pt x="119581" y="85777"/>
                    <a:pt x="120000" y="87111"/>
                    <a:pt x="120000" y="87555"/>
                  </a:cubicBezTo>
                  <a:cubicBezTo>
                    <a:pt x="120000" y="88000"/>
                    <a:pt x="120000" y="94666"/>
                    <a:pt x="120000" y="94666"/>
                  </a:cubicBezTo>
                  <a:cubicBezTo>
                    <a:pt x="117073" y="94666"/>
                    <a:pt x="117073" y="94666"/>
                    <a:pt x="117073" y="94666"/>
                  </a:cubicBezTo>
                  <a:cubicBezTo>
                    <a:pt x="116236" y="94666"/>
                    <a:pt x="116236" y="94666"/>
                    <a:pt x="116236" y="94666"/>
                  </a:cubicBezTo>
                  <a:cubicBezTo>
                    <a:pt x="116236" y="96000"/>
                    <a:pt x="116236" y="96000"/>
                    <a:pt x="116236" y="96000"/>
                  </a:cubicBezTo>
                  <a:cubicBezTo>
                    <a:pt x="114982" y="97777"/>
                    <a:pt x="114982" y="97777"/>
                    <a:pt x="114982" y="97777"/>
                  </a:cubicBezTo>
                  <a:cubicBezTo>
                    <a:pt x="114564" y="100000"/>
                    <a:pt x="114564" y="100000"/>
                    <a:pt x="114564" y="100000"/>
                  </a:cubicBezTo>
                  <a:cubicBezTo>
                    <a:pt x="113728" y="101777"/>
                    <a:pt x="113728" y="101777"/>
                    <a:pt x="113728" y="101777"/>
                  </a:cubicBezTo>
                  <a:cubicBezTo>
                    <a:pt x="112473" y="103555"/>
                    <a:pt x="112473" y="103555"/>
                    <a:pt x="112473" y="103555"/>
                  </a:cubicBezTo>
                  <a:cubicBezTo>
                    <a:pt x="111219" y="108000"/>
                    <a:pt x="111219" y="108000"/>
                    <a:pt x="111219" y="108000"/>
                  </a:cubicBezTo>
                  <a:cubicBezTo>
                    <a:pt x="111219" y="110666"/>
                    <a:pt x="111219" y="110666"/>
                    <a:pt x="111219" y="110666"/>
                  </a:cubicBezTo>
                  <a:cubicBezTo>
                    <a:pt x="109547" y="112888"/>
                    <a:pt x="109547" y="112888"/>
                    <a:pt x="109547" y="112888"/>
                  </a:cubicBezTo>
                  <a:cubicBezTo>
                    <a:pt x="108292" y="115111"/>
                    <a:pt x="108292" y="115111"/>
                    <a:pt x="108292" y="115111"/>
                  </a:cubicBezTo>
                  <a:cubicBezTo>
                    <a:pt x="89059" y="118666"/>
                    <a:pt x="89059" y="118666"/>
                    <a:pt x="89059" y="118666"/>
                  </a:cubicBezTo>
                  <a:cubicBezTo>
                    <a:pt x="88641" y="117777"/>
                    <a:pt x="88641" y="117777"/>
                    <a:pt x="88641" y="117777"/>
                  </a:cubicBezTo>
                  <a:cubicBezTo>
                    <a:pt x="58954" y="120000"/>
                    <a:pt x="58954" y="120000"/>
                    <a:pt x="58954" y="120000"/>
                  </a:cubicBezTo>
                  <a:cubicBezTo>
                    <a:pt x="61045" y="117777"/>
                    <a:pt x="61045" y="117777"/>
                    <a:pt x="61045" y="117777"/>
                  </a:cubicBezTo>
                  <a:cubicBezTo>
                    <a:pt x="61881" y="116000"/>
                    <a:pt x="61881" y="116000"/>
                    <a:pt x="61881" y="116000"/>
                  </a:cubicBezTo>
                  <a:cubicBezTo>
                    <a:pt x="63554" y="112888"/>
                    <a:pt x="63554" y="112888"/>
                    <a:pt x="63554" y="112888"/>
                  </a:cubicBezTo>
                  <a:cubicBezTo>
                    <a:pt x="65226" y="108888"/>
                    <a:pt x="65226" y="108888"/>
                    <a:pt x="65226" y="108888"/>
                  </a:cubicBezTo>
                  <a:cubicBezTo>
                    <a:pt x="66062" y="104444"/>
                    <a:pt x="66062" y="104444"/>
                    <a:pt x="66062" y="104444"/>
                  </a:cubicBezTo>
                  <a:cubicBezTo>
                    <a:pt x="65644" y="96444"/>
                    <a:pt x="65644" y="96444"/>
                    <a:pt x="65644" y="96444"/>
                  </a:cubicBezTo>
                  <a:cubicBezTo>
                    <a:pt x="65644" y="92888"/>
                    <a:pt x="65644" y="92888"/>
                    <a:pt x="65644" y="92888"/>
                  </a:cubicBezTo>
                  <a:cubicBezTo>
                    <a:pt x="63972" y="90222"/>
                    <a:pt x="63972" y="90222"/>
                    <a:pt x="63972" y="90222"/>
                  </a:cubicBezTo>
                  <a:cubicBezTo>
                    <a:pt x="62299" y="86666"/>
                    <a:pt x="62299" y="86666"/>
                    <a:pt x="62299" y="86666"/>
                  </a:cubicBezTo>
                  <a:cubicBezTo>
                    <a:pt x="60627" y="84888"/>
                    <a:pt x="60627" y="84888"/>
                    <a:pt x="60627" y="84888"/>
                  </a:cubicBezTo>
                  <a:cubicBezTo>
                    <a:pt x="59372" y="81777"/>
                    <a:pt x="59372" y="81777"/>
                    <a:pt x="59372" y="81777"/>
                  </a:cubicBezTo>
                  <a:cubicBezTo>
                    <a:pt x="60209" y="79555"/>
                    <a:pt x="60209" y="79555"/>
                    <a:pt x="60209" y="79555"/>
                  </a:cubicBezTo>
                  <a:cubicBezTo>
                    <a:pt x="61045" y="78666"/>
                    <a:pt x="61045" y="78666"/>
                    <a:pt x="61045" y="78666"/>
                  </a:cubicBezTo>
                  <a:cubicBezTo>
                    <a:pt x="61045" y="76888"/>
                    <a:pt x="61045" y="76888"/>
                    <a:pt x="61045" y="76888"/>
                  </a:cubicBezTo>
                  <a:cubicBezTo>
                    <a:pt x="60209" y="73333"/>
                    <a:pt x="60209" y="73333"/>
                    <a:pt x="60209" y="73333"/>
                  </a:cubicBezTo>
                  <a:cubicBezTo>
                    <a:pt x="58954" y="72000"/>
                    <a:pt x="58954" y="72000"/>
                    <a:pt x="58954" y="72000"/>
                  </a:cubicBezTo>
                  <a:cubicBezTo>
                    <a:pt x="60209" y="71111"/>
                    <a:pt x="60209" y="71111"/>
                    <a:pt x="60209" y="71111"/>
                  </a:cubicBezTo>
                  <a:cubicBezTo>
                    <a:pt x="60627" y="68888"/>
                    <a:pt x="60627" y="68888"/>
                    <a:pt x="60627" y="68888"/>
                  </a:cubicBezTo>
                  <a:cubicBezTo>
                    <a:pt x="61045" y="66666"/>
                    <a:pt x="61045" y="66666"/>
                    <a:pt x="61045" y="66666"/>
                  </a:cubicBezTo>
                  <a:cubicBezTo>
                    <a:pt x="61881" y="65333"/>
                    <a:pt x="61881" y="65333"/>
                    <a:pt x="61881" y="65333"/>
                  </a:cubicBezTo>
                  <a:cubicBezTo>
                    <a:pt x="61881" y="61777"/>
                    <a:pt x="61881" y="61777"/>
                    <a:pt x="61881" y="61777"/>
                  </a:cubicBezTo>
                  <a:cubicBezTo>
                    <a:pt x="61463" y="60000"/>
                    <a:pt x="61463" y="60000"/>
                    <a:pt x="61463" y="60000"/>
                  </a:cubicBezTo>
                  <a:cubicBezTo>
                    <a:pt x="61881" y="57777"/>
                    <a:pt x="61881" y="57777"/>
                    <a:pt x="61881" y="57777"/>
                  </a:cubicBezTo>
                  <a:cubicBezTo>
                    <a:pt x="63135" y="56000"/>
                    <a:pt x="63135" y="56000"/>
                    <a:pt x="63135" y="56000"/>
                  </a:cubicBezTo>
                  <a:cubicBezTo>
                    <a:pt x="63972" y="54222"/>
                    <a:pt x="63972" y="54222"/>
                    <a:pt x="63972" y="54222"/>
                  </a:cubicBezTo>
                  <a:cubicBezTo>
                    <a:pt x="63972" y="52000"/>
                    <a:pt x="63972" y="52000"/>
                    <a:pt x="63972" y="52000"/>
                  </a:cubicBezTo>
                  <a:cubicBezTo>
                    <a:pt x="65644" y="51555"/>
                    <a:pt x="65644" y="51555"/>
                    <a:pt x="65644" y="51555"/>
                  </a:cubicBezTo>
                  <a:cubicBezTo>
                    <a:pt x="68153" y="51555"/>
                    <a:pt x="68153" y="51555"/>
                    <a:pt x="68153" y="51555"/>
                  </a:cubicBezTo>
                  <a:cubicBezTo>
                    <a:pt x="68989" y="48000"/>
                    <a:pt x="68989" y="48000"/>
                    <a:pt x="68989" y="48000"/>
                  </a:cubicBezTo>
                  <a:cubicBezTo>
                    <a:pt x="69407" y="47111"/>
                    <a:pt x="69407" y="47111"/>
                    <a:pt x="69407" y="47111"/>
                  </a:cubicBezTo>
                  <a:cubicBezTo>
                    <a:pt x="70243" y="46666"/>
                    <a:pt x="70243" y="46666"/>
                    <a:pt x="70243" y="46666"/>
                  </a:cubicBezTo>
                  <a:cubicBezTo>
                    <a:pt x="71498" y="50666"/>
                    <a:pt x="71498" y="50666"/>
                    <a:pt x="71498" y="50666"/>
                  </a:cubicBezTo>
                  <a:cubicBezTo>
                    <a:pt x="69825" y="52888"/>
                    <a:pt x="69825" y="52888"/>
                    <a:pt x="69825" y="52888"/>
                  </a:cubicBezTo>
                  <a:cubicBezTo>
                    <a:pt x="69825" y="53777"/>
                    <a:pt x="69825" y="53777"/>
                    <a:pt x="69825" y="53777"/>
                  </a:cubicBezTo>
                  <a:cubicBezTo>
                    <a:pt x="69825" y="53777"/>
                    <a:pt x="70243" y="54222"/>
                    <a:pt x="70662" y="54222"/>
                  </a:cubicBezTo>
                  <a:cubicBezTo>
                    <a:pt x="71080" y="54222"/>
                    <a:pt x="71080" y="54222"/>
                    <a:pt x="71080" y="54222"/>
                  </a:cubicBezTo>
                  <a:cubicBezTo>
                    <a:pt x="71080" y="54222"/>
                    <a:pt x="71916" y="53777"/>
                    <a:pt x="71916" y="53777"/>
                  </a:cubicBezTo>
                  <a:cubicBezTo>
                    <a:pt x="71916" y="53333"/>
                    <a:pt x="72334" y="52000"/>
                    <a:pt x="72334" y="52000"/>
                  </a:cubicBezTo>
                  <a:cubicBezTo>
                    <a:pt x="72752" y="51555"/>
                    <a:pt x="72752" y="51555"/>
                    <a:pt x="72752" y="51555"/>
                  </a:cubicBezTo>
                  <a:cubicBezTo>
                    <a:pt x="73170" y="49333"/>
                    <a:pt x="73170" y="49333"/>
                    <a:pt x="73170" y="49333"/>
                  </a:cubicBezTo>
                  <a:cubicBezTo>
                    <a:pt x="73170" y="48000"/>
                    <a:pt x="73170" y="48000"/>
                    <a:pt x="73170" y="48000"/>
                  </a:cubicBezTo>
                  <a:cubicBezTo>
                    <a:pt x="73170" y="46222"/>
                    <a:pt x="73170" y="46222"/>
                    <a:pt x="73170" y="46222"/>
                  </a:cubicBezTo>
                  <a:cubicBezTo>
                    <a:pt x="73170" y="44444"/>
                    <a:pt x="73170" y="44444"/>
                    <a:pt x="73170" y="44444"/>
                  </a:cubicBezTo>
                  <a:cubicBezTo>
                    <a:pt x="74425" y="42666"/>
                    <a:pt x="74425" y="42666"/>
                    <a:pt x="74425" y="42666"/>
                  </a:cubicBezTo>
                  <a:cubicBezTo>
                    <a:pt x="75261" y="41777"/>
                    <a:pt x="75261" y="41777"/>
                    <a:pt x="75261" y="41777"/>
                  </a:cubicBezTo>
                  <a:cubicBezTo>
                    <a:pt x="77351" y="41333"/>
                    <a:pt x="77351" y="41333"/>
                    <a:pt x="77351" y="41333"/>
                  </a:cubicBezTo>
                  <a:cubicBezTo>
                    <a:pt x="78188" y="40444"/>
                    <a:pt x="78188" y="40444"/>
                    <a:pt x="78188" y="40444"/>
                  </a:cubicBezTo>
                  <a:cubicBezTo>
                    <a:pt x="76515" y="38666"/>
                    <a:pt x="76515" y="38666"/>
                    <a:pt x="76515" y="38666"/>
                  </a:cubicBezTo>
                  <a:cubicBezTo>
                    <a:pt x="76097" y="37333"/>
                    <a:pt x="76097" y="37333"/>
                    <a:pt x="76097" y="37333"/>
                  </a:cubicBezTo>
                  <a:cubicBezTo>
                    <a:pt x="76933" y="36000"/>
                    <a:pt x="76933" y="36000"/>
                    <a:pt x="76933" y="36000"/>
                  </a:cubicBezTo>
                  <a:cubicBezTo>
                    <a:pt x="77770" y="34666"/>
                    <a:pt x="77770" y="34666"/>
                    <a:pt x="77770" y="34666"/>
                  </a:cubicBezTo>
                  <a:cubicBezTo>
                    <a:pt x="78188" y="34222"/>
                    <a:pt x="78188" y="34222"/>
                    <a:pt x="78188" y="34222"/>
                  </a:cubicBezTo>
                  <a:cubicBezTo>
                    <a:pt x="78188" y="33333"/>
                    <a:pt x="78188" y="33333"/>
                    <a:pt x="78188" y="33333"/>
                  </a:cubicBezTo>
                  <a:cubicBezTo>
                    <a:pt x="78606" y="32888"/>
                    <a:pt x="78606" y="32888"/>
                    <a:pt x="78606" y="32888"/>
                  </a:cubicBezTo>
                  <a:cubicBezTo>
                    <a:pt x="78606" y="32888"/>
                    <a:pt x="78606" y="32888"/>
                    <a:pt x="79024" y="32888"/>
                  </a:cubicBezTo>
                  <a:cubicBezTo>
                    <a:pt x="79024" y="32888"/>
                    <a:pt x="80696" y="32444"/>
                    <a:pt x="80696" y="32444"/>
                  </a:cubicBezTo>
                  <a:cubicBezTo>
                    <a:pt x="81533" y="32444"/>
                    <a:pt x="81533" y="32444"/>
                    <a:pt x="81533" y="32444"/>
                  </a:cubicBezTo>
                  <a:cubicBezTo>
                    <a:pt x="80696" y="31111"/>
                    <a:pt x="80696" y="31111"/>
                    <a:pt x="80696" y="31111"/>
                  </a:cubicBezTo>
                  <a:cubicBezTo>
                    <a:pt x="79024" y="29777"/>
                    <a:pt x="79024" y="29777"/>
                    <a:pt x="79024" y="29777"/>
                  </a:cubicBezTo>
                  <a:cubicBezTo>
                    <a:pt x="78188" y="28888"/>
                    <a:pt x="78188" y="28888"/>
                    <a:pt x="78188" y="28888"/>
                  </a:cubicBezTo>
                  <a:cubicBezTo>
                    <a:pt x="76933" y="28000"/>
                    <a:pt x="76933" y="28000"/>
                    <a:pt x="76933" y="28000"/>
                  </a:cubicBezTo>
                  <a:cubicBezTo>
                    <a:pt x="74843" y="27111"/>
                    <a:pt x="74843" y="27111"/>
                    <a:pt x="74843" y="27111"/>
                  </a:cubicBezTo>
                  <a:cubicBezTo>
                    <a:pt x="71080" y="26666"/>
                    <a:pt x="71080" y="26666"/>
                    <a:pt x="71080" y="26666"/>
                  </a:cubicBezTo>
                  <a:cubicBezTo>
                    <a:pt x="68153" y="28444"/>
                    <a:pt x="68153" y="28444"/>
                    <a:pt x="68153" y="28444"/>
                  </a:cubicBezTo>
                  <a:cubicBezTo>
                    <a:pt x="66480" y="30222"/>
                    <a:pt x="66480" y="30222"/>
                    <a:pt x="66480" y="30222"/>
                  </a:cubicBezTo>
                  <a:cubicBezTo>
                    <a:pt x="63554" y="30666"/>
                    <a:pt x="63554" y="30666"/>
                    <a:pt x="63554" y="30666"/>
                  </a:cubicBezTo>
                  <a:cubicBezTo>
                    <a:pt x="60209" y="30666"/>
                    <a:pt x="60209" y="30666"/>
                    <a:pt x="60209" y="30666"/>
                  </a:cubicBezTo>
                  <a:cubicBezTo>
                    <a:pt x="58536" y="32000"/>
                    <a:pt x="58536" y="32000"/>
                    <a:pt x="58536" y="32000"/>
                  </a:cubicBezTo>
                  <a:cubicBezTo>
                    <a:pt x="56445" y="36000"/>
                    <a:pt x="56445" y="36000"/>
                    <a:pt x="56445" y="36000"/>
                  </a:cubicBezTo>
                  <a:cubicBezTo>
                    <a:pt x="53937" y="37777"/>
                    <a:pt x="53937" y="37777"/>
                    <a:pt x="53937" y="37777"/>
                  </a:cubicBezTo>
                  <a:cubicBezTo>
                    <a:pt x="53519" y="37333"/>
                    <a:pt x="53519" y="37333"/>
                    <a:pt x="53519" y="37333"/>
                  </a:cubicBezTo>
                  <a:cubicBezTo>
                    <a:pt x="54355" y="35555"/>
                    <a:pt x="54355" y="35555"/>
                    <a:pt x="54355" y="35555"/>
                  </a:cubicBezTo>
                  <a:cubicBezTo>
                    <a:pt x="55609" y="34222"/>
                    <a:pt x="55609" y="34222"/>
                    <a:pt x="55609" y="34222"/>
                  </a:cubicBezTo>
                  <a:cubicBezTo>
                    <a:pt x="54773" y="32888"/>
                    <a:pt x="54773" y="32888"/>
                    <a:pt x="54773" y="32888"/>
                  </a:cubicBezTo>
                  <a:cubicBezTo>
                    <a:pt x="53101" y="33777"/>
                    <a:pt x="53101" y="33777"/>
                    <a:pt x="53101" y="33777"/>
                  </a:cubicBezTo>
                  <a:cubicBezTo>
                    <a:pt x="52264" y="34222"/>
                    <a:pt x="52264" y="34222"/>
                    <a:pt x="52264" y="34222"/>
                  </a:cubicBezTo>
                  <a:cubicBezTo>
                    <a:pt x="51428" y="36000"/>
                    <a:pt x="51428" y="36000"/>
                    <a:pt x="51428" y="36000"/>
                  </a:cubicBezTo>
                  <a:cubicBezTo>
                    <a:pt x="50592" y="36444"/>
                    <a:pt x="50592" y="36444"/>
                    <a:pt x="50592" y="36444"/>
                  </a:cubicBezTo>
                  <a:cubicBezTo>
                    <a:pt x="50174" y="36444"/>
                    <a:pt x="50174" y="36444"/>
                    <a:pt x="50174" y="36444"/>
                  </a:cubicBezTo>
                  <a:cubicBezTo>
                    <a:pt x="49337" y="33333"/>
                    <a:pt x="49337" y="33333"/>
                    <a:pt x="49337" y="33333"/>
                  </a:cubicBezTo>
                  <a:cubicBezTo>
                    <a:pt x="48919" y="33333"/>
                    <a:pt x="48919" y="33333"/>
                    <a:pt x="48919" y="33333"/>
                  </a:cubicBezTo>
                  <a:cubicBezTo>
                    <a:pt x="48083" y="36000"/>
                    <a:pt x="48083" y="36000"/>
                    <a:pt x="48083" y="36000"/>
                  </a:cubicBezTo>
                  <a:cubicBezTo>
                    <a:pt x="47665" y="37777"/>
                    <a:pt x="47665" y="37777"/>
                    <a:pt x="47665" y="37777"/>
                  </a:cubicBezTo>
                  <a:cubicBezTo>
                    <a:pt x="45993" y="40000"/>
                    <a:pt x="45993" y="40000"/>
                    <a:pt x="45993" y="40000"/>
                  </a:cubicBezTo>
                  <a:cubicBezTo>
                    <a:pt x="44738" y="44888"/>
                    <a:pt x="44738" y="44888"/>
                    <a:pt x="44738" y="44888"/>
                  </a:cubicBezTo>
                  <a:cubicBezTo>
                    <a:pt x="43902" y="47555"/>
                    <a:pt x="43902" y="47555"/>
                    <a:pt x="43902" y="47555"/>
                  </a:cubicBezTo>
                  <a:cubicBezTo>
                    <a:pt x="41393" y="49777"/>
                    <a:pt x="41393" y="49777"/>
                    <a:pt x="41393" y="49777"/>
                  </a:cubicBezTo>
                  <a:cubicBezTo>
                    <a:pt x="40557" y="48000"/>
                    <a:pt x="40557" y="48000"/>
                    <a:pt x="40557" y="48000"/>
                  </a:cubicBezTo>
                  <a:cubicBezTo>
                    <a:pt x="40139" y="44888"/>
                    <a:pt x="40139" y="44888"/>
                    <a:pt x="40139" y="44888"/>
                  </a:cubicBezTo>
                  <a:cubicBezTo>
                    <a:pt x="39721" y="44444"/>
                    <a:pt x="39721" y="44444"/>
                    <a:pt x="39721" y="44444"/>
                  </a:cubicBezTo>
                  <a:cubicBezTo>
                    <a:pt x="38885" y="43111"/>
                    <a:pt x="38885" y="43111"/>
                    <a:pt x="38885" y="43111"/>
                  </a:cubicBezTo>
                  <a:cubicBezTo>
                    <a:pt x="39303" y="41777"/>
                    <a:pt x="39303" y="41777"/>
                    <a:pt x="39303" y="41777"/>
                  </a:cubicBezTo>
                  <a:cubicBezTo>
                    <a:pt x="38885" y="39111"/>
                    <a:pt x="38885" y="39111"/>
                    <a:pt x="38885" y="39111"/>
                  </a:cubicBezTo>
                  <a:cubicBezTo>
                    <a:pt x="37630" y="37777"/>
                    <a:pt x="37630" y="37777"/>
                    <a:pt x="37630" y="37777"/>
                  </a:cubicBezTo>
                  <a:cubicBezTo>
                    <a:pt x="35121" y="36000"/>
                    <a:pt x="35121" y="36000"/>
                    <a:pt x="35121" y="36000"/>
                  </a:cubicBezTo>
                  <a:cubicBezTo>
                    <a:pt x="34285" y="34222"/>
                    <a:pt x="34285" y="34222"/>
                    <a:pt x="34285" y="34222"/>
                  </a:cubicBezTo>
                  <a:cubicBezTo>
                    <a:pt x="31358" y="33777"/>
                    <a:pt x="31358" y="33777"/>
                    <a:pt x="31358" y="33777"/>
                  </a:cubicBezTo>
                  <a:cubicBezTo>
                    <a:pt x="27595" y="33777"/>
                    <a:pt x="27595" y="33777"/>
                    <a:pt x="27595" y="33777"/>
                  </a:cubicBezTo>
                  <a:cubicBezTo>
                    <a:pt x="26759" y="32888"/>
                    <a:pt x="26759" y="32888"/>
                    <a:pt x="26759" y="32888"/>
                  </a:cubicBezTo>
                  <a:cubicBezTo>
                    <a:pt x="24250" y="32888"/>
                    <a:pt x="24250" y="32888"/>
                    <a:pt x="24250" y="32888"/>
                  </a:cubicBezTo>
                  <a:cubicBezTo>
                    <a:pt x="20905" y="32444"/>
                    <a:pt x="20905" y="32444"/>
                    <a:pt x="20905" y="32444"/>
                  </a:cubicBezTo>
                  <a:cubicBezTo>
                    <a:pt x="20487" y="31555"/>
                    <a:pt x="20487" y="31555"/>
                    <a:pt x="20487" y="31555"/>
                  </a:cubicBezTo>
                  <a:cubicBezTo>
                    <a:pt x="17979" y="30222"/>
                    <a:pt x="17979" y="30222"/>
                    <a:pt x="17979" y="30222"/>
                  </a:cubicBezTo>
                  <a:cubicBezTo>
                    <a:pt x="15052" y="29777"/>
                    <a:pt x="15052" y="29777"/>
                    <a:pt x="15052" y="29777"/>
                  </a:cubicBezTo>
                  <a:cubicBezTo>
                    <a:pt x="12125" y="28888"/>
                    <a:pt x="12125" y="28888"/>
                    <a:pt x="12125" y="28888"/>
                  </a:cubicBezTo>
                  <a:cubicBezTo>
                    <a:pt x="8780" y="27555"/>
                    <a:pt x="8780" y="27555"/>
                    <a:pt x="8780" y="27555"/>
                  </a:cubicBezTo>
                  <a:cubicBezTo>
                    <a:pt x="6689" y="26222"/>
                    <a:pt x="6689" y="26222"/>
                    <a:pt x="6689" y="26222"/>
                  </a:cubicBezTo>
                  <a:cubicBezTo>
                    <a:pt x="5017" y="26222"/>
                    <a:pt x="5017" y="26222"/>
                    <a:pt x="5017" y="26222"/>
                  </a:cubicBezTo>
                  <a:cubicBezTo>
                    <a:pt x="4599" y="26222"/>
                    <a:pt x="4599" y="26222"/>
                    <a:pt x="4599" y="26222"/>
                  </a:cubicBezTo>
                  <a:cubicBezTo>
                    <a:pt x="3763" y="25333"/>
                    <a:pt x="3763" y="25333"/>
                    <a:pt x="3763" y="25333"/>
                  </a:cubicBezTo>
                  <a:cubicBezTo>
                    <a:pt x="2926" y="24000"/>
                    <a:pt x="2926" y="24000"/>
                    <a:pt x="2926" y="24000"/>
                  </a:cubicBezTo>
                  <a:cubicBezTo>
                    <a:pt x="0" y="23111"/>
                    <a:pt x="0" y="23111"/>
                    <a:pt x="0" y="23111"/>
                  </a:cubicBezTo>
                  <a:lnTo>
                    <a:pt x="0" y="22666"/>
                  </a:lnTo>
                  <a:close/>
                </a:path>
              </a:pathLst>
            </a:custGeom>
            <a:solidFill>
              <a:srgbClr val="C63AB5"/>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8" name="Shape 1411">
              <a:extLst>
                <a:ext uri="{FF2B5EF4-FFF2-40B4-BE49-F238E27FC236}">
                  <a16:creationId xmlns:a16="http://schemas.microsoft.com/office/drawing/2014/main" id="{39EFE8C6-5456-013D-3235-A094607BD283}"/>
                </a:ext>
              </a:extLst>
            </p:cNvPr>
            <p:cNvSpPr/>
            <p:nvPr/>
          </p:nvSpPr>
          <p:spPr>
            <a:xfrm>
              <a:off x="11043455" y="4406612"/>
              <a:ext cx="71315" cy="129204"/>
            </a:xfrm>
            <a:custGeom>
              <a:avLst/>
              <a:gdLst/>
              <a:ahLst/>
              <a:cxnLst/>
              <a:rect l="0" t="0" r="0" b="0"/>
              <a:pathLst>
                <a:path w="120000" h="120000" extrusionOk="0">
                  <a:moveTo>
                    <a:pt x="32727" y="22222"/>
                  </a:moveTo>
                  <a:lnTo>
                    <a:pt x="29090" y="15555"/>
                  </a:lnTo>
                  <a:lnTo>
                    <a:pt x="36363" y="4444"/>
                  </a:lnTo>
                  <a:lnTo>
                    <a:pt x="40000" y="2222"/>
                  </a:lnTo>
                  <a:lnTo>
                    <a:pt x="32727" y="0"/>
                  </a:lnTo>
                  <a:lnTo>
                    <a:pt x="21818" y="0"/>
                  </a:lnTo>
                  <a:lnTo>
                    <a:pt x="18181" y="0"/>
                  </a:lnTo>
                  <a:lnTo>
                    <a:pt x="7272" y="4444"/>
                  </a:lnTo>
                  <a:lnTo>
                    <a:pt x="0" y="11111"/>
                  </a:lnTo>
                  <a:lnTo>
                    <a:pt x="43636" y="120000"/>
                  </a:lnTo>
                  <a:lnTo>
                    <a:pt x="120000" y="113333"/>
                  </a:lnTo>
                  <a:lnTo>
                    <a:pt x="116363" y="95555"/>
                  </a:lnTo>
                  <a:lnTo>
                    <a:pt x="105454" y="88888"/>
                  </a:lnTo>
                  <a:lnTo>
                    <a:pt x="101818" y="84444"/>
                  </a:lnTo>
                  <a:lnTo>
                    <a:pt x="94545" y="82222"/>
                  </a:lnTo>
                  <a:lnTo>
                    <a:pt x="83636" y="75555"/>
                  </a:lnTo>
                  <a:lnTo>
                    <a:pt x="72727" y="71111"/>
                  </a:lnTo>
                  <a:lnTo>
                    <a:pt x="65454" y="62222"/>
                  </a:lnTo>
                  <a:lnTo>
                    <a:pt x="58181" y="53333"/>
                  </a:lnTo>
                  <a:lnTo>
                    <a:pt x="50909" y="44444"/>
                  </a:lnTo>
                  <a:lnTo>
                    <a:pt x="58181" y="37777"/>
                  </a:lnTo>
                  <a:lnTo>
                    <a:pt x="40000" y="31111"/>
                  </a:lnTo>
                  <a:lnTo>
                    <a:pt x="32727" y="22222"/>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49" name="Shape 1412">
              <a:extLst>
                <a:ext uri="{FF2B5EF4-FFF2-40B4-BE49-F238E27FC236}">
                  <a16:creationId xmlns:a16="http://schemas.microsoft.com/office/drawing/2014/main" id="{CC025160-BF9E-B1EC-C508-D99C2EE725BE}"/>
                </a:ext>
              </a:extLst>
            </p:cNvPr>
            <p:cNvSpPr/>
            <p:nvPr/>
          </p:nvSpPr>
          <p:spPr>
            <a:xfrm>
              <a:off x="10697676" y="4191269"/>
              <a:ext cx="406290" cy="291908"/>
            </a:xfrm>
            <a:custGeom>
              <a:avLst/>
              <a:gdLst/>
              <a:ahLst/>
              <a:cxnLst/>
              <a:rect l="0" t="0" r="0" b="0"/>
              <a:pathLst>
                <a:path w="120000" h="120000" extrusionOk="0">
                  <a:moveTo>
                    <a:pt x="105319" y="88524"/>
                  </a:moveTo>
                  <a:lnTo>
                    <a:pt x="105957" y="88524"/>
                  </a:lnTo>
                  <a:lnTo>
                    <a:pt x="107872" y="88524"/>
                  </a:lnTo>
                  <a:lnTo>
                    <a:pt x="109148" y="89508"/>
                  </a:lnTo>
                  <a:lnTo>
                    <a:pt x="109148" y="87540"/>
                  </a:lnTo>
                  <a:lnTo>
                    <a:pt x="113617" y="81639"/>
                  </a:lnTo>
                  <a:lnTo>
                    <a:pt x="118723" y="76721"/>
                  </a:lnTo>
                  <a:lnTo>
                    <a:pt x="120000" y="70819"/>
                  </a:lnTo>
                  <a:lnTo>
                    <a:pt x="120000" y="69836"/>
                  </a:lnTo>
                  <a:lnTo>
                    <a:pt x="116808" y="65901"/>
                  </a:lnTo>
                  <a:lnTo>
                    <a:pt x="114255" y="61967"/>
                  </a:lnTo>
                  <a:lnTo>
                    <a:pt x="112978" y="58032"/>
                  </a:lnTo>
                  <a:lnTo>
                    <a:pt x="110425" y="56065"/>
                  </a:lnTo>
                  <a:lnTo>
                    <a:pt x="108510" y="54098"/>
                  </a:lnTo>
                  <a:lnTo>
                    <a:pt x="109148" y="49180"/>
                  </a:lnTo>
                  <a:lnTo>
                    <a:pt x="109148" y="44262"/>
                  </a:lnTo>
                  <a:lnTo>
                    <a:pt x="108510" y="38360"/>
                  </a:lnTo>
                  <a:lnTo>
                    <a:pt x="109148" y="33442"/>
                  </a:lnTo>
                  <a:lnTo>
                    <a:pt x="111063" y="31475"/>
                  </a:lnTo>
                  <a:lnTo>
                    <a:pt x="112340" y="27540"/>
                  </a:lnTo>
                  <a:lnTo>
                    <a:pt x="112978" y="24590"/>
                  </a:lnTo>
                  <a:lnTo>
                    <a:pt x="114255" y="19672"/>
                  </a:lnTo>
                  <a:lnTo>
                    <a:pt x="112340" y="17704"/>
                  </a:lnTo>
                  <a:lnTo>
                    <a:pt x="110425" y="17704"/>
                  </a:lnTo>
                  <a:lnTo>
                    <a:pt x="108510" y="16721"/>
                  </a:lnTo>
                  <a:lnTo>
                    <a:pt x="105957" y="9836"/>
                  </a:lnTo>
                  <a:lnTo>
                    <a:pt x="103404" y="4918"/>
                  </a:lnTo>
                  <a:lnTo>
                    <a:pt x="98297" y="0"/>
                  </a:lnTo>
                  <a:lnTo>
                    <a:pt x="15319" y="22622"/>
                  </a:lnTo>
                  <a:lnTo>
                    <a:pt x="14042" y="12786"/>
                  </a:lnTo>
                  <a:lnTo>
                    <a:pt x="10212" y="16721"/>
                  </a:lnTo>
                  <a:lnTo>
                    <a:pt x="7021" y="20655"/>
                  </a:lnTo>
                  <a:lnTo>
                    <a:pt x="3829" y="23606"/>
                  </a:lnTo>
                  <a:lnTo>
                    <a:pt x="0" y="27540"/>
                  </a:lnTo>
                  <a:lnTo>
                    <a:pt x="10212" y="120000"/>
                  </a:lnTo>
                  <a:lnTo>
                    <a:pt x="102127" y="93442"/>
                  </a:lnTo>
                  <a:lnTo>
                    <a:pt x="103404" y="90491"/>
                  </a:lnTo>
                  <a:lnTo>
                    <a:pt x="105319" y="88524"/>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0" name="Shape 1419">
              <a:extLst>
                <a:ext uri="{FF2B5EF4-FFF2-40B4-BE49-F238E27FC236}">
                  <a16:creationId xmlns:a16="http://schemas.microsoft.com/office/drawing/2014/main" id="{56CBEE0A-FE38-B096-EFC6-49EA7487CDD8}"/>
                </a:ext>
              </a:extLst>
            </p:cNvPr>
            <p:cNvSpPr/>
            <p:nvPr/>
          </p:nvSpPr>
          <p:spPr>
            <a:xfrm>
              <a:off x="10555042" y="4483179"/>
              <a:ext cx="535958" cy="332584"/>
            </a:xfrm>
            <a:custGeom>
              <a:avLst/>
              <a:gdLst/>
              <a:ahLst/>
              <a:cxnLst/>
              <a:rect l="0" t="0" r="0" b="0"/>
              <a:pathLst>
                <a:path w="120000" h="120000" extrusionOk="0">
                  <a:moveTo>
                    <a:pt x="56129" y="109640"/>
                  </a:moveTo>
                  <a:lnTo>
                    <a:pt x="81774" y="101870"/>
                  </a:lnTo>
                  <a:lnTo>
                    <a:pt x="117580" y="88920"/>
                  </a:lnTo>
                  <a:lnTo>
                    <a:pt x="120000" y="87194"/>
                  </a:lnTo>
                  <a:lnTo>
                    <a:pt x="120000" y="84604"/>
                  </a:lnTo>
                  <a:lnTo>
                    <a:pt x="119032" y="80287"/>
                  </a:lnTo>
                  <a:lnTo>
                    <a:pt x="117580" y="76834"/>
                  </a:lnTo>
                  <a:lnTo>
                    <a:pt x="115645" y="74244"/>
                  </a:lnTo>
                  <a:lnTo>
                    <a:pt x="114677" y="74244"/>
                  </a:lnTo>
                  <a:lnTo>
                    <a:pt x="112258" y="71654"/>
                  </a:lnTo>
                  <a:lnTo>
                    <a:pt x="111774" y="69064"/>
                  </a:lnTo>
                  <a:lnTo>
                    <a:pt x="110322" y="67338"/>
                  </a:lnTo>
                  <a:lnTo>
                    <a:pt x="109354" y="63884"/>
                  </a:lnTo>
                  <a:lnTo>
                    <a:pt x="108387" y="62158"/>
                  </a:lnTo>
                  <a:lnTo>
                    <a:pt x="108387" y="60431"/>
                  </a:lnTo>
                  <a:lnTo>
                    <a:pt x="109354" y="58705"/>
                  </a:lnTo>
                  <a:lnTo>
                    <a:pt x="111290" y="60431"/>
                  </a:lnTo>
                  <a:lnTo>
                    <a:pt x="110322" y="57841"/>
                  </a:lnTo>
                  <a:lnTo>
                    <a:pt x="109354" y="55251"/>
                  </a:lnTo>
                  <a:lnTo>
                    <a:pt x="108387" y="54388"/>
                  </a:lnTo>
                  <a:lnTo>
                    <a:pt x="104032" y="51798"/>
                  </a:lnTo>
                  <a:lnTo>
                    <a:pt x="102096" y="46618"/>
                  </a:lnTo>
                  <a:lnTo>
                    <a:pt x="102096" y="45755"/>
                  </a:lnTo>
                  <a:lnTo>
                    <a:pt x="104032" y="47482"/>
                  </a:lnTo>
                  <a:lnTo>
                    <a:pt x="106451" y="48345"/>
                  </a:lnTo>
                  <a:lnTo>
                    <a:pt x="106935" y="50935"/>
                  </a:lnTo>
                  <a:lnTo>
                    <a:pt x="109838" y="51798"/>
                  </a:lnTo>
                  <a:lnTo>
                    <a:pt x="108870" y="48345"/>
                  </a:lnTo>
                  <a:lnTo>
                    <a:pt x="108870" y="44028"/>
                  </a:lnTo>
                  <a:lnTo>
                    <a:pt x="108870" y="41438"/>
                  </a:lnTo>
                  <a:lnTo>
                    <a:pt x="106935" y="42302"/>
                  </a:lnTo>
                  <a:lnTo>
                    <a:pt x="104032" y="38848"/>
                  </a:lnTo>
                  <a:lnTo>
                    <a:pt x="102580" y="35395"/>
                  </a:lnTo>
                  <a:lnTo>
                    <a:pt x="102096" y="35395"/>
                  </a:lnTo>
                  <a:lnTo>
                    <a:pt x="101612" y="37122"/>
                  </a:lnTo>
                  <a:lnTo>
                    <a:pt x="100161" y="37122"/>
                  </a:lnTo>
                  <a:lnTo>
                    <a:pt x="98225" y="33669"/>
                  </a:lnTo>
                  <a:lnTo>
                    <a:pt x="96290" y="31942"/>
                  </a:lnTo>
                  <a:lnTo>
                    <a:pt x="94354" y="31079"/>
                  </a:lnTo>
                  <a:lnTo>
                    <a:pt x="93387" y="31942"/>
                  </a:lnTo>
                  <a:lnTo>
                    <a:pt x="91935" y="32805"/>
                  </a:lnTo>
                  <a:lnTo>
                    <a:pt x="90967" y="31079"/>
                  </a:lnTo>
                  <a:lnTo>
                    <a:pt x="90967" y="21582"/>
                  </a:lnTo>
                  <a:lnTo>
                    <a:pt x="92419" y="20719"/>
                  </a:lnTo>
                  <a:lnTo>
                    <a:pt x="93387" y="18129"/>
                  </a:lnTo>
                  <a:lnTo>
                    <a:pt x="92903" y="14676"/>
                  </a:lnTo>
                  <a:lnTo>
                    <a:pt x="90967" y="12086"/>
                  </a:lnTo>
                  <a:lnTo>
                    <a:pt x="88548" y="8633"/>
                  </a:lnTo>
                  <a:lnTo>
                    <a:pt x="83709" y="3453"/>
                  </a:lnTo>
                  <a:lnTo>
                    <a:pt x="82741" y="4316"/>
                  </a:lnTo>
                  <a:lnTo>
                    <a:pt x="81290" y="6906"/>
                  </a:lnTo>
                  <a:lnTo>
                    <a:pt x="80322" y="6906"/>
                  </a:lnTo>
                  <a:lnTo>
                    <a:pt x="77419" y="4316"/>
                  </a:lnTo>
                  <a:lnTo>
                    <a:pt x="73064" y="0"/>
                  </a:lnTo>
                  <a:lnTo>
                    <a:pt x="73064" y="6906"/>
                  </a:lnTo>
                  <a:lnTo>
                    <a:pt x="72096" y="12949"/>
                  </a:lnTo>
                  <a:lnTo>
                    <a:pt x="71129" y="15539"/>
                  </a:lnTo>
                  <a:lnTo>
                    <a:pt x="69677" y="18129"/>
                  </a:lnTo>
                  <a:lnTo>
                    <a:pt x="67258" y="25899"/>
                  </a:lnTo>
                  <a:lnTo>
                    <a:pt x="66774" y="24172"/>
                  </a:lnTo>
                  <a:lnTo>
                    <a:pt x="65322" y="24172"/>
                  </a:lnTo>
                  <a:lnTo>
                    <a:pt x="64838" y="24172"/>
                  </a:lnTo>
                  <a:lnTo>
                    <a:pt x="64354" y="27625"/>
                  </a:lnTo>
                  <a:lnTo>
                    <a:pt x="63387" y="31079"/>
                  </a:lnTo>
                  <a:lnTo>
                    <a:pt x="61935" y="37985"/>
                  </a:lnTo>
                  <a:lnTo>
                    <a:pt x="61451" y="39712"/>
                  </a:lnTo>
                  <a:lnTo>
                    <a:pt x="60483" y="38848"/>
                  </a:lnTo>
                  <a:lnTo>
                    <a:pt x="58064" y="37122"/>
                  </a:lnTo>
                  <a:lnTo>
                    <a:pt x="56129" y="35395"/>
                  </a:lnTo>
                  <a:lnTo>
                    <a:pt x="55645" y="41438"/>
                  </a:lnTo>
                  <a:lnTo>
                    <a:pt x="54193" y="51798"/>
                  </a:lnTo>
                  <a:lnTo>
                    <a:pt x="52741" y="58705"/>
                  </a:lnTo>
                  <a:lnTo>
                    <a:pt x="50322" y="63021"/>
                  </a:lnTo>
                  <a:lnTo>
                    <a:pt x="49838" y="67338"/>
                  </a:lnTo>
                  <a:lnTo>
                    <a:pt x="50322" y="74244"/>
                  </a:lnTo>
                  <a:lnTo>
                    <a:pt x="48387" y="76834"/>
                  </a:lnTo>
                  <a:lnTo>
                    <a:pt x="43064" y="82014"/>
                  </a:lnTo>
                  <a:lnTo>
                    <a:pt x="39677" y="87194"/>
                  </a:lnTo>
                  <a:lnTo>
                    <a:pt x="35322" y="88920"/>
                  </a:lnTo>
                  <a:lnTo>
                    <a:pt x="33387" y="86330"/>
                  </a:lnTo>
                  <a:lnTo>
                    <a:pt x="30483" y="92374"/>
                  </a:lnTo>
                  <a:lnTo>
                    <a:pt x="29516" y="92374"/>
                  </a:lnTo>
                  <a:lnTo>
                    <a:pt x="27096" y="90647"/>
                  </a:lnTo>
                  <a:lnTo>
                    <a:pt x="24193" y="86330"/>
                  </a:lnTo>
                  <a:lnTo>
                    <a:pt x="23709" y="83741"/>
                  </a:lnTo>
                  <a:lnTo>
                    <a:pt x="22258" y="83741"/>
                  </a:lnTo>
                  <a:lnTo>
                    <a:pt x="21774" y="85467"/>
                  </a:lnTo>
                  <a:lnTo>
                    <a:pt x="20806" y="88920"/>
                  </a:lnTo>
                  <a:lnTo>
                    <a:pt x="18870" y="94100"/>
                  </a:lnTo>
                  <a:lnTo>
                    <a:pt x="13548" y="97553"/>
                  </a:lnTo>
                  <a:lnTo>
                    <a:pt x="12096" y="101870"/>
                  </a:lnTo>
                  <a:lnTo>
                    <a:pt x="10645" y="109640"/>
                  </a:lnTo>
                  <a:lnTo>
                    <a:pt x="8709" y="110503"/>
                  </a:lnTo>
                  <a:lnTo>
                    <a:pt x="7258" y="112230"/>
                  </a:lnTo>
                  <a:lnTo>
                    <a:pt x="4838" y="114820"/>
                  </a:lnTo>
                  <a:lnTo>
                    <a:pt x="2903" y="117410"/>
                  </a:lnTo>
                  <a:lnTo>
                    <a:pt x="0" y="120000"/>
                  </a:lnTo>
                  <a:lnTo>
                    <a:pt x="30967" y="114820"/>
                  </a:lnTo>
                  <a:lnTo>
                    <a:pt x="56129" y="109640"/>
                  </a:lnTo>
                  <a:close/>
                </a:path>
              </a:pathLst>
            </a:custGeom>
            <a:solidFill>
              <a:srgbClr val="FFC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1" name="Shape 1423">
              <a:extLst>
                <a:ext uri="{FF2B5EF4-FFF2-40B4-BE49-F238E27FC236}">
                  <a16:creationId xmlns:a16="http://schemas.microsoft.com/office/drawing/2014/main" id="{3320AF67-DA2B-487E-6496-09CE38DADA01}"/>
                </a:ext>
              </a:extLst>
            </p:cNvPr>
            <p:cNvSpPr/>
            <p:nvPr/>
          </p:nvSpPr>
          <p:spPr>
            <a:xfrm>
              <a:off x="10799250" y="4418575"/>
              <a:ext cx="311201" cy="251234"/>
            </a:xfrm>
            <a:custGeom>
              <a:avLst/>
              <a:gdLst/>
              <a:ahLst/>
              <a:cxnLst/>
              <a:rect l="0" t="0" r="0" b="0"/>
              <a:pathLst>
                <a:path w="120000" h="120000" extrusionOk="0">
                  <a:moveTo>
                    <a:pt x="94588" y="0"/>
                  </a:moveTo>
                  <a:cubicBezTo>
                    <a:pt x="0" y="23414"/>
                    <a:pt x="0" y="23414"/>
                    <a:pt x="0" y="23414"/>
                  </a:cubicBezTo>
                  <a:cubicBezTo>
                    <a:pt x="0" y="23414"/>
                    <a:pt x="0" y="23414"/>
                    <a:pt x="0" y="23414"/>
                  </a:cubicBezTo>
                  <a:cubicBezTo>
                    <a:pt x="2117" y="42926"/>
                    <a:pt x="2117" y="42926"/>
                    <a:pt x="2117" y="42926"/>
                  </a:cubicBezTo>
                  <a:cubicBezTo>
                    <a:pt x="4941" y="42926"/>
                    <a:pt x="4941" y="42926"/>
                    <a:pt x="4941" y="42926"/>
                  </a:cubicBezTo>
                  <a:cubicBezTo>
                    <a:pt x="11294" y="32195"/>
                    <a:pt x="11294" y="32195"/>
                    <a:pt x="11294" y="32195"/>
                  </a:cubicBezTo>
                  <a:cubicBezTo>
                    <a:pt x="15529" y="32195"/>
                    <a:pt x="15529" y="32195"/>
                    <a:pt x="15529" y="32195"/>
                  </a:cubicBezTo>
                  <a:cubicBezTo>
                    <a:pt x="19764" y="24390"/>
                    <a:pt x="19764" y="24390"/>
                    <a:pt x="19764" y="24390"/>
                  </a:cubicBezTo>
                  <a:cubicBezTo>
                    <a:pt x="21176" y="24390"/>
                    <a:pt x="21176" y="24390"/>
                    <a:pt x="21176" y="24390"/>
                  </a:cubicBezTo>
                  <a:cubicBezTo>
                    <a:pt x="21882" y="26341"/>
                    <a:pt x="21882" y="26341"/>
                    <a:pt x="21882" y="26341"/>
                  </a:cubicBezTo>
                  <a:cubicBezTo>
                    <a:pt x="26823" y="21463"/>
                    <a:pt x="26823" y="21463"/>
                    <a:pt x="26823" y="21463"/>
                  </a:cubicBezTo>
                  <a:cubicBezTo>
                    <a:pt x="28941" y="21463"/>
                    <a:pt x="28941" y="21463"/>
                    <a:pt x="28941" y="21463"/>
                  </a:cubicBezTo>
                  <a:cubicBezTo>
                    <a:pt x="34588" y="17560"/>
                    <a:pt x="34588" y="17560"/>
                    <a:pt x="34588" y="17560"/>
                  </a:cubicBezTo>
                  <a:cubicBezTo>
                    <a:pt x="44470" y="21463"/>
                    <a:pt x="44470" y="21463"/>
                    <a:pt x="44470" y="21463"/>
                  </a:cubicBezTo>
                  <a:cubicBezTo>
                    <a:pt x="47294" y="27317"/>
                    <a:pt x="47294" y="27317"/>
                    <a:pt x="47294" y="27317"/>
                  </a:cubicBezTo>
                  <a:cubicBezTo>
                    <a:pt x="49411" y="35121"/>
                    <a:pt x="49411" y="35121"/>
                    <a:pt x="49411" y="35121"/>
                  </a:cubicBezTo>
                  <a:cubicBezTo>
                    <a:pt x="50117" y="35121"/>
                    <a:pt x="50117" y="35121"/>
                    <a:pt x="50117" y="35121"/>
                  </a:cubicBezTo>
                  <a:cubicBezTo>
                    <a:pt x="58588" y="41951"/>
                    <a:pt x="58588" y="41951"/>
                    <a:pt x="58588" y="41951"/>
                  </a:cubicBezTo>
                  <a:cubicBezTo>
                    <a:pt x="62117" y="46829"/>
                    <a:pt x="62117" y="46829"/>
                    <a:pt x="62117" y="46829"/>
                  </a:cubicBezTo>
                  <a:cubicBezTo>
                    <a:pt x="65647" y="49756"/>
                    <a:pt x="65647" y="49756"/>
                    <a:pt x="65647" y="49756"/>
                  </a:cubicBezTo>
                  <a:cubicBezTo>
                    <a:pt x="66352" y="54634"/>
                    <a:pt x="66352" y="54634"/>
                    <a:pt x="66352" y="54634"/>
                  </a:cubicBezTo>
                  <a:cubicBezTo>
                    <a:pt x="64941" y="58536"/>
                    <a:pt x="64941" y="58536"/>
                    <a:pt x="64941" y="58536"/>
                  </a:cubicBezTo>
                  <a:cubicBezTo>
                    <a:pt x="62117" y="59512"/>
                    <a:pt x="62117" y="59512"/>
                    <a:pt x="62117" y="59512"/>
                  </a:cubicBezTo>
                  <a:cubicBezTo>
                    <a:pt x="62823" y="72195"/>
                    <a:pt x="62823" y="72195"/>
                    <a:pt x="62823" y="72195"/>
                  </a:cubicBezTo>
                  <a:cubicBezTo>
                    <a:pt x="64235" y="74146"/>
                    <a:pt x="64235" y="74146"/>
                    <a:pt x="64235" y="74146"/>
                  </a:cubicBezTo>
                  <a:cubicBezTo>
                    <a:pt x="66352" y="73170"/>
                    <a:pt x="66352" y="73170"/>
                    <a:pt x="66352" y="73170"/>
                  </a:cubicBezTo>
                  <a:cubicBezTo>
                    <a:pt x="68470" y="72195"/>
                    <a:pt x="68470" y="72195"/>
                    <a:pt x="68470" y="72195"/>
                  </a:cubicBezTo>
                  <a:cubicBezTo>
                    <a:pt x="71294" y="73170"/>
                    <a:pt x="71294" y="73170"/>
                    <a:pt x="71294" y="73170"/>
                  </a:cubicBezTo>
                  <a:cubicBezTo>
                    <a:pt x="72000" y="74146"/>
                    <a:pt x="72000" y="74146"/>
                    <a:pt x="72000" y="74146"/>
                  </a:cubicBezTo>
                  <a:cubicBezTo>
                    <a:pt x="74823" y="73170"/>
                    <a:pt x="74823" y="73170"/>
                    <a:pt x="74823" y="73170"/>
                  </a:cubicBezTo>
                  <a:cubicBezTo>
                    <a:pt x="84000" y="74146"/>
                    <a:pt x="84000" y="74146"/>
                    <a:pt x="84000" y="74146"/>
                  </a:cubicBezTo>
                  <a:cubicBezTo>
                    <a:pt x="86117" y="76097"/>
                    <a:pt x="86117" y="76097"/>
                    <a:pt x="86117" y="76097"/>
                  </a:cubicBezTo>
                  <a:cubicBezTo>
                    <a:pt x="88941" y="78048"/>
                    <a:pt x="88941" y="78048"/>
                    <a:pt x="88941" y="78048"/>
                  </a:cubicBezTo>
                  <a:cubicBezTo>
                    <a:pt x="91058" y="77073"/>
                    <a:pt x="91058" y="77073"/>
                    <a:pt x="91058" y="77073"/>
                  </a:cubicBezTo>
                  <a:cubicBezTo>
                    <a:pt x="89647" y="73170"/>
                    <a:pt x="89647" y="73170"/>
                    <a:pt x="89647" y="73170"/>
                  </a:cubicBezTo>
                  <a:cubicBezTo>
                    <a:pt x="87529" y="70243"/>
                    <a:pt x="87529" y="70243"/>
                    <a:pt x="87529" y="70243"/>
                  </a:cubicBezTo>
                  <a:cubicBezTo>
                    <a:pt x="87529" y="67317"/>
                    <a:pt x="87529" y="67317"/>
                    <a:pt x="87529" y="67317"/>
                  </a:cubicBezTo>
                  <a:cubicBezTo>
                    <a:pt x="87529" y="66341"/>
                    <a:pt x="87529" y="66341"/>
                    <a:pt x="87529" y="66341"/>
                  </a:cubicBezTo>
                  <a:cubicBezTo>
                    <a:pt x="83294" y="58536"/>
                    <a:pt x="83294" y="58536"/>
                    <a:pt x="83294" y="58536"/>
                  </a:cubicBezTo>
                  <a:cubicBezTo>
                    <a:pt x="81882" y="55609"/>
                    <a:pt x="81882" y="55609"/>
                    <a:pt x="81882" y="55609"/>
                  </a:cubicBezTo>
                  <a:cubicBezTo>
                    <a:pt x="81882" y="48780"/>
                    <a:pt x="81882" y="48780"/>
                    <a:pt x="81882" y="48780"/>
                  </a:cubicBezTo>
                  <a:cubicBezTo>
                    <a:pt x="81176" y="41951"/>
                    <a:pt x="81176" y="41951"/>
                    <a:pt x="81176" y="41951"/>
                  </a:cubicBezTo>
                  <a:cubicBezTo>
                    <a:pt x="81882" y="35121"/>
                    <a:pt x="81882" y="35121"/>
                    <a:pt x="81882" y="35121"/>
                  </a:cubicBezTo>
                  <a:cubicBezTo>
                    <a:pt x="79764" y="30243"/>
                    <a:pt x="79764" y="30243"/>
                    <a:pt x="79764" y="30243"/>
                  </a:cubicBezTo>
                  <a:cubicBezTo>
                    <a:pt x="78352" y="27317"/>
                    <a:pt x="78352" y="27317"/>
                    <a:pt x="78352" y="27317"/>
                  </a:cubicBezTo>
                  <a:cubicBezTo>
                    <a:pt x="81176" y="27317"/>
                    <a:pt x="81176" y="27317"/>
                    <a:pt x="81176" y="27317"/>
                  </a:cubicBezTo>
                  <a:cubicBezTo>
                    <a:pt x="83294" y="21463"/>
                    <a:pt x="83294" y="21463"/>
                    <a:pt x="83294" y="21463"/>
                  </a:cubicBezTo>
                  <a:cubicBezTo>
                    <a:pt x="87529" y="17560"/>
                    <a:pt x="87529" y="17560"/>
                    <a:pt x="87529" y="17560"/>
                  </a:cubicBezTo>
                  <a:cubicBezTo>
                    <a:pt x="89647" y="11707"/>
                    <a:pt x="89647" y="11707"/>
                    <a:pt x="89647" y="11707"/>
                  </a:cubicBezTo>
                  <a:cubicBezTo>
                    <a:pt x="91058" y="12682"/>
                    <a:pt x="91058" y="12682"/>
                    <a:pt x="91058" y="12682"/>
                  </a:cubicBezTo>
                  <a:cubicBezTo>
                    <a:pt x="90352" y="19512"/>
                    <a:pt x="90352" y="19512"/>
                    <a:pt x="90352" y="19512"/>
                  </a:cubicBezTo>
                  <a:cubicBezTo>
                    <a:pt x="88235" y="20487"/>
                    <a:pt x="88235" y="20487"/>
                    <a:pt x="88235" y="20487"/>
                  </a:cubicBezTo>
                  <a:cubicBezTo>
                    <a:pt x="86823" y="26341"/>
                    <a:pt x="86823" y="26341"/>
                    <a:pt x="86823" y="26341"/>
                  </a:cubicBezTo>
                  <a:cubicBezTo>
                    <a:pt x="86823" y="30243"/>
                    <a:pt x="86823" y="30243"/>
                    <a:pt x="86823" y="30243"/>
                  </a:cubicBezTo>
                  <a:cubicBezTo>
                    <a:pt x="89647" y="30243"/>
                    <a:pt x="89647" y="30243"/>
                    <a:pt x="89647" y="30243"/>
                  </a:cubicBezTo>
                  <a:cubicBezTo>
                    <a:pt x="86117" y="35121"/>
                    <a:pt x="86117" y="35121"/>
                    <a:pt x="86117" y="35121"/>
                  </a:cubicBezTo>
                  <a:cubicBezTo>
                    <a:pt x="84705" y="38048"/>
                    <a:pt x="84705" y="38048"/>
                    <a:pt x="84705" y="38048"/>
                  </a:cubicBezTo>
                  <a:cubicBezTo>
                    <a:pt x="88941" y="40000"/>
                    <a:pt x="88941" y="40000"/>
                    <a:pt x="88941" y="40000"/>
                  </a:cubicBezTo>
                  <a:cubicBezTo>
                    <a:pt x="90352" y="40975"/>
                    <a:pt x="90352" y="40975"/>
                    <a:pt x="90352" y="40975"/>
                  </a:cubicBezTo>
                  <a:cubicBezTo>
                    <a:pt x="92470" y="44878"/>
                    <a:pt x="92470" y="44878"/>
                    <a:pt x="92470" y="44878"/>
                  </a:cubicBezTo>
                  <a:cubicBezTo>
                    <a:pt x="91764" y="45853"/>
                    <a:pt x="91764" y="45853"/>
                    <a:pt x="91764" y="45853"/>
                  </a:cubicBezTo>
                  <a:cubicBezTo>
                    <a:pt x="94588" y="49756"/>
                    <a:pt x="94588" y="49756"/>
                    <a:pt x="94588" y="49756"/>
                  </a:cubicBezTo>
                  <a:cubicBezTo>
                    <a:pt x="94588" y="51707"/>
                    <a:pt x="94588" y="51707"/>
                    <a:pt x="94588" y="51707"/>
                  </a:cubicBezTo>
                  <a:cubicBezTo>
                    <a:pt x="91764" y="55609"/>
                    <a:pt x="91764" y="55609"/>
                    <a:pt x="91764" y="55609"/>
                  </a:cubicBezTo>
                  <a:cubicBezTo>
                    <a:pt x="89647" y="55609"/>
                    <a:pt x="89647" y="55609"/>
                    <a:pt x="89647" y="55609"/>
                  </a:cubicBezTo>
                  <a:cubicBezTo>
                    <a:pt x="90352" y="59512"/>
                    <a:pt x="90352" y="59512"/>
                    <a:pt x="90352" y="59512"/>
                  </a:cubicBezTo>
                  <a:cubicBezTo>
                    <a:pt x="89647" y="61463"/>
                    <a:pt x="89647" y="61463"/>
                    <a:pt x="89647" y="61463"/>
                  </a:cubicBezTo>
                  <a:cubicBezTo>
                    <a:pt x="91058" y="63414"/>
                    <a:pt x="91058" y="63414"/>
                    <a:pt x="91058" y="63414"/>
                  </a:cubicBezTo>
                  <a:cubicBezTo>
                    <a:pt x="93882" y="64390"/>
                    <a:pt x="93882" y="64390"/>
                    <a:pt x="93882" y="64390"/>
                  </a:cubicBezTo>
                  <a:cubicBezTo>
                    <a:pt x="98117" y="64390"/>
                    <a:pt x="98117" y="64390"/>
                    <a:pt x="98117" y="64390"/>
                  </a:cubicBezTo>
                  <a:cubicBezTo>
                    <a:pt x="100941" y="67317"/>
                    <a:pt x="100941" y="67317"/>
                    <a:pt x="100941" y="67317"/>
                  </a:cubicBezTo>
                  <a:cubicBezTo>
                    <a:pt x="103058" y="73170"/>
                    <a:pt x="103058" y="73170"/>
                    <a:pt x="103058" y="73170"/>
                  </a:cubicBezTo>
                  <a:cubicBezTo>
                    <a:pt x="104470" y="78048"/>
                    <a:pt x="104470" y="78048"/>
                    <a:pt x="104470" y="78048"/>
                  </a:cubicBezTo>
                  <a:cubicBezTo>
                    <a:pt x="103764" y="79024"/>
                    <a:pt x="103764" y="79024"/>
                    <a:pt x="103764" y="79024"/>
                  </a:cubicBezTo>
                  <a:cubicBezTo>
                    <a:pt x="105882" y="81951"/>
                    <a:pt x="105882" y="81951"/>
                    <a:pt x="105882" y="81951"/>
                  </a:cubicBezTo>
                  <a:cubicBezTo>
                    <a:pt x="107294" y="86829"/>
                    <a:pt x="107294" y="86829"/>
                    <a:pt x="107294" y="86829"/>
                  </a:cubicBezTo>
                  <a:cubicBezTo>
                    <a:pt x="105176" y="95609"/>
                    <a:pt x="105176" y="95609"/>
                    <a:pt x="105176" y="95609"/>
                  </a:cubicBezTo>
                  <a:cubicBezTo>
                    <a:pt x="104470" y="101463"/>
                    <a:pt x="104470" y="101463"/>
                    <a:pt x="104470" y="101463"/>
                  </a:cubicBezTo>
                  <a:cubicBezTo>
                    <a:pt x="104470" y="111219"/>
                    <a:pt x="104470" y="111219"/>
                    <a:pt x="104470" y="111219"/>
                  </a:cubicBezTo>
                  <a:cubicBezTo>
                    <a:pt x="105176" y="117073"/>
                    <a:pt x="105176" y="117073"/>
                    <a:pt x="105176" y="117073"/>
                  </a:cubicBezTo>
                  <a:cubicBezTo>
                    <a:pt x="106588" y="120000"/>
                    <a:pt x="106588" y="120000"/>
                    <a:pt x="106588" y="120000"/>
                  </a:cubicBezTo>
                  <a:cubicBezTo>
                    <a:pt x="108000" y="113170"/>
                    <a:pt x="108000" y="113170"/>
                    <a:pt x="108000" y="113170"/>
                  </a:cubicBezTo>
                  <a:cubicBezTo>
                    <a:pt x="108705" y="102439"/>
                    <a:pt x="108705" y="102439"/>
                    <a:pt x="108705" y="102439"/>
                  </a:cubicBezTo>
                  <a:cubicBezTo>
                    <a:pt x="110823" y="99512"/>
                    <a:pt x="110823" y="99512"/>
                    <a:pt x="110823" y="99512"/>
                  </a:cubicBezTo>
                  <a:cubicBezTo>
                    <a:pt x="110823" y="96585"/>
                    <a:pt x="110823" y="96585"/>
                    <a:pt x="110823" y="96585"/>
                  </a:cubicBezTo>
                  <a:cubicBezTo>
                    <a:pt x="110823" y="94634"/>
                    <a:pt x="110823" y="94634"/>
                    <a:pt x="110823" y="94634"/>
                  </a:cubicBezTo>
                  <a:cubicBezTo>
                    <a:pt x="112941" y="92682"/>
                    <a:pt x="112941" y="92682"/>
                    <a:pt x="112941" y="92682"/>
                  </a:cubicBezTo>
                  <a:cubicBezTo>
                    <a:pt x="115058" y="88780"/>
                    <a:pt x="115058" y="88780"/>
                    <a:pt x="115058" y="88780"/>
                  </a:cubicBezTo>
                  <a:cubicBezTo>
                    <a:pt x="115058" y="80000"/>
                    <a:pt x="115058" y="80000"/>
                    <a:pt x="115058" y="80000"/>
                  </a:cubicBezTo>
                  <a:cubicBezTo>
                    <a:pt x="115058" y="77073"/>
                    <a:pt x="115058" y="77073"/>
                    <a:pt x="115058" y="77073"/>
                  </a:cubicBezTo>
                  <a:cubicBezTo>
                    <a:pt x="115058" y="73170"/>
                    <a:pt x="115058" y="73170"/>
                    <a:pt x="115058" y="73170"/>
                  </a:cubicBezTo>
                  <a:cubicBezTo>
                    <a:pt x="117882" y="69268"/>
                    <a:pt x="117882" y="69268"/>
                    <a:pt x="117882" y="69268"/>
                  </a:cubicBezTo>
                  <a:cubicBezTo>
                    <a:pt x="118588" y="72195"/>
                    <a:pt x="118588" y="72195"/>
                    <a:pt x="118588" y="72195"/>
                  </a:cubicBezTo>
                  <a:cubicBezTo>
                    <a:pt x="117882" y="75121"/>
                    <a:pt x="117882" y="75121"/>
                    <a:pt x="117882" y="75121"/>
                  </a:cubicBezTo>
                  <a:cubicBezTo>
                    <a:pt x="117882" y="75121"/>
                    <a:pt x="116470" y="78048"/>
                    <a:pt x="116470" y="78048"/>
                  </a:cubicBezTo>
                  <a:cubicBezTo>
                    <a:pt x="117176" y="79024"/>
                    <a:pt x="118588" y="80000"/>
                    <a:pt x="118588" y="80000"/>
                  </a:cubicBezTo>
                  <a:cubicBezTo>
                    <a:pt x="120000" y="75121"/>
                    <a:pt x="120000" y="75121"/>
                    <a:pt x="120000" y="75121"/>
                  </a:cubicBezTo>
                  <a:cubicBezTo>
                    <a:pt x="120000" y="66341"/>
                    <a:pt x="120000" y="66341"/>
                    <a:pt x="120000" y="66341"/>
                  </a:cubicBezTo>
                  <a:cubicBezTo>
                    <a:pt x="119294" y="52682"/>
                    <a:pt x="119294" y="52682"/>
                    <a:pt x="119294" y="52682"/>
                  </a:cubicBezTo>
                  <a:cubicBezTo>
                    <a:pt x="119294" y="52682"/>
                    <a:pt x="119294" y="52682"/>
                    <a:pt x="119294" y="52682"/>
                  </a:cubicBezTo>
                  <a:cubicBezTo>
                    <a:pt x="104470" y="55609"/>
                    <a:pt x="104470" y="55609"/>
                    <a:pt x="104470" y="55609"/>
                  </a:cubicBezTo>
                  <a:lnTo>
                    <a:pt x="94588" y="0"/>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2" name="Shape 1424">
              <a:extLst>
                <a:ext uri="{FF2B5EF4-FFF2-40B4-BE49-F238E27FC236}">
                  <a16:creationId xmlns:a16="http://schemas.microsoft.com/office/drawing/2014/main" id="{C2B00D61-469D-8E24-5DF0-49B34B103C76}"/>
                </a:ext>
              </a:extLst>
            </p:cNvPr>
            <p:cNvSpPr/>
            <p:nvPr/>
          </p:nvSpPr>
          <p:spPr>
            <a:xfrm>
              <a:off x="10609070" y="4389866"/>
              <a:ext cx="319846" cy="349333"/>
            </a:xfrm>
            <a:custGeom>
              <a:avLst/>
              <a:gdLst/>
              <a:ahLst/>
              <a:cxnLst/>
              <a:rect l="0" t="0" r="0" b="0"/>
              <a:pathLst>
                <a:path w="120000" h="120000" extrusionOk="0">
                  <a:moveTo>
                    <a:pt x="17027" y="111780"/>
                  </a:moveTo>
                  <a:lnTo>
                    <a:pt x="19459" y="111780"/>
                  </a:lnTo>
                  <a:lnTo>
                    <a:pt x="20270" y="114246"/>
                  </a:lnTo>
                  <a:lnTo>
                    <a:pt x="25135" y="118356"/>
                  </a:lnTo>
                  <a:lnTo>
                    <a:pt x="29189" y="119999"/>
                  </a:lnTo>
                  <a:lnTo>
                    <a:pt x="30810" y="119999"/>
                  </a:lnTo>
                  <a:lnTo>
                    <a:pt x="35675" y="114246"/>
                  </a:lnTo>
                  <a:lnTo>
                    <a:pt x="38918" y="116712"/>
                  </a:lnTo>
                  <a:lnTo>
                    <a:pt x="46216" y="115068"/>
                  </a:lnTo>
                  <a:lnTo>
                    <a:pt x="51891" y="110136"/>
                  </a:lnTo>
                  <a:lnTo>
                    <a:pt x="60810" y="105205"/>
                  </a:lnTo>
                  <a:lnTo>
                    <a:pt x="64054" y="102739"/>
                  </a:lnTo>
                  <a:lnTo>
                    <a:pt x="63243" y="96164"/>
                  </a:lnTo>
                  <a:lnTo>
                    <a:pt x="64054" y="92054"/>
                  </a:lnTo>
                  <a:lnTo>
                    <a:pt x="68108" y="87945"/>
                  </a:lnTo>
                  <a:lnTo>
                    <a:pt x="70540" y="81369"/>
                  </a:lnTo>
                  <a:lnTo>
                    <a:pt x="72972" y="71506"/>
                  </a:lnTo>
                  <a:lnTo>
                    <a:pt x="73783" y="65753"/>
                  </a:lnTo>
                  <a:lnTo>
                    <a:pt x="77027" y="67397"/>
                  </a:lnTo>
                  <a:lnTo>
                    <a:pt x="81081" y="69041"/>
                  </a:lnTo>
                  <a:lnTo>
                    <a:pt x="82702" y="69863"/>
                  </a:lnTo>
                  <a:lnTo>
                    <a:pt x="83513" y="68219"/>
                  </a:lnTo>
                  <a:lnTo>
                    <a:pt x="85945" y="61643"/>
                  </a:lnTo>
                  <a:lnTo>
                    <a:pt x="87567" y="58356"/>
                  </a:lnTo>
                  <a:lnTo>
                    <a:pt x="88378" y="55068"/>
                  </a:lnTo>
                  <a:lnTo>
                    <a:pt x="89189" y="55068"/>
                  </a:lnTo>
                  <a:lnTo>
                    <a:pt x="91621" y="55068"/>
                  </a:lnTo>
                  <a:lnTo>
                    <a:pt x="92432" y="56712"/>
                  </a:lnTo>
                  <a:lnTo>
                    <a:pt x="96486" y="49315"/>
                  </a:lnTo>
                  <a:lnTo>
                    <a:pt x="98918" y="46849"/>
                  </a:lnTo>
                  <a:lnTo>
                    <a:pt x="100540" y="44383"/>
                  </a:lnTo>
                  <a:lnTo>
                    <a:pt x="102162" y="38630"/>
                  </a:lnTo>
                  <a:lnTo>
                    <a:pt x="102162" y="32054"/>
                  </a:lnTo>
                  <a:lnTo>
                    <a:pt x="109459" y="36164"/>
                  </a:lnTo>
                  <a:lnTo>
                    <a:pt x="114324" y="38630"/>
                  </a:lnTo>
                  <a:lnTo>
                    <a:pt x="115945" y="38630"/>
                  </a:lnTo>
                  <a:lnTo>
                    <a:pt x="118378" y="36164"/>
                  </a:lnTo>
                  <a:lnTo>
                    <a:pt x="120000" y="35342"/>
                  </a:lnTo>
                  <a:lnTo>
                    <a:pt x="119189" y="35342"/>
                  </a:lnTo>
                  <a:lnTo>
                    <a:pt x="117567" y="29589"/>
                  </a:lnTo>
                  <a:lnTo>
                    <a:pt x="114324" y="25479"/>
                  </a:lnTo>
                  <a:lnTo>
                    <a:pt x="105405" y="23013"/>
                  </a:lnTo>
                  <a:lnTo>
                    <a:pt x="99729" y="25479"/>
                  </a:lnTo>
                  <a:lnTo>
                    <a:pt x="97297" y="25479"/>
                  </a:lnTo>
                  <a:lnTo>
                    <a:pt x="92432" y="28767"/>
                  </a:lnTo>
                  <a:lnTo>
                    <a:pt x="91621" y="27945"/>
                  </a:lnTo>
                  <a:lnTo>
                    <a:pt x="90810" y="27945"/>
                  </a:lnTo>
                  <a:lnTo>
                    <a:pt x="86756" y="32876"/>
                  </a:lnTo>
                  <a:lnTo>
                    <a:pt x="82702" y="32876"/>
                  </a:lnTo>
                  <a:lnTo>
                    <a:pt x="76216" y="41095"/>
                  </a:lnTo>
                  <a:lnTo>
                    <a:pt x="73783" y="41095"/>
                  </a:lnTo>
                  <a:lnTo>
                    <a:pt x="71351" y="27123"/>
                  </a:lnTo>
                  <a:lnTo>
                    <a:pt x="46216" y="32054"/>
                  </a:lnTo>
                  <a:lnTo>
                    <a:pt x="41351" y="0"/>
                  </a:lnTo>
                  <a:lnTo>
                    <a:pt x="38918" y="0"/>
                  </a:lnTo>
                  <a:lnTo>
                    <a:pt x="38108" y="2465"/>
                  </a:lnTo>
                  <a:lnTo>
                    <a:pt x="38918" y="4931"/>
                  </a:lnTo>
                  <a:lnTo>
                    <a:pt x="38918" y="5753"/>
                  </a:lnTo>
                  <a:lnTo>
                    <a:pt x="38918" y="12328"/>
                  </a:lnTo>
                  <a:lnTo>
                    <a:pt x="38918" y="15616"/>
                  </a:lnTo>
                  <a:lnTo>
                    <a:pt x="38108" y="18082"/>
                  </a:lnTo>
                  <a:lnTo>
                    <a:pt x="38108" y="23013"/>
                  </a:lnTo>
                  <a:lnTo>
                    <a:pt x="37297" y="29589"/>
                  </a:lnTo>
                  <a:lnTo>
                    <a:pt x="37297" y="32054"/>
                  </a:lnTo>
                  <a:lnTo>
                    <a:pt x="35675" y="36164"/>
                  </a:lnTo>
                  <a:lnTo>
                    <a:pt x="29189" y="41917"/>
                  </a:lnTo>
                  <a:lnTo>
                    <a:pt x="26756" y="45205"/>
                  </a:lnTo>
                  <a:lnTo>
                    <a:pt x="22702" y="45205"/>
                  </a:lnTo>
                  <a:lnTo>
                    <a:pt x="19459" y="50136"/>
                  </a:lnTo>
                  <a:lnTo>
                    <a:pt x="17027" y="53424"/>
                  </a:lnTo>
                  <a:lnTo>
                    <a:pt x="16216" y="61643"/>
                  </a:lnTo>
                  <a:lnTo>
                    <a:pt x="15405" y="62465"/>
                  </a:lnTo>
                  <a:lnTo>
                    <a:pt x="12162" y="59999"/>
                  </a:lnTo>
                  <a:lnTo>
                    <a:pt x="9729" y="62465"/>
                  </a:lnTo>
                  <a:lnTo>
                    <a:pt x="7297" y="71506"/>
                  </a:lnTo>
                  <a:lnTo>
                    <a:pt x="7297" y="74794"/>
                  </a:lnTo>
                  <a:lnTo>
                    <a:pt x="5675" y="77260"/>
                  </a:lnTo>
                  <a:lnTo>
                    <a:pt x="2432" y="80547"/>
                  </a:lnTo>
                  <a:lnTo>
                    <a:pt x="0" y="83013"/>
                  </a:lnTo>
                  <a:lnTo>
                    <a:pt x="2432" y="93698"/>
                  </a:lnTo>
                  <a:lnTo>
                    <a:pt x="4054" y="98630"/>
                  </a:lnTo>
                  <a:lnTo>
                    <a:pt x="8108" y="104383"/>
                  </a:lnTo>
                  <a:lnTo>
                    <a:pt x="12162" y="108493"/>
                  </a:lnTo>
                  <a:lnTo>
                    <a:pt x="15405" y="113424"/>
                  </a:lnTo>
                  <a:lnTo>
                    <a:pt x="16216" y="113424"/>
                  </a:lnTo>
                  <a:lnTo>
                    <a:pt x="17027" y="111780"/>
                  </a:lnTo>
                  <a:close/>
                </a:path>
              </a:pathLst>
            </a:custGeom>
            <a:solidFill>
              <a:srgbClr val="FFC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3" name="Shape 1425">
              <a:extLst>
                <a:ext uri="{FF2B5EF4-FFF2-40B4-BE49-F238E27FC236}">
                  <a16:creationId xmlns:a16="http://schemas.microsoft.com/office/drawing/2014/main" id="{A733F436-9FB5-1F7C-19E7-243CF90875C4}"/>
                </a:ext>
              </a:extLst>
            </p:cNvPr>
            <p:cNvSpPr/>
            <p:nvPr/>
          </p:nvSpPr>
          <p:spPr>
            <a:xfrm>
              <a:off x="10140108" y="4576494"/>
              <a:ext cx="510022" cy="291908"/>
            </a:xfrm>
            <a:custGeom>
              <a:avLst/>
              <a:gdLst/>
              <a:ahLst/>
              <a:cxnLst/>
              <a:rect l="0" t="0" r="0" b="0"/>
              <a:pathLst>
                <a:path w="120000" h="120000" extrusionOk="0">
                  <a:moveTo>
                    <a:pt x="102711" y="92459"/>
                  </a:moveTo>
                  <a:lnTo>
                    <a:pt x="105254" y="89508"/>
                  </a:lnTo>
                  <a:lnTo>
                    <a:pt x="106779" y="87540"/>
                  </a:lnTo>
                  <a:lnTo>
                    <a:pt x="108813" y="86557"/>
                  </a:lnTo>
                  <a:lnTo>
                    <a:pt x="110338" y="77704"/>
                  </a:lnTo>
                  <a:lnTo>
                    <a:pt x="111864" y="72786"/>
                  </a:lnTo>
                  <a:lnTo>
                    <a:pt x="117457" y="68852"/>
                  </a:lnTo>
                  <a:lnTo>
                    <a:pt x="119491" y="62950"/>
                  </a:lnTo>
                  <a:lnTo>
                    <a:pt x="120000" y="59016"/>
                  </a:lnTo>
                  <a:lnTo>
                    <a:pt x="117966" y="53114"/>
                  </a:lnTo>
                  <a:lnTo>
                    <a:pt x="115423" y="48196"/>
                  </a:lnTo>
                  <a:lnTo>
                    <a:pt x="112881" y="41311"/>
                  </a:lnTo>
                  <a:lnTo>
                    <a:pt x="111864" y="35409"/>
                  </a:lnTo>
                  <a:lnTo>
                    <a:pt x="110338" y="22622"/>
                  </a:lnTo>
                  <a:lnTo>
                    <a:pt x="110847" y="21639"/>
                  </a:lnTo>
                  <a:lnTo>
                    <a:pt x="109322" y="21639"/>
                  </a:lnTo>
                  <a:lnTo>
                    <a:pt x="107288" y="17704"/>
                  </a:lnTo>
                  <a:lnTo>
                    <a:pt x="105254" y="12786"/>
                  </a:lnTo>
                  <a:lnTo>
                    <a:pt x="103728" y="9836"/>
                  </a:lnTo>
                  <a:lnTo>
                    <a:pt x="103220" y="10819"/>
                  </a:lnTo>
                  <a:lnTo>
                    <a:pt x="102203" y="11803"/>
                  </a:lnTo>
                  <a:lnTo>
                    <a:pt x="101186" y="14754"/>
                  </a:lnTo>
                  <a:lnTo>
                    <a:pt x="100677" y="15737"/>
                  </a:lnTo>
                  <a:lnTo>
                    <a:pt x="97627" y="16721"/>
                  </a:lnTo>
                  <a:lnTo>
                    <a:pt x="95084" y="14754"/>
                  </a:lnTo>
                  <a:lnTo>
                    <a:pt x="93559" y="12786"/>
                  </a:lnTo>
                  <a:lnTo>
                    <a:pt x="93050" y="13770"/>
                  </a:lnTo>
                  <a:lnTo>
                    <a:pt x="92033" y="15737"/>
                  </a:lnTo>
                  <a:lnTo>
                    <a:pt x="92033" y="16721"/>
                  </a:lnTo>
                  <a:lnTo>
                    <a:pt x="90508" y="17704"/>
                  </a:lnTo>
                  <a:lnTo>
                    <a:pt x="89491" y="15737"/>
                  </a:lnTo>
                  <a:lnTo>
                    <a:pt x="88474" y="14754"/>
                  </a:lnTo>
                  <a:lnTo>
                    <a:pt x="86949" y="13770"/>
                  </a:lnTo>
                  <a:lnTo>
                    <a:pt x="84406" y="12786"/>
                  </a:lnTo>
                  <a:lnTo>
                    <a:pt x="83898" y="10819"/>
                  </a:lnTo>
                  <a:lnTo>
                    <a:pt x="82881" y="6885"/>
                  </a:lnTo>
                  <a:lnTo>
                    <a:pt x="80847" y="3934"/>
                  </a:lnTo>
                  <a:lnTo>
                    <a:pt x="78305" y="0"/>
                  </a:lnTo>
                  <a:lnTo>
                    <a:pt x="77796" y="983"/>
                  </a:lnTo>
                  <a:lnTo>
                    <a:pt x="75254" y="2950"/>
                  </a:lnTo>
                  <a:lnTo>
                    <a:pt x="72711" y="983"/>
                  </a:lnTo>
                  <a:lnTo>
                    <a:pt x="71694" y="1967"/>
                  </a:lnTo>
                  <a:lnTo>
                    <a:pt x="72203" y="5901"/>
                  </a:lnTo>
                  <a:lnTo>
                    <a:pt x="73220" y="6885"/>
                  </a:lnTo>
                  <a:lnTo>
                    <a:pt x="72711" y="8852"/>
                  </a:lnTo>
                  <a:lnTo>
                    <a:pt x="73220" y="14754"/>
                  </a:lnTo>
                  <a:lnTo>
                    <a:pt x="72203" y="16721"/>
                  </a:lnTo>
                  <a:lnTo>
                    <a:pt x="70169" y="16721"/>
                  </a:lnTo>
                  <a:lnTo>
                    <a:pt x="68135" y="18688"/>
                  </a:lnTo>
                  <a:lnTo>
                    <a:pt x="64067" y="19672"/>
                  </a:lnTo>
                  <a:lnTo>
                    <a:pt x="63559" y="20655"/>
                  </a:lnTo>
                  <a:lnTo>
                    <a:pt x="63559" y="22622"/>
                  </a:lnTo>
                  <a:lnTo>
                    <a:pt x="63050" y="24590"/>
                  </a:lnTo>
                  <a:lnTo>
                    <a:pt x="63050" y="28524"/>
                  </a:lnTo>
                  <a:lnTo>
                    <a:pt x="62033" y="32459"/>
                  </a:lnTo>
                  <a:lnTo>
                    <a:pt x="61016" y="36393"/>
                  </a:lnTo>
                  <a:lnTo>
                    <a:pt x="60000" y="38360"/>
                  </a:lnTo>
                  <a:lnTo>
                    <a:pt x="58474" y="38360"/>
                  </a:lnTo>
                  <a:lnTo>
                    <a:pt x="56949" y="43278"/>
                  </a:lnTo>
                  <a:lnTo>
                    <a:pt x="56949" y="46229"/>
                  </a:lnTo>
                  <a:lnTo>
                    <a:pt x="55932" y="50163"/>
                  </a:lnTo>
                  <a:lnTo>
                    <a:pt x="52881" y="51147"/>
                  </a:lnTo>
                  <a:lnTo>
                    <a:pt x="52372" y="50163"/>
                  </a:lnTo>
                  <a:lnTo>
                    <a:pt x="50847" y="47213"/>
                  </a:lnTo>
                  <a:lnTo>
                    <a:pt x="50338" y="43278"/>
                  </a:lnTo>
                  <a:lnTo>
                    <a:pt x="49322" y="43278"/>
                  </a:lnTo>
                  <a:lnTo>
                    <a:pt x="48813" y="47213"/>
                  </a:lnTo>
                  <a:lnTo>
                    <a:pt x="47288" y="50163"/>
                  </a:lnTo>
                  <a:lnTo>
                    <a:pt x="47288" y="54098"/>
                  </a:lnTo>
                  <a:lnTo>
                    <a:pt x="46779" y="57049"/>
                  </a:lnTo>
                  <a:lnTo>
                    <a:pt x="44745" y="56065"/>
                  </a:lnTo>
                  <a:lnTo>
                    <a:pt x="43728" y="54098"/>
                  </a:lnTo>
                  <a:lnTo>
                    <a:pt x="41694" y="54098"/>
                  </a:lnTo>
                  <a:lnTo>
                    <a:pt x="40677" y="55081"/>
                  </a:lnTo>
                  <a:lnTo>
                    <a:pt x="38644" y="56065"/>
                  </a:lnTo>
                  <a:lnTo>
                    <a:pt x="38644" y="60000"/>
                  </a:lnTo>
                  <a:lnTo>
                    <a:pt x="38135" y="60983"/>
                  </a:lnTo>
                  <a:lnTo>
                    <a:pt x="36101" y="59016"/>
                  </a:lnTo>
                  <a:lnTo>
                    <a:pt x="34576" y="56065"/>
                  </a:lnTo>
                  <a:lnTo>
                    <a:pt x="32033" y="56065"/>
                  </a:lnTo>
                  <a:lnTo>
                    <a:pt x="30508" y="56065"/>
                  </a:lnTo>
                  <a:lnTo>
                    <a:pt x="28983" y="60000"/>
                  </a:lnTo>
                  <a:lnTo>
                    <a:pt x="24915" y="60000"/>
                  </a:lnTo>
                  <a:lnTo>
                    <a:pt x="24915" y="64918"/>
                  </a:lnTo>
                  <a:lnTo>
                    <a:pt x="23389" y="64918"/>
                  </a:lnTo>
                  <a:lnTo>
                    <a:pt x="21864" y="65901"/>
                  </a:lnTo>
                  <a:lnTo>
                    <a:pt x="21864" y="69836"/>
                  </a:lnTo>
                  <a:lnTo>
                    <a:pt x="21864" y="70819"/>
                  </a:lnTo>
                  <a:lnTo>
                    <a:pt x="21864" y="73770"/>
                  </a:lnTo>
                  <a:lnTo>
                    <a:pt x="22372" y="76721"/>
                  </a:lnTo>
                  <a:lnTo>
                    <a:pt x="21355" y="77704"/>
                  </a:lnTo>
                  <a:lnTo>
                    <a:pt x="18305" y="79672"/>
                  </a:lnTo>
                  <a:lnTo>
                    <a:pt x="16779" y="81639"/>
                  </a:lnTo>
                  <a:lnTo>
                    <a:pt x="16779" y="86557"/>
                  </a:lnTo>
                  <a:lnTo>
                    <a:pt x="17796" y="91475"/>
                  </a:lnTo>
                  <a:lnTo>
                    <a:pt x="16779" y="92459"/>
                  </a:lnTo>
                  <a:lnTo>
                    <a:pt x="15254" y="92459"/>
                  </a:lnTo>
                  <a:lnTo>
                    <a:pt x="13728" y="92459"/>
                  </a:lnTo>
                  <a:lnTo>
                    <a:pt x="11694" y="89508"/>
                  </a:lnTo>
                  <a:lnTo>
                    <a:pt x="9661" y="87540"/>
                  </a:lnTo>
                  <a:lnTo>
                    <a:pt x="8644" y="88524"/>
                  </a:lnTo>
                  <a:lnTo>
                    <a:pt x="7118" y="91475"/>
                  </a:lnTo>
                  <a:lnTo>
                    <a:pt x="5593" y="92459"/>
                  </a:lnTo>
                  <a:lnTo>
                    <a:pt x="5084" y="95409"/>
                  </a:lnTo>
                  <a:lnTo>
                    <a:pt x="5084" y="98360"/>
                  </a:lnTo>
                  <a:lnTo>
                    <a:pt x="7118" y="100327"/>
                  </a:lnTo>
                  <a:lnTo>
                    <a:pt x="7118" y="102295"/>
                  </a:lnTo>
                  <a:lnTo>
                    <a:pt x="7118" y="105245"/>
                  </a:lnTo>
                  <a:lnTo>
                    <a:pt x="7118" y="110163"/>
                  </a:lnTo>
                  <a:lnTo>
                    <a:pt x="6101" y="113114"/>
                  </a:lnTo>
                  <a:lnTo>
                    <a:pt x="5084" y="114098"/>
                  </a:lnTo>
                  <a:lnTo>
                    <a:pt x="3559" y="114098"/>
                  </a:lnTo>
                  <a:lnTo>
                    <a:pt x="2542" y="115081"/>
                  </a:lnTo>
                  <a:lnTo>
                    <a:pt x="2542" y="115081"/>
                  </a:lnTo>
                  <a:lnTo>
                    <a:pt x="2033" y="115081"/>
                  </a:lnTo>
                  <a:lnTo>
                    <a:pt x="0" y="115081"/>
                  </a:lnTo>
                  <a:lnTo>
                    <a:pt x="0" y="116065"/>
                  </a:lnTo>
                  <a:lnTo>
                    <a:pt x="0" y="119016"/>
                  </a:lnTo>
                  <a:lnTo>
                    <a:pt x="0" y="120000"/>
                  </a:lnTo>
                  <a:lnTo>
                    <a:pt x="1016" y="119016"/>
                  </a:lnTo>
                  <a:lnTo>
                    <a:pt x="26440" y="118032"/>
                  </a:lnTo>
                  <a:lnTo>
                    <a:pt x="25423" y="109180"/>
                  </a:lnTo>
                  <a:lnTo>
                    <a:pt x="72711" y="103278"/>
                  </a:lnTo>
                  <a:lnTo>
                    <a:pt x="97627" y="98360"/>
                  </a:lnTo>
                  <a:lnTo>
                    <a:pt x="100677" y="95409"/>
                  </a:lnTo>
                  <a:lnTo>
                    <a:pt x="102711" y="92459"/>
                  </a:lnTo>
                  <a:close/>
                </a:path>
              </a:pathLst>
            </a:custGeom>
            <a:solidFill>
              <a:srgbClr val="C63AB5"/>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4" name="Shape 1432">
              <a:extLst>
                <a:ext uri="{FF2B5EF4-FFF2-40B4-BE49-F238E27FC236}">
                  <a16:creationId xmlns:a16="http://schemas.microsoft.com/office/drawing/2014/main" id="{0800EE14-B968-47FD-AD6E-E47A353FAD10}"/>
                </a:ext>
              </a:extLst>
            </p:cNvPr>
            <p:cNvSpPr/>
            <p:nvPr/>
          </p:nvSpPr>
          <p:spPr>
            <a:xfrm>
              <a:off x="10425380" y="4258265"/>
              <a:ext cx="293912" cy="373261"/>
            </a:xfrm>
            <a:custGeom>
              <a:avLst/>
              <a:gdLst/>
              <a:ahLst/>
              <a:cxnLst/>
              <a:rect l="0" t="0" r="0" b="0"/>
              <a:pathLst>
                <a:path w="120000" h="120000" extrusionOk="0">
                  <a:moveTo>
                    <a:pt x="106764" y="3846"/>
                  </a:moveTo>
                  <a:lnTo>
                    <a:pt x="100588" y="6153"/>
                  </a:lnTo>
                  <a:lnTo>
                    <a:pt x="95294" y="10000"/>
                  </a:lnTo>
                  <a:lnTo>
                    <a:pt x="89117" y="13076"/>
                  </a:lnTo>
                  <a:lnTo>
                    <a:pt x="84705" y="16153"/>
                  </a:lnTo>
                  <a:lnTo>
                    <a:pt x="82058" y="16923"/>
                  </a:lnTo>
                  <a:lnTo>
                    <a:pt x="80294" y="18461"/>
                  </a:lnTo>
                  <a:lnTo>
                    <a:pt x="77647" y="20769"/>
                  </a:lnTo>
                  <a:lnTo>
                    <a:pt x="75000" y="20769"/>
                  </a:lnTo>
                  <a:lnTo>
                    <a:pt x="72352" y="20769"/>
                  </a:lnTo>
                  <a:lnTo>
                    <a:pt x="68823" y="22307"/>
                  </a:lnTo>
                  <a:lnTo>
                    <a:pt x="65294" y="25384"/>
                  </a:lnTo>
                  <a:lnTo>
                    <a:pt x="62647" y="25384"/>
                  </a:lnTo>
                  <a:lnTo>
                    <a:pt x="60882" y="25384"/>
                  </a:lnTo>
                  <a:lnTo>
                    <a:pt x="60000" y="25384"/>
                  </a:lnTo>
                  <a:lnTo>
                    <a:pt x="57352" y="23846"/>
                  </a:lnTo>
                  <a:lnTo>
                    <a:pt x="54705" y="21538"/>
                  </a:lnTo>
                  <a:lnTo>
                    <a:pt x="52941" y="22307"/>
                  </a:lnTo>
                  <a:lnTo>
                    <a:pt x="49411" y="21538"/>
                  </a:lnTo>
                  <a:lnTo>
                    <a:pt x="48529" y="20769"/>
                  </a:lnTo>
                  <a:lnTo>
                    <a:pt x="45000" y="18461"/>
                  </a:lnTo>
                  <a:lnTo>
                    <a:pt x="41470" y="17692"/>
                  </a:lnTo>
                  <a:lnTo>
                    <a:pt x="34411" y="16923"/>
                  </a:lnTo>
                  <a:lnTo>
                    <a:pt x="0" y="21538"/>
                  </a:lnTo>
                  <a:lnTo>
                    <a:pt x="9705" y="103076"/>
                  </a:lnTo>
                  <a:lnTo>
                    <a:pt x="14117" y="104615"/>
                  </a:lnTo>
                  <a:lnTo>
                    <a:pt x="18529" y="103076"/>
                  </a:lnTo>
                  <a:lnTo>
                    <a:pt x="19411" y="102307"/>
                  </a:lnTo>
                  <a:lnTo>
                    <a:pt x="23823" y="105384"/>
                  </a:lnTo>
                  <a:lnTo>
                    <a:pt x="27352" y="107692"/>
                  </a:lnTo>
                  <a:lnTo>
                    <a:pt x="29117" y="110769"/>
                  </a:lnTo>
                  <a:lnTo>
                    <a:pt x="30000" y="112307"/>
                  </a:lnTo>
                  <a:lnTo>
                    <a:pt x="34411" y="113076"/>
                  </a:lnTo>
                  <a:lnTo>
                    <a:pt x="37058" y="113846"/>
                  </a:lnTo>
                  <a:lnTo>
                    <a:pt x="38823" y="114615"/>
                  </a:lnTo>
                  <a:lnTo>
                    <a:pt x="40588" y="116153"/>
                  </a:lnTo>
                  <a:lnTo>
                    <a:pt x="43235" y="115384"/>
                  </a:lnTo>
                  <a:lnTo>
                    <a:pt x="43235" y="114615"/>
                  </a:lnTo>
                  <a:lnTo>
                    <a:pt x="45000" y="113076"/>
                  </a:lnTo>
                  <a:lnTo>
                    <a:pt x="45882" y="112307"/>
                  </a:lnTo>
                  <a:lnTo>
                    <a:pt x="48529" y="113846"/>
                  </a:lnTo>
                  <a:lnTo>
                    <a:pt x="52941" y="115384"/>
                  </a:lnTo>
                  <a:lnTo>
                    <a:pt x="58235" y="114615"/>
                  </a:lnTo>
                  <a:lnTo>
                    <a:pt x="59117" y="113846"/>
                  </a:lnTo>
                  <a:lnTo>
                    <a:pt x="60882" y="111538"/>
                  </a:lnTo>
                  <a:lnTo>
                    <a:pt x="62647" y="110769"/>
                  </a:lnTo>
                  <a:lnTo>
                    <a:pt x="63529" y="110000"/>
                  </a:lnTo>
                  <a:lnTo>
                    <a:pt x="66176" y="112307"/>
                  </a:lnTo>
                  <a:lnTo>
                    <a:pt x="69705" y="116153"/>
                  </a:lnTo>
                  <a:lnTo>
                    <a:pt x="73235" y="119230"/>
                  </a:lnTo>
                  <a:lnTo>
                    <a:pt x="75882" y="119230"/>
                  </a:lnTo>
                  <a:lnTo>
                    <a:pt x="75000" y="120000"/>
                  </a:lnTo>
                  <a:lnTo>
                    <a:pt x="77647" y="117692"/>
                  </a:lnTo>
                  <a:lnTo>
                    <a:pt x="81176" y="114615"/>
                  </a:lnTo>
                  <a:lnTo>
                    <a:pt x="82941" y="112307"/>
                  </a:lnTo>
                  <a:lnTo>
                    <a:pt x="82941" y="109230"/>
                  </a:lnTo>
                  <a:lnTo>
                    <a:pt x="85588" y="100769"/>
                  </a:lnTo>
                  <a:lnTo>
                    <a:pt x="88235" y="98461"/>
                  </a:lnTo>
                  <a:lnTo>
                    <a:pt x="91764" y="100769"/>
                  </a:lnTo>
                  <a:lnTo>
                    <a:pt x="92647" y="100000"/>
                  </a:lnTo>
                  <a:lnTo>
                    <a:pt x="93529" y="92307"/>
                  </a:lnTo>
                  <a:lnTo>
                    <a:pt x="96176" y="89230"/>
                  </a:lnTo>
                  <a:lnTo>
                    <a:pt x="99705" y="84615"/>
                  </a:lnTo>
                  <a:lnTo>
                    <a:pt x="104117" y="84615"/>
                  </a:lnTo>
                  <a:lnTo>
                    <a:pt x="106764" y="81538"/>
                  </a:lnTo>
                  <a:lnTo>
                    <a:pt x="113823" y="76153"/>
                  </a:lnTo>
                  <a:lnTo>
                    <a:pt x="115588" y="72307"/>
                  </a:lnTo>
                  <a:lnTo>
                    <a:pt x="115588" y="70000"/>
                  </a:lnTo>
                  <a:lnTo>
                    <a:pt x="116470" y="63846"/>
                  </a:lnTo>
                  <a:lnTo>
                    <a:pt x="116470" y="59230"/>
                  </a:lnTo>
                  <a:lnTo>
                    <a:pt x="117352" y="56923"/>
                  </a:lnTo>
                  <a:lnTo>
                    <a:pt x="117352" y="53846"/>
                  </a:lnTo>
                  <a:lnTo>
                    <a:pt x="117352" y="47692"/>
                  </a:lnTo>
                  <a:lnTo>
                    <a:pt x="117352" y="46923"/>
                  </a:lnTo>
                  <a:lnTo>
                    <a:pt x="116470" y="44615"/>
                  </a:lnTo>
                  <a:lnTo>
                    <a:pt x="117352" y="42307"/>
                  </a:lnTo>
                  <a:lnTo>
                    <a:pt x="120000" y="42307"/>
                  </a:lnTo>
                  <a:lnTo>
                    <a:pt x="111176" y="0"/>
                  </a:lnTo>
                  <a:lnTo>
                    <a:pt x="106764" y="3846"/>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5" name="Shape 1433">
              <a:extLst>
                <a:ext uri="{FF2B5EF4-FFF2-40B4-BE49-F238E27FC236}">
                  <a16:creationId xmlns:a16="http://schemas.microsoft.com/office/drawing/2014/main" id="{2F6E3B06-E809-6073-2564-6840BB121168}"/>
                </a:ext>
              </a:extLst>
            </p:cNvPr>
            <p:cNvSpPr/>
            <p:nvPr/>
          </p:nvSpPr>
          <p:spPr>
            <a:xfrm>
              <a:off x="10235205" y="4322869"/>
              <a:ext cx="216111" cy="411544"/>
            </a:xfrm>
            <a:custGeom>
              <a:avLst/>
              <a:gdLst/>
              <a:ahLst/>
              <a:cxnLst/>
              <a:rect l="0" t="0" r="0" b="0"/>
              <a:pathLst>
                <a:path w="120000" h="120000" extrusionOk="0">
                  <a:moveTo>
                    <a:pt x="6000" y="120000"/>
                  </a:moveTo>
                  <a:lnTo>
                    <a:pt x="6000" y="116511"/>
                  </a:lnTo>
                  <a:lnTo>
                    <a:pt x="15600" y="116511"/>
                  </a:lnTo>
                  <a:lnTo>
                    <a:pt x="19200" y="113720"/>
                  </a:lnTo>
                  <a:lnTo>
                    <a:pt x="22800" y="113720"/>
                  </a:lnTo>
                  <a:lnTo>
                    <a:pt x="28800" y="113720"/>
                  </a:lnTo>
                  <a:lnTo>
                    <a:pt x="32400" y="115813"/>
                  </a:lnTo>
                  <a:lnTo>
                    <a:pt x="37200" y="117209"/>
                  </a:lnTo>
                  <a:lnTo>
                    <a:pt x="38400" y="116511"/>
                  </a:lnTo>
                  <a:lnTo>
                    <a:pt x="38400" y="113720"/>
                  </a:lnTo>
                  <a:lnTo>
                    <a:pt x="43200" y="113023"/>
                  </a:lnTo>
                  <a:lnTo>
                    <a:pt x="45600" y="112325"/>
                  </a:lnTo>
                  <a:lnTo>
                    <a:pt x="50400" y="112325"/>
                  </a:lnTo>
                  <a:lnTo>
                    <a:pt x="52800" y="113720"/>
                  </a:lnTo>
                  <a:lnTo>
                    <a:pt x="57600" y="114418"/>
                  </a:lnTo>
                  <a:lnTo>
                    <a:pt x="58800" y="112325"/>
                  </a:lnTo>
                  <a:lnTo>
                    <a:pt x="58800" y="109534"/>
                  </a:lnTo>
                  <a:lnTo>
                    <a:pt x="62400" y="107441"/>
                  </a:lnTo>
                  <a:lnTo>
                    <a:pt x="63600" y="104651"/>
                  </a:lnTo>
                  <a:lnTo>
                    <a:pt x="66000" y="104651"/>
                  </a:lnTo>
                  <a:lnTo>
                    <a:pt x="67200" y="107441"/>
                  </a:lnTo>
                  <a:lnTo>
                    <a:pt x="70800" y="109534"/>
                  </a:lnTo>
                  <a:lnTo>
                    <a:pt x="72000" y="110232"/>
                  </a:lnTo>
                  <a:lnTo>
                    <a:pt x="79200" y="109534"/>
                  </a:lnTo>
                  <a:lnTo>
                    <a:pt x="81600" y="106744"/>
                  </a:lnTo>
                  <a:lnTo>
                    <a:pt x="81600" y="104651"/>
                  </a:lnTo>
                  <a:lnTo>
                    <a:pt x="85200" y="101162"/>
                  </a:lnTo>
                  <a:lnTo>
                    <a:pt x="88800" y="101162"/>
                  </a:lnTo>
                  <a:lnTo>
                    <a:pt x="91200" y="99767"/>
                  </a:lnTo>
                  <a:lnTo>
                    <a:pt x="93600" y="96976"/>
                  </a:lnTo>
                  <a:lnTo>
                    <a:pt x="96000" y="94186"/>
                  </a:lnTo>
                  <a:lnTo>
                    <a:pt x="96000" y="91395"/>
                  </a:lnTo>
                  <a:lnTo>
                    <a:pt x="97200" y="90000"/>
                  </a:lnTo>
                  <a:lnTo>
                    <a:pt x="97200" y="88604"/>
                  </a:lnTo>
                  <a:lnTo>
                    <a:pt x="98400" y="87906"/>
                  </a:lnTo>
                  <a:lnTo>
                    <a:pt x="108000" y="87209"/>
                  </a:lnTo>
                  <a:lnTo>
                    <a:pt x="112800" y="85813"/>
                  </a:lnTo>
                  <a:lnTo>
                    <a:pt x="117600" y="85813"/>
                  </a:lnTo>
                  <a:lnTo>
                    <a:pt x="120000" y="84418"/>
                  </a:lnTo>
                  <a:lnTo>
                    <a:pt x="118800" y="80232"/>
                  </a:lnTo>
                  <a:lnTo>
                    <a:pt x="120000" y="78837"/>
                  </a:lnTo>
                  <a:lnTo>
                    <a:pt x="117600" y="78139"/>
                  </a:lnTo>
                  <a:lnTo>
                    <a:pt x="116400" y="75348"/>
                  </a:lnTo>
                  <a:lnTo>
                    <a:pt x="118800" y="74651"/>
                  </a:lnTo>
                  <a:lnTo>
                    <a:pt x="105600" y="697"/>
                  </a:lnTo>
                  <a:lnTo>
                    <a:pt x="105600" y="0"/>
                  </a:lnTo>
                  <a:lnTo>
                    <a:pt x="32400" y="2790"/>
                  </a:lnTo>
                  <a:lnTo>
                    <a:pt x="32400" y="3488"/>
                  </a:lnTo>
                  <a:lnTo>
                    <a:pt x="24000" y="6279"/>
                  </a:lnTo>
                  <a:lnTo>
                    <a:pt x="19200" y="8372"/>
                  </a:lnTo>
                  <a:lnTo>
                    <a:pt x="15600" y="9069"/>
                  </a:lnTo>
                  <a:lnTo>
                    <a:pt x="9600" y="8372"/>
                  </a:lnTo>
                  <a:lnTo>
                    <a:pt x="13200" y="71860"/>
                  </a:lnTo>
                  <a:lnTo>
                    <a:pt x="12000" y="73953"/>
                  </a:lnTo>
                  <a:lnTo>
                    <a:pt x="12000" y="76046"/>
                  </a:lnTo>
                  <a:lnTo>
                    <a:pt x="12000" y="78837"/>
                  </a:lnTo>
                  <a:lnTo>
                    <a:pt x="13200" y="81627"/>
                  </a:lnTo>
                  <a:lnTo>
                    <a:pt x="18000" y="86511"/>
                  </a:lnTo>
                  <a:lnTo>
                    <a:pt x="19200" y="90697"/>
                  </a:lnTo>
                  <a:lnTo>
                    <a:pt x="19200" y="93488"/>
                  </a:lnTo>
                  <a:lnTo>
                    <a:pt x="15600" y="94883"/>
                  </a:lnTo>
                  <a:lnTo>
                    <a:pt x="13200" y="97674"/>
                  </a:lnTo>
                  <a:lnTo>
                    <a:pt x="12000" y="101162"/>
                  </a:lnTo>
                  <a:lnTo>
                    <a:pt x="9600" y="102558"/>
                  </a:lnTo>
                  <a:lnTo>
                    <a:pt x="6000" y="104651"/>
                  </a:lnTo>
                  <a:lnTo>
                    <a:pt x="4800" y="108837"/>
                  </a:lnTo>
                  <a:lnTo>
                    <a:pt x="2400" y="109534"/>
                  </a:lnTo>
                  <a:lnTo>
                    <a:pt x="0" y="112325"/>
                  </a:lnTo>
                  <a:lnTo>
                    <a:pt x="0" y="116511"/>
                  </a:lnTo>
                  <a:lnTo>
                    <a:pt x="1200" y="119302"/>
                  </a:lnTo>
                  <a:lnTo>
                    <a:pt x="2400" y="120000"/>
                  </a:lnTo>
                  <a:lnTo>
                    <a:pt x="2400" y="120000"/>
                  </a:lnTo>
                  <a:lnTo>
                    <a:pt x="6000" y="120000"/>
                  </a:lnTo>
                  <a:close/>
                </a:path>
              </a:pathLst>
            </a:custGeom>
            <a:solidFill>
              <a:srgbClr val="C63AB5"/>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6" name="Shape 1434">
              <a:extLst>
                <a:ext uri="{FF2B5EF4-FFF2-40B4-BE49-F238E27FC236}">
                  <a16:creationId xmlns:a16="http://schemas.microsoft.com/office/drawing/2014/main" id="{7363BDB3-D997-EC5D-E232-B020B309BFD1}"/>
                </a:ext>
              </a:extLst>
            </p:cNvPr>
            <p:cNvSpPr/>
            <p:nvPr/>
          </p:nvSpPr>
          <p:spPr>
            <a:xfrm>
              <a:off x="9990995" y="4270228"/>
              <a:ext cx="278784" cy="540750"/>
            </a:xfrm>
            <a:custGeom>
              <a:avLst/>
              <a:gdLst/>
              <a:ahLst/>
              <a:cxnLst/>
              <a:rect l="0" t="0" r="0" b="0"/>
              <a:pathLst>
                <a:path w="120000" h="120000" extrusionOk="0">
                  <a:moveTo>
                    <a:pt x="80000" y="115752"/>
                  </a:moveTo>
                  <a:lnTo>
                    <a:pt x="81860" y="115221"/>
                  </a:lnTo>
                  <a:lnTo>
                    <a:pt x="85581" y="116283"/>
                  </a:lnTo>
                  <a:lnTo>
                    <a:pt x="89302" y="117876"/>
                  </a:lnTo>
                  <a:lnTo>
                    <a:pt x="92093" y="117876"/>
                  </a:lnTo>
                  <a:lnTo>
                    <a:pt x="94883" y="117876"/>
                  </a:lnTo>
                  <a:lnTo>
                    <a:pt x="96744" y="117345"/>
                  </a:lnTo>
                  <a:lnTo>
                    <a:pt x="94883" y="114690"/>
                  </a:lnTo>
                  <a:lnTo>
                    <a:pt x="94883" y="112035"/>
                  </a:lnTo>
                  <a:lnTo>
                    <a:pt x="97674" y="110973"/>
                  </a:lnTo>
                  <a:lnTo>
                    <a:pt x="103255" y="109911"/>
                  </a:lnTo>
                  <a:lnTo>
                    <a:pt x="105116" y="109380"/>
                  </a:lnTo>
                  <a:lnTo>
                    <a:pt x="104186" y="107787"/>
                  </a:lnTo>
                  <a:lnTo>
                    <a:pt x="104186" y="106194"/>
                  </a:lnTo>
                  <a:lnTo>
                    <a:pt x="104186" y="105663"/>
                  </a:lnTo>
                  <a:lnTo>
                    <a:pt x="104186" y="103539"/>
                  </a:lnTo>
                  <a:lnTo>
                    <a:pt x="106976" y="103008"/>
                  </a:lnTo>
                  <a:lnTo>
                    <a:pt x="106976" y="103008"/>
                  </a:lnTo>
                  <a:lnTo>
                    <a:pt x="106046" y="102477"/>
                  </a:lnTo>
                  <a:lnTo>
                    <a:pt x="105116" y="100353"/>
                  </a:lnTo>
                  <a:lnTo>
                    <a:pt x="105116" y="97168"/>
                  </a:lnTo>
                  <a:lnTo>
                    <a:pt x="106976" y="95044"/>
                  </a:lnTo>
                  <a:lnTo>
                    <a:pt x="108837" y="94513"/>
                  </a:lnTo>
                  <a:lnTo>
                    <a:pt x="109767" y="91327"/>
                  </a:lnTo>
                  <a:lnTo>
                    <a:pt x="112558" y="89734"/>
                  </a:lnTo>
                  <a:lnTo>
                    <a:pt x="114418" y="88672"/>
                  </a:lnTo>
                  <a:lnTo>
                    <a:pt x="115348" y="86017"/>
                  </a:lnTo>
                  <a:lnTo>
                    <a:pt x="117209" y="83893"/>
                  </a:lnTo>
                  <a:lnTo>
                    <a:pt x="120000" y="82831"/>
                  </a:lnTo>
                  <a:lnTo>
                    <a:pt x="120000" y="80707"/>
                  </a:lnTo>
                  <a:lnTo>
                    <a:pt x="119069" y="77522"/>
                  </a:lnTo>
                  <a:lnTo>
                    <a:pt x="115348" y="73805"/>
                  </a:lnTo>
                  <a:lnTo>
                    <a:pt x="114418" y="71681"/>
                  </a:lnTo>
                  <a:lnTo>
                    <a:pt x="114418" y="69557"/>
                  </a:lnTo>
                  <a:lnTo>
                    <a:pt x="114418" y="67964"/>
                  </a:lnTo>
                  <a:lnTo>
                    <a:pt x="115348" y="66371"/>
                  </a:lnTo>
                  <a:lnTo>
                    <a:pt x="112558" y="18053"/>
                  </a:lnTo>
                  <a:lnTo>
                    <a:pt x="113488" y="18053"/>
                  </a:lnTo>
                  <a:lnTo>
                    <a:pt x="109767" y="16460"/>
                  </a:lnTo>
                  <a:lnTo>
                    <a:pt x="107906" y="13805"/>
                  </a:lnTo>
                  <a:lnTo>
                    <a:pt x="106046" y="12212"/>
                  </a:lnTo>
                  <a:lnTo>
                    <a:pt x="105116" y="9026"/>
                  </a:lnTo>
                  <a:lnTo>
                    <a:pt x="101395" y="6902"/>
                  </a:lnTo>
                  <a:lnTo>
                    <a:pt x="99534" y="1592"/>
                  </a:lnTo>
                  <a:lnTo>
                    <a:pt x="99534" y="0"/>
                  </a:lnTo>
                  <a:lnTo>
                    <a:pt x="22325" y="2654"/>
                  </a:lnTo>
                  <a:lnTo>
                    <a:pt x="20465" y="1592"/>
                  </a:lnTo>
                  <a:lnTo>
                    <a:pt x="20465" y="1592"/>
                  </a:lnTo>
                  <a:lnTo>
                    <a:pt x="19534" y="3185"/>
                  </a:lnTo>
                  <a:lnTo>
                    <a:pt x="19534" y="4247"/>
                  </a:lnTo>
                  <a:lnTo>
                    <a:pt x="22325" y="5840"/>
                  </a:lnTo>
                  <a:lnTo>
                    <a:pt x="26046" y="7433"/>
                  </a:lnTo>
                  <a:lnTo>
                    <a:pt x="30697" y="9557"/>
                  </a:lnTo>
                  <a:lnTo>
                    <a:pt x="35348" y="12212"/>
                  </a:lnTo>
                  <a:lnTo>
                    <a:pt x="35348" y="13805"/>
                  </a:lnTo>
                  <a:lnTo>
                    <a:pt x="33488" y="16991"/>
                  </a:lnTo>
                  <a:lnTo>
                    <a:pt x="31627" y="18584"/>
                  </a:lnTo>
                  <a:lnTo>
                    <a:pt x="28837" y="22831"/>
                  </a:lnTo>
                  <a:lnTo>
                    <a:pt x="26976" y="23893"/>
                  </a:lnTo>
                  <a:lnTo>
                    <a:pt x="25116" y="24955"/>
                  </a:lnTo>
                  <a:lnTo>
                    <a:pt x="19534" y="26548"/>
                  </a:lnTo>
                  <a:lnTo>
                    <a:pt x="13953" y="26548"/>
                  </a:lnTo>
                  <a:lnTo>
                    <a:pt x="11162" y="27079"/>
                  </a:lnTo>
                  <a:lnTo>
                    <a:pt x="11162" y="29203"/>
                  </a:lnTo>
                  <a:lnTo>
                    <a:pt x="11162" y="30796"/>
                  </a:lnTo>
                  <a:lnTo>
                    <a:pt x="13953" y="34513"/>
                  </a:lnTo>
                  <a:lnTo>
                    <a:pt x="15813" y="35575"/>
                  </a:lnTo>
                  <a:lnTo>
                    <a:pt x="12093" y="37168"/>
                  </a:lnTo>
                  <a:lnTo>
                    <a:pt x="12093" y="40884"/>
                  </a:lnTo>
                  <a:lnTo>
                    <a:pt x="10232" y="40884"/>
                  </a:lnTo>
                  <a:lnTo>
                    <a:pt x="7441" y="42477"/>
                  </a:lnTo>
                  <a:lnTo>
                    <a:pt x="1860" y="45663"/>
                  </a:lnTo>
                  <a:lnTo>
                    <a:pt x="2790" y="48849"/>
                  </a:lnTo>
                  <a:lnTo>
                    <a:pt x="0" y="50442"/>
                  </a:lnTo>
                  <a:lnTo>
                    <a:pt x="0" y="55221"/>
                  </a:lnTo>
                  <a:lnTo>
                    <a:pt x="0" y="60000"/>
                  </a:lnTo>
                  <a:lnTo>
                    <a:pt x="5581" y="65309"/>
                  </a:lnTo>
                  <a:lnTo>
                    <a:pt x="19534" y="72212"/>
                  </a:lnTo>
                  <a:lnTo>
                    <a:pt x="23255" y="75398"/>
                  </a:lnTo>
                  <a:lnTo>
                    <a:pt x="23255" y="79646"/>
                  </a:lnTo>
                  <a:lnTo>
                    <a:pt x="27906" y="81769"/>
                  </a:lnTo>
                  <a:lnTo>
                    <a:pt x="28837" y="80176"/>
                  </a:lnTo>
                  <a:lnTo>
                    <a:pt x="31627" y="79646"/>
                  </a:lnTo>
                  <a:lnTo>
                    <a:pt x="36279" y="79646"/>
                  </a:lnTo>
                  <a:lnTo>
                    <a:pt x="39069" y="81238"/>
                  </a:lnTo>
                  <a:lnTo>
                    <a:pt x="41860" y="82831"/>
                  </a:lnTo>
                  <a:lnTo>
                    <a:pt x="39069" y="86017"/>
                  </a:lnTo>
                  <a:lnTo>
                    <a:pt x="38139" y="88672"/>
                  </a:lnTo>
                  <a:lnTo>
                    <a:pt x="38139" y="90265"/>
                  </a:lnTo>
                  <a:lnTo>
                    <a:pt x="36279" y="92920"/>
                  </a:lnTo>
                  <a:lnTo>
                    <a:pt x="36279" y="95575"/>
                  </a:lnTo>
                  <a:lnTo>
                    <a:pt x="40930" y="98230"/>
                  </a:lnTo>
                  <a:lnTo>
                    <a:pt x="47441" y="100884"/>
                  </a:lnTo>
                  <a:lnTo>
                    <a:pt x="49302" y="100353"/>
                  </a:lnTo>
                  <a:lnTo>
                    <a:pt x="59534" y="104070"/>
                  </a:lnTo>
                  <a:lnTo>
                    <a:pt x="63255" y="106194"/>
                  </a:lnTo>
                  <a:lnTo>
                    <a:pt x="66046" y="110973"/>
                  </a:lnTo>
                  <a:lnTo>
                    <a:pt x="65116" y="113628"/>
                  </a:lnTo>
                  <a:lnTo>
                    <a:pt x="64186" y="115221"/>
                  </a:lnTo>
                  <a:lnTo>
                    <a:pt x="68837" y="117876"/>
                  </a:lnTo>
                  <a:lnTo>
                    <a:pt x="68837" y="120000"/>
                  </a:lnTo>
                  <a:lnTo>
                    <a:pt x="70697" y="117876"/>
                  </a:lnTo>
                  <a:lnTo>
                    <a:pt x="74418" y="117876"/>
                  </a:lnTo>
                  <a:lnTo>
                    <a:pt x="77209" y="117345"/>
                  </a:lnTo>
                  <a:lnTo>
                    <a:pt x="80000" y="115752"/>
                  </a:lnTo>
                  <a:close/>
                </a:path>
              </a:pathLst>
            </a:custGeom>
            <a:solidFill>
              <a:srgbClr val="C63AB5"/>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7" name="Shape 1391">
              <a:extLst>
                <a:ext uri="{FF2B5EF4-FFF2-40B4-BE49-F238E27FC236}">
                  <a16:creationId xmlns:a16="http://schemas.microsoft.com/office/drawing/2014/main" id="{E1970D4A-626A-B34C-2F4F-69ED2222F9A1}"/>
                </a:ext>
              </a:extLst>
            </p:cNvPr>
            <p:cNvSpPr/>
            <p:nvPr/>
          </p:nvSpPr>
          <p:spPr>
            <a:xfrm>
              <a:off x="9267012" y="4514283"/>
              <a:ext cx="514344" cy="315837"/>
            </a:xfrm>
            <a:custGeom>
              <a:avLst/>
              <a:gdLst/>
              <a:ahLst/>
              <a:cxnLst/>
              <a:rect l="0" t="0" r="0" b="0"/>
              <a:pathLst>
                <a:path w="120000" h="120000" extrusionOk="0">
                  <a:moveTo>
                    <a:pt x="120000" y="120000"/>
                  </a:moveTo>
                  <a:cubicBezTo>
                    <a:pt x="120000" y="40000"/>
                    <a:pt x="120000" y="40000"/>
                    <a:pt x="120000" y="40000"/>
                  </a:cubicBezTo>
                  <a:cubicBezTo>
                    <a:pt x="117446" y="37692"/>
                    <a:pt x="117446" y="37692"/>
                    <a:pt x="117446" y="37692"/>
                  </a:cubicBezTo>
                  <a:cubicBezTo>
                    <a:pt x="116170" y="36153"/>
                    <a:pt x="116170" y="36153"/>
                    <a:pt x="116170" y="36153"/>
                  </a:cubicBezTo>
                  <a:cubicBezTo>
                    <a:pt x="115319" y="31538"/>
                    <a:pt x="115319" y="31538"/>
                    <a:pt x="115319" y="31538"/>
                  </a:cubicBezTo>
                  <a:cubicBezTo>
                    <a:pt x="112765" y="26923"/>
                    <a:pt x="112765" y="26923"/>
                    <a:pt x="112765" y="26923"/>
                  </a:cubicBezTo>
                  <a:cubicBezTo>
                    <a:pt x="114042" y="23076"/>
                    <a:pt x="114042" y="23076"/>
                    <a:pt x="114042" y="23076"/>
                  </a:cubicBezTo>
                  <a:cubicBezTo>
                    <a:pt x="115319" y="18461"/>
                    <a:pt x="115319" y="18461"/>
                    <a:pt x="115319" y="18461"/>
                  </a:cubicBezTo>
                  <a:cubicBezTo>
                    <a:pt x="115319" y="14615"/>
                    <a:pt x="115319" y="14615"/>
                    <a:pt x="115319" y="14615"/>
                  </a:cubicBezTo>
                  <a:cubicBezTo>
                    <a:pt x="114468" y="14615"/>
                    <a:pt x="114468" y="14615"/>
                    <a:pt x="114468" y="14615"/>
                  </a:cubicBezTo>
                  <a:cubicBezTo>
                    <a:pt x="110638" y="14615"/>
                    <a:pt x="110638" y="14615"/>
                    <a:pt x="110638" y="14615"/>
                  </a:cubicBezTo>
                  <a:cubicBezTo>
                    <a:pt x="109787" y="11538"/>
                    <a:pt x="109787" y="11538"/>
                    <a:pt x="109787" y="11538"/>
                  </a:cubicBezTo>
                  <a:cubicBezTo>
                    <a:pt x="108085" y="6923"/>
                    <a:pt x="108085" y="6923"/>
                    <a:pt x="108085" y="6923"/>
                  </a:cubicBezTo>
                  <a:cubicBezTo>
                    <a:pt x="108085" y="6923"/>
                    <a:pt x="79574" y="5384"/>
                    <a:pt x="70212" y="4615"/>
                  </a:cubicBezTo>
                  <a:cubicBezTo>
                    <a:pt x="53617" y="3846"/>
                    <a:pt x="4255" y="0"/>
                    <a:pt x="4255" y="0"/>
                  </a:cubicBezTo>
                  <a:cubicBezTo>
                    <a:pt x="0" y="112307"/>
                    <a:pt x="0" y="112307"/>
                    <a:pt x="0" y="112307"/>
                  </a:cubicBezTo>
                  <a:cubicBezTo>
                    <a:pt x="17446" y="113846"/>
                    <a:pt x="44255" y="116153"/>
                    <a:pt x="56595" y="117692"/>
                  </a:cubicBezTo>
                  <a:cubicBezTo>
                    <a:pt x="71914" y="118461"/>
                    <a:pt x="120000" y="120000"/>
                    <a:pt x="120000" y="120000"/>
                  </a:cubicBez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8" name="Shape 1392">
              <a:extLst>
                <a:ext uri="{FF2B5EF4-FFF2-40B4-BE49-F238E27FC236}">
                  <a16:creationId xmlns:a16="http://schemas.microsoft.com/office/drawing/2014/main" id="{362264CA-EB20-54AA-2085-D20C310E28E4}"/>
                </a:ext>
              </a:extLst>
            </p:cNvPr>
            <p:cNvSpPr/>
            <p:nvPr/>
          </p:nvSpPr>
          <p:spPr>
            <a:xfrm>
              <a:off x="9158957" y="4212802"/>
              <a:ext cx="572695" cy="320621"/>
            </a:xfrm>
            <a:custGeom>
              <a:avLst/>
              <a:gdLst/>
              <a:ahLst/>
              <a:cxnLst/>
              <a:rect l="0" t="0" r="0" b="0"/>
              <a:pathLst>
                <a:path w="120000" h="120000" extrusionOk="0">
                  <a:moveTo>
                    <a:pt x="120000" y="120000"/>
                  </a:moveTo>
                  <a:cubicBezTo>
                    <a:pt x="120000" y="120000"/>
                    <a:pt x="120000" y="120000"/>
                    <a:pt x="120000" y="120000"/>
                  </a:cubicBezTo>
                  <a:cubicBezTo>
                    <a:pt x="120000" y="120000"/>
                    <a:pt x="120000" y="120000"/>
                    <a:pt x="120000" y="120000"/>
                  </a:cubicBezTo>
                  <a:cubicBezTo>
                    <a:pt x="119233" y="116962"/>
                    <a:pt x="119233" y="116962"/>
                    <a:pt x="119233" y="116962"/>
                  </a:cubicBezTo>
                  <a:cubicBezTo>
                    <a:pt x="118849" y="112405"/>
                    <a:pt x="118849" y="112405"/>
                    <a:pt x="118849" y="112405"/>
                  </a:cubicBezTo>
                  <a:cubicBezTo>
                    <a:pt x="118849" y="112405"/>
                    <a:pt x="116932" y="111645"/>
                    <a:pt x="116549" y="110886"/>
                  </a:cubicBezTo>
                  <a:cubicBezTo>
                    <a:pt x="116166" y="110126"/>
                    <a:pt x="116549" y="110126"/>
                    <a:pt x="116549" y="110126"/>
                  </a:cubicBezTo>
                  <a:cubicBezTo>
                    <a:pt x="115782" y="107848"/>
                    <a:pt x="115782" y="107848"/>
                    <a:pt x="115782" y="107848"/>
                  </a:cubicBezTo>
                  <a:cubicBezTo>
                    <a:pt x="116549" y="106329"/>
                    <a:pt x="116549" y="106329"/>
                    <a:pt x="116549" y="106329"/>
                  </a:cubicBezTo>
                  <a:cubicBezTo>
                    <a:pt x="116166" y="102531"/>
                    <a:pt x="116166" y="102531"/>
                    <a:pt x="116166" y="102531"/>
                  </a:cubicBezTo>
                  <a:cubicBezTo>
                    <a:pt x="115015" y="101012"/>
                    <a:pt x="115015" y="101012"/>
                    <a:pt x="115015" y="101012"/>
                  </a:cubicBezTo>
                  <a:cubicBezTo>
                    <a:pt x="114632" y="98734"/>
                    <a:pt x="114632" y="98734"/>
                    <a:pt x="114632" y="98734"/>
                  </a:cubicBezTo>
                  <a:cubicBezTo>
                    <a:pt x="113865" y="93417"/>
                    <a:pt x="113865" y="93417"/>
                    <a:pt x="113865" y="93417"/>
                  </a:cubicBezTo>
                  <a:cubicBezTo>
                    <a:pt x="113865" y="85822"/>
                    <a:pt x="113865" y="85822"/>
                    <a:pt x="113865" y="85822"/>
                  </a:cubicBezTo>
                  <a:cubicBezTo>
                    <a:pt x="113482" y="84303"/>
                    <a:pt x="113482" y="84303"/>
                    <a:pt x="113482" y="84303"/>
                  </a:cubicBezTo>
                  <a:cubicBezTo>
                    <a:pt x="112715" y="82025"/>
                    <a:pt x="112715" y="82025"/>
                    <a:pt x="112715" y="82025"/>
                  </a:cubicBezTo>
                  <a:cubicBezTo>
                    <a:pt x="113099" y="78987"/>
                    <a:pt x="113099" y="78987"/>
                    <a:pt x="113099" y="78987"/>
                  </a:cubicBezTo>
                  <a:cubicBezTo>
                    <a:pt x="113099" y="71392"/>
                    <a:pt x="113099" y="71392"/>
                    <a:pt x="113099" y="71392"/>
                  </a:cubicBezTo>
                  <a:cubicBezTo>
                    <a:pt x="112332" y="66075"/>
                    <a:pt x="112332" y="66075"/>
                    <a:pt x="112332" y="66075"/>
                  </a:cubicBezTo>
                  <a:cubicBezTo>
                    <a:pt x="111565" y="64556"/>
                    <a:pt x="111565" y="64556"/>
                    <a:pt x="111565" y="64556"/>
                  </a:cubicBezTo>
                  <a:cubicBezTo>
                    <a:pt x="110798" y="64556"/>
                    <a:pt x="110798" y="64556"/>
                    <a:pt x="110798" y="64556"/>
                  </a:cubicBezTo>
                  <a:cubicBezTo>
                    <a:pt x="110415" y="63037"/>
                    <a:pt x="110415" y="63037"/>
                    <a:pt x="110415" y="63037"/>
                  </a:cubicBezTo>
                  <a:cubicBezTo>
                    <a:pt x="110031" y="59240"/>
                    <a:pt x="110031" y="59240"/>
                    <a:pt x="110031" y="59240"/>
                  </a:cubicBezTo>
                  <a:cubicBezTo>
                    <a:pt x="109648" y="56202"/>
                    <a:pt x="109648" y="56202"/>
                    <a:pt x="109648" y="56202"/>
                  </a:cubicBezTo>
                  <a:cubicBezTo>
                    <a:pt x="110798" y="55443"/>
                    <a:pt x="110798" y="55443"/>
                    <a:pt x="110798" y="55443"/>
                  </a:cubicBezTo>
                  <a:cubicBezTo>
                    <a:pt x="110798" y="54683"/>
                    <a:pt x="110798" y="54683"/>
                    <a:pt x="110798" y="54683"/>
                  </a:cubicBezTo>
                  <a:cubicBezTo>
                    <a:pt x="110415" y="53924"/>
                    <a:pt x="110415" y="53924"/>
                    <a:pt x="110415" y="53924"/>
                  </a:cubicBezTo>
                  <a:cubicBezTo>
                    <a:pt x="110031" y="51645"/>
                    <a:pt x="110031" y="51645"/>
                    <a:pt x="110031" y="51645"/>
                  </a:cubicBezTo>
                  <a:cubicBezTo>
                    <a:pt x="109265" y="49367"/>
                    <a:pt x="109265" y="49367"/>
                    <a:pt x="109265" y="49367"/>
                  </a:cubicBezTo>
                  <a:cubicBezTo>
                    <a:pt x="108498" y="45569"/>
                    <a:pt x="108498" y="45569"/>
                    <a:pt x="108498" y="45569"/>
                  </a:cubicBezTo>
                  <a:cubicBezTo>
                    <a:pt x="107731" y="41012"/>
                    <a:pt x="107731" y="41012"/>
                    <a:pt x="107731" y="41012"/>
                  </a:cubicBezTo>
                  <a:cubicBezTo>
                    <a:pt x="106581" y="37215"/>
                    <a:pt x="106581" y="37215"/>
                    <a:pt x="106581" y="37215"/>
                  </a:cubicBezTo>
                  <a:cubicBezTo>
                    <a:pt x="105431" y="30379"/>
                    <a:pt x="105431" y="30379"/>
                    <a:pt x="105431" y="30379"/>
                  </a:cubicBezTo>
                  <a:cubicBezTo>
                    <a:pt x="104281" y="27341"/>
                    <a:pt x="104281" y="27341"/>
                    <a:pt x="104281" y="27341"/>
                  </a:cubicBezTo>
                  <a:cubicBezTo>
                    <a:pt x="103897" y="26582"/>
                    <a:pt x="103897" y="26582"/>
                    <a:pt x="103897" y="26582"/>
                  </a:cubicBezTo>
                  <a:cubicBezTo>
                    <a:pt x="102364" y="24303"/>
                    <a:pt x="102364" y="24303"/>
                    <a:pt x="102364" y="24303"/>
                  </a:cubicBezTo>
                  <a:cubicBezTo>
                    <a:pt x="99680" y="20506"/>
                    <a:pt x="99680" y="20506"/>
                    <a:pt x="99680" y="20506"/>
                  </a:cubicBezTo>
                  <a:cubicBezTo>
                    <a:pt x="97763" y="18987"/>
                    <a:pt x="97763" y="18987"/>
                    <a:pt x="97763" y="18987"/>
                  </a:cubicBezTo>
                  <a:cubicBezTo>
                    <a:pt x="95846" y="17468"/>
                    <a:pt x="95846" y="17468"/>
                    <a:pt x="95846" y="17468"/>
                  </a:cubicBezTo>
                  <a:cubicBezTo>
                    <a:pt x="94313" y="14430"/>
                    <a:pt x="94313" y="14430"/>
                    <a:pt x="94313" y="14430"/>
                  </a:cubicBezTo>
                  <a:cubicBezTo>
                    <a:pt x="91629" y="13670"/>
                    <a:pt x="91629" y="13670"/>
                    <a:pt x="91629" y="13670"/>
                  </a:cubicBezTo>
                  <a:cubicBezTo>
                    <a:pt x="88178" y="14430"/>
                    <a:pt x="88178" y="14430"/>
                    <a:pt x="88178" y="14430"/>
                  </a:cubicBezTo>
                  <a:cubicBezTo>
                    <a:pt x="87028" y="14430"/>
                    <a:pt x="87028" y="14430"/>
                    <a:pt x="87028" y="14430"/>
                  </a:cubicBezTo>
                  <a:cubicBezTo>
                    <a:pt x="85878" y="15189"/>
                    <a:pt x="85878" y="15189"/>
                    <a:pt x="85878" y="15189"/>
                  </a:cubicBezTo>
                  <a:cubicBezTo>
                    <a:pt x="85111" y="16708"/>
                    <a:pt x="85111" y="16708"/>
                    <a:pt x="85111" y="16708"/>
                  </a:cubicBezTo>
                  <a:cubicBezTo>
                    <a:pt x="83961" y="15949"/>
                    <a:pt x="83961" y="15949"/>
                    <a:pt x="83961" y="15949"/>
                  </a:cubicBezTo>
                  <a:cubicBezTo>
                    <a:pt x="82811" y="14430"/>
                    <a:pt x="82811" y="14430"/>
                    <a:pt x="82811" y="14430"/>
                  </a:cubicBezTo>
                  <a:cubicBezTo>
                    <a:pt x="80511" y="12151"/>
                    <a:pt x="80511" y="12151"/>
                    <a:pt x="80511" y="12151"/>
                  </a:cubicBezTo>
                  <a:cubicBezTo>
                    <a:pt x="77444" y="9113"/>
                    <a:pt x="77444" y="9113"/>
                    <a:pt x="77444" y="9113"/>
                  </a:cubicBezTo>
                  <a:cubicBezTo>
                    <a:pt x="3833" y="0"/>
                    <a:pt x="3833" y="0"/>
                    <a:pt x="3833" y="0"/>
                  </a:cubicBezTo>
                  <a:cubicBezTo>
                    <a:pt x="0" y="72151"/>
                    <a:pt x="0" y="72151"/>
                    <a:pt x="0" y="72151"/>
                  </a:cubicBezTo>
                  <a:cubicBezTo>
                    <a:pt x="27987" y="77468"/>
                    <a:pt x="27987" y="77468"/>
                    <a:pt x="27987" y="77468"/>
                  </a:cubicBezTo>
                  <a:cubicBezTo>
                    <a:pt x="26453" y="113164"/>
                    <a:pt x="26453" y="113164"/>
                    <a:pt x="26453" y="113164"/>
                  </a:cubicBezTo>
                  <a:cubicBezTo>
                    <a:pt x="26453" y="113164"/>
                    <a:pt x="26453" y="113164"/>
                    <a:pt x="26453" y="113164"/>
                  </a:cubicBezTo>
                  <a:cubicBezTo>
                    <a:pt x="28753" y="113164"/>
                    <a:pt x="71309" y="116962"/>
                    <a:pt x="85878" y="117721"/>
                  </a:cubicBezTo>
                  <a:cubicBezTo>
                    <a:pt x="94313" y="118481"/>
                    <a:pt x="120000" y="120000"/>
                    <a:pt x="120000" y="120000"/>
                  </a:cubicBez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59" name="Shape 1393">
              <a:extLst>
                <a:ext uri="{FF2B5EF4-FFF2-40B4-BE49-F238E27FC236}">
                  <a16:creationId xmlns:a16="http://schemas.microsoft.com/office/drawing/2014/main" id="{EF4FF585-5B48-4BEC-D15D-C0149CEB2BA8}"/>
                </a:ext>
              </a:extLst>
            </p:cNvPr>
            <p:cNvSpPr/>
            <p:nvPr/>
          </p:nvSpPr>
          <p:spPr>
            <a:xfrm>
              <a:off x="9176247" y="3925679"/>
              <a:ext cx="492735" cy="363690"/>
            </a:xfrm>
            <a:custGeom>
              <a:avLst/>
              <a:gdLst/>
              <a:ahLst/>
              <a:cxnLst/>
              <a:rect l="0" t="0" r="0" b="0"/>
              <a:pathLst>
                <a:path w="120000" h="120000" extrusionOk="0">
                  <a:moveTo>
                    <a:pt x="89219" y="105333"/>
                  </a:moveTo>
                  <a:cubicBezTo>
                    <a:pt x="91895" y="107333"/>
                    <a:pt x="91895" y="107333"/>
                    <a:pt x="91895" y="107333"/>
                  </a:cubicBezTo>
                  <a:cubicBezTo>
                    <a:pt x="93234" y="108666"/>
                    <a:pt x="93234" y="108666"/>
                    <a:pt x="93234" y="108666"/>
                  </a:cubicBezTo>
                  <a:cubicBezTo>
                    <a:pt x="94572" y="109333"/>
                    <a:pt x="94572" y="109333"/>
                    <a:pt x="94572" y="109333"/>
                  </a:cubicBezTo>
                  <a:cubicBezTo>
                    <a:pt x="95464" y="108000"/>
                    <a:pt x="95464" y="108000"/>
                    <a:pt x="95464" y="108000"/>
                  </a:cubicBezTo>
                  <a:cubicBezTo>
                    <a:pt x="96802" y="107333"/>
                    <a:pt x="96802" y="107333"/>
                    <a:pt x="96802" y="107333"/>
                  </a:cubicBezTo>
                  <a:cubicBezTo>
                    <a:pt x="98141" y="107333"/>
                    <a:pt x="98141" y="107333"/>
                    <a:pt x="98141" y="107333"/>
                  </a:cubicBezTo>
                  <a:cubicBezTo>
                    <a:pt x="102156" y="106666"/>
                    <a:pt x="102156" y="106666"/>
                    <a:pt x="102156" y="106666"/>
                  </a:cubicBezTo>
                  <a:cubicBezTo>
                    <a:pt x="105278" y="107333"/>
                    <a:pt x="105278" y="107333"/>
                    <a:pt x="105278" y="107333"/>
                  </a:cubicBezTo>
                  <a:cubicBezTo>
                    <a:pt x="107063" y="110000"/>
                    <a:pt x="107063" y="110000"/>
                    <a:pt x="107063" y="110000"/>
                  </a:cubicBezTo>
                  <a:cubicBezTo>
                    <a:pt x="109293" y="111333"/>
                    <a:pt x="109293" y="111333"/>
                    <a:pt x="109293" y="111333"/>
                  </a:cubicBezTo>
                  <a:cubicBezTo>
                    <a:pt x="111524" y="112666"/>
                    <a:pt x="111524" y="112666"/>
                    <a:pt x="111524" y="112666"/>
                  </a:cubicBezTo>
                  <a:cubicBezTo>
                    <a:pt x="114646" y="116000"/>
                    <a:pt x="114646" y="116000"/>
                    <a:pt x="114646" y="116000"/>
                  </a:cubicBezTo>
                  <a:cubicBezTo>
                    <a:pt x="116431" y="118000"/>
                    <a:pt x="116431" y="118000"/>
                    <a:pt x="116431" y="118000"/>
                  </a:cubicBezTo>
                  <a:cubicBezTo>
                    <a:pt x="116877" y="118666"/>
                    <a:pt x="116877" y="118666"/>
                    <a:pt x="116877" y="118666"/>
                  </a:cubicBezTo>
                  <a:cubicBezTo>
                    <a:pt x="117323" y="120000"/>
                    <a:pt x="117323" y="120000"/>
                    <a:pt x="117323" y="120000"/>
                  </a:cubicBezTo>
                  <a:cubicBezTo>
                    <a:pt x="117323" y="120000"/>
                    <a:pt x="117323" y="120000"/>
                    <a:pt x="117323" y="120000"/>
                  </a:cubicBezTo>
                  <a:cubicBezTo>
                    <a:pt x="117323" y="118000"/>
                    <a:pt x="117323" y="118000"/>
                    <a:pt x="117323" y="118000"/>
                  </a:cubicBezTo>
                  <a:cubicBezTo>
                    <a:pt x="117323" y="115333"/>
                    <a:pt x="117323" y="115333"/>
                    <a:pt x="117323" y="115333"/>
                  </a:cubicBezTo>
                  <a:cubicBezTo>
                    <a:pt x="115539" y="113333"/>
                    <a:pt x="115539" y="113333"/>
                    <a:pt x="115539" y="113333"/>
                  </a:cubicBezTo>
                  <a:cubicBezTo>
                    <a:pt x="115539" y="111333"/>
                    <a:pt x="115539" y="111333"/>
                    <a:pt x="115539" y="111333"/>
                  </a:cubicBezTo>
                  <a:cubicBezTo>
                    <a:pt x="115985" y="109333"/>
                    <a:pt x="115985" y="109333"/>
                    <a:pt x="115985" y="109333"/>
                  </a:cubicBezTo>
                  <a:cubicBezTo>
                    <a:pt x="117323" y="108666"/>
                    <a:pt x="117323" y="108666"/>
                    <a:pt x="117323" y="108666"/>
                  </a:cubicBezTo>
                  <a:cubicBezTo>
                    <a:pt x="117323" y="104000"/>
                    <a:pt x="117323" y="104000"/>
                    <a:pt x="117323" y="104000"/>
                  </a:cubicBezTo>
                  <a:cubicBezTo>
                    <a:pt x="117769" y="102000"/>
                    <a:pt x="117769" y="102000"/>
                    <a:pt x="117769" y="102000"/>
                  </a:cubicBezTo>
                  <a:cubicBezTo>
                    <a:pt x="118661" y="101333"/>
                    <a:pt x="118661" y="101333"/>
                    <a:pt x="118661" y="101333"/>
                  </a:cubicBezTo>
                  <a:cubicBezTo>
                    <a:pt x="118661" y="98666"/>
                    <a:pt x="118661" y="98666"/>
                    <a:pt x="118661" y="98666"/>
                  </a:cubicBezTo>
                  <a:cubicBezTo>
                    <a:pt x="117769" y="95333"/>
                    <a:pt x="117769" y="95333"/>
                    <a:pt x="117769" y="95333"/>
                  </a:cubicBezTo>
                  <a:cubicBezTo>
                    <a:pt x="116877" y="94666"/>
                    <a:pt x="116877" y="94666"/>
                    <a:pt x="116877" y="94666"/>
                  </a:cubicBezTo>
                  <a:cubicBezTo>
                    <a:pt x="117323" y="91333"/>
                    <a:pt x="117323" y="91333"/>
                    <a:pt x="117323" y="91333"/>
                  </a:cubicBezTo>
                  <a:cubicBezTo>
                    <a:pt x="117323" y="89333"/>
                    <a:pt x="117323" y="89333"/>
                    <a:pt x="117323" y="89333"/>
                  </a:cubicBezTo>
                  <a:cubicBezTo>
                    <a:pt x="118661" y="89333"/>
                    <a:pt x="118661" y="89333"/>
                    <a:pt x="118661" y="89333"/>
                  </a:cubicBezTo>
                  <a:cubicBezTo>
                    <a:pt x="120000" y="31333"/>
                    <a:pt x="120000" y="31333"/>
                    <a:pt x="120000" y="31333"/>
                  </a:cubicBezTo>
                  <a:cubicBezTo>
                    <a:pt x="118661" y="29333"/>
                    <a:pt x="118661" y="29333"/>
                    <a:pt x="118661" y="29333"/>
                  </a:cubicBezTo>
                  <a:cubicBezTo>
                    <a:pt x="117769" y="27333"/>
                    <a:pt x="117769" y="27333"/>
                    <a:pt x="117769" y="27333"/>
                  </a:cubicBezTo>
                  <a:cubicBezTo>
                    <a:pt x="115539" y="26000"/>
                    <a:pt x="115539" y="26000"/>
                    <a:pt x="115539" y="26000"/>
                  </a:cubicBezTo>
                  <a:cubicBezTo>
                    <a:pt x="115092" y="24000"/>
                    <a:pt x="115092" y="24000"/>
                    <a:pt x="115092" y="24000"/>
                  </a:cubicBezTo>
                  <a:cubicBezTo>
                    <a:pt x="113754" y="22000"/>
                    <a:pt x="113754" y="22000"/>
                    <a:pt x="113754" y="22000"/>
                  </a:cubicBezTo>
                  <a:cubicBezTo>
                    <a:pt x="113308" y="20666"/>
                    <a:pt x="113308" y="20666"/>
                    <a:pt x="113308" y="20666"/>
                  </a:cubicBezTo>
                  <a:cubicBezTo>
                    <a:pt x="113308" y="19333"/>
                    <a:pt x="113308" y="19333"/>
                    <a:pt x="113308" y="19333"/>
                  </a:cubicBezTo>
                  <a:cubicBezTo>
                    <a:pt x="113308" y="18000"/>
                    <a:pt x="113308" y="18000"/>
                    <a:pt x="113308" y="18000"/>
                  </a:cubicBezTo>
                  <a:cubicBezTo>
                    <a:pt x="114646" y="16000"/>
                    <a:pt x="114646" y="16000"/>
                    <a:pt x="114646" y="16000"/>
                  </a:cubicBezTo>
                  <a:cubicBezTo>
                    <a:pt x="115985" y="14000"/>
                    <a:pt x="115985" y="14000"/>
                    <a:pt x="115985" y="14000"/>
                  </a:cubicBezTo>
                  <a:cubicBezTo>
                    <a:pt x="117769" y="11333"/>
                    <a:pt x="117769" y="11333"/>
                    <a:pt x="117769" y="11333"/>
                  </a:cubicBezTo>
                  <a:cubicBezTo>
                    <a:pt x="117323" y="10000"/>
                    <a:pt x="117323" y="10000"/>
                    <a:pt x="117323" y="10000"/>
                  </a:cubicBezTo>
                  <a:cubicBezTo>
                    <a:pt x="117323" y="9333"/>
                    <a:pt x="117323" y="9333"/>
                    <a:pt x="117323" y="9333"/>
                  </a:cubicBezTo>
                  <a:cubicBezTo>
                    <a:pt x="117323" y="9333"/>
                    <a:pt x="74498" y="6666"/>
                    <a:pt x="60669" y="5333"/>
                  </a:cubicBezTo>
                  <a:cubicBezTo>
                    <a:pt x="46840" y="4000"/>
                    <a:pt x="6245" y="0"/>
                    <a:pt x="6245" y="0"/>
                  </a:cubicBezTo>
                  <a:cubicBezTo>
                    <a:pt x="0" y="94666"/>
                    <a:pt x="0" y="94666"/>
                    <a:pt x="0" y="94666"/>
                  </a:cubicBezTo>
                  <a:cubicBezTo>
                    <a:pt x="85650" y="102666"/>
                    <a:pt x="85650" y="102666"/>
                    <a:pt x="85650" y="102666"/>
                  </a:cubicBezTo>
                  <a:lnTo>
                    <a:pt x="89219" y="105333"/>
                  </a:ln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0" name="Shape 1394">
              <a:extLst>
                <a:ext uri="{FF2B5EF4-FFF2-40B4-BE49-F238E27FC236}">
                  <a16:creationId xmlns:a16="http://schemas.microsoft.com/office/drawing/2014/main" id="{E0EA1D42-2684-6444-414A-9C941184FF39}"/>
                </a:ext>
              </a:extLst>
            </p:cNvPr>
            <p:cNvSpPr/>
            <p:nvPr/>
          </p:nvSpPr>
          <p:spPr>
            <a:xfrm>
              <a:off x="8700800" y="3951996"/>
              <a:ext cx="494896" cy="452221"/>
            </a:xfrm>
            <a:custGeom>
              <a:avLst/>
              <a:gdLst/>
              <a:ahLst/>
              <a:cxnLst/>
              <a:rect l="0" t="0" r="0" b="0"/>
              <a:pathLst>
                <a:path w="120000" h="120000" extrusionOk="0">
                  <a:moveTo>
                    <a:pt x="119999" y="17142"/>
                  </a:moveTo>
                  <a:lnTo>
                    <a:pt x="119475" y="17142"/>
                  </a:lnTo>
                  <a:lnTo>
                    <a:pt x="14672" y="0"/>
                  </a:lnTo>
                  <a:lnTo>
                    <a:pt x="12576" y="14603"/>
                  </a:lnTo>
                  <a:lnTo>
                    <a:pt x="3668" y="77460"/>
                  </a:lnTo>
                  <a:lnTo>
                    <a:pt x="0" y="102857"/>
                  </a:lnTo>
                  <a:lnTo>
                    <a:pt x="31965" y="109206"/>
                  </a:lnTo>
                  <a:lnTo>
                    <a:pt x="111091" y="120000"/>
                  </a:lnTo>
                  <a:lnTo>
                    <a:pt x="115283" y="69206"/>
                  </a:lnTo>
                  <a:lnTo>
                    <a:pt x="119999" y="17142"/>
                  </a:ln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1" name="Shape 1395">
              <a:extLst>
                <a:ext uri="{FF2B5EF4-FFF2-40B4-BE49-F238E27FC236}">
                  <a16:creationId xmlns:a16="http://schemas.microsoft.com/office/drawing/2014/main" id="{25BFFB70-8AEE-D653-3B6C-41EF4CF75226}"/>
                </a:ext>
              </a:extLst>
            </p:cNvPr>
            <p:cNvSpPr/>
            <p:nvPr/>
          </p:nvSpPr>
          <p:spPr>
            <a:xfrm>
              <a:off x="9202180" y="3626591"/>
              <a:ext cx="460318" cy="327802"/>
            </a:xfrm>
            <a:custGeom>
              <a:avLst/>
              <a:gdLst/>
              <a:ahLst/>
              <a:cxnLst/>
              <a:rect l="0" t="0" r="0" b="0"/>
              <a:pathLst>
                <a:path w="120000" h="120000" extrusionOk="0">
                  <a:moveTo>
                    <a:pt x="119043" y="119259"/>
                  </a:moveTo>
                  <a:cubicBezTo>
                    <a:pt x="119043" y="120000"/>
                    <a:pt x="119043" y="120000"/>
                    <a:pt x="119043" y="120000"/>
                  </a:cubicBezTo>
                  <a:cubicBezTo>
                    <a:pt x="119043" y="120000"/>
                    <a:pt x="119043" y="120000"/>
                    <a:pt x="119043" y="120000"/>
                  </a:cubicBezTo>
                  <a:cubicBezTo>
                    <a:pt x="120000" y="118518"/>
                    <a:pt x="120000" y="118518"/>
                    <a:pt x="120000" y="118518"/>
                  </a:cubicBezTo>
                  <a:cubicBezTo>
                    <a:pt x="120000" y="114814"/>
                    <a:pt x="120000" y="114814"/>
                    <a:pt x="120000" y="114814"/>
                  </a:cubicBezTo>
                  <a:cubicBezTo>
                    <a:pt x="120000" y="111111"/>
                    <a:pt x="120000" y="111111"/>
                    <a:pt x="120000" y="111111"/>
                  </a:cubicBezTo>
                  <a:cubicBezTo>
                    <a:pt x="119521" y="106666"/>
                    <a:pt x="119521" y="106666"/>
                    <a:pt x="119521" y="106666"/>
                  </a:cubicBezTo>
                  <a:cubicBezTo>
                    <a:pt x="118565" y="104444"/>
                    <a:pt x="118565" y="104444"/>
                    <a:pt x="118565" y="104444"/>
                  </a:cubicBezTo>
                  <a:cubicBezTo>
                    <a:pt x="117131" y="102222"/>
                    <a:pt x="117131" y="102222"/>
                    <a:pt x="117131" y="102222"/>
                  </a:cubicBezTo>
                  <a:cubicBezTo>
                    <a:pt x="117131" y="97037"/>
                    <a:pt x="117131" y="97037"/>
                    <a:pt x="117131" y="97037"/>
                  </a:cubicBezTo>
                  <a:cubicBezTo>
                    <a:pt x="116653" y="95555"/>
                    <a:pt x="116653" y="95555"/>
                    <a:pt x="116653" y="95555"/>
                  </a:cubicBezTo>
                  <a:cubicBezTo>
                    <a:pt x="115697" y="93333"/>
                    <a:pt x="115697" y="93333"/>
                    <a:pt x="115697" y="93333"/>
                  </a:cubicBezTo>
                  <a:cubicBezTo>
                    <a:pt x="115697" y="86666"/>
                    <a:pt x="115697" y="86666"/>
                    <a:pt x="115697" y="86666"/>
                  </a:cubicBezTo>
                  <a:cubicBezTo>
                    <a:pt x="115697" y="76296"/>
                    <a:pt x="115697" y="76296"/>
                    <a:pt x="115697" y="76296"/>
                  </a:cubicBezTo>
                  <a:cubicBezTo>
                    <a:pt x="115219" y="63703"/>
                    <a:pt x="115219" y="63703"/>
                    <a:pt x="115219" y="63703"/>
                  </a:cubicBezTo>
                  <a:cubicBezTo>
                    <a:pt x="115219" y="57037"/>
                    <a:pt x="115219" y="57037"/>
                    <a:pt x="115219" y="57037"/>
                  </a:cubicBezTo>
                  <a:cubicBezTo>
                    <a:pt x="113306" y="51851"/>
                    <a:pt x="113306" y="51851"/>
                    <a:pt x="113306" y="51851"/>
                  </a:cubicBezTo>
                  <a:cubicBezTo>
                    <a:pt x="111872" y="44444"/>
                    <a:pt x="111872" y="44444"/>
                    <a:pt x="111872" y="44444"/>
                  </a:cubicBezTo>
                  <a:cubicBezTo>
                    <a:pt x="110916" y="40000"/>
                    <a:pt x="110916" y="40000"/>
                    <a:pt x="110916" y="40000"/>
                  </a:cubicBezTo>
                  <a:cubicBezTo>
                    <a:pt x="111872" y="34814"/>
                    <a:pt x="111872" y="34814"/>
                    <a:pt x="111872" y="34814"/>
                  </a:cubicBezTo>
                  <a:cubicBezTo>
                    <a:pt x="111394" y="30370"/>
                    <a:pt x="111394" y="30370"/>
                    <a:pt x="111394" y="30370"/>
                  </a:cubicBezTo>
                  <a:cubicBezTo>
                    <a:pt x="110916" y="28888"/>
                    <a:pt x="110916" y="28888"/>
                    <a:pt x="110916" y="28888"/>
                  </a:cubicBezTo>
                  <a:cubicBezTo>
                    <a:pt x="110916" y="25185"/>
                    <a:pt x="110916" y="25185"/>
                    <a:pt x="110916" y="25185"/>
                  </a:cubicBezTo>
                  <a:cubicBezTo>
                    <a:pt x="110916" y="24444"/>
                    <a:pt x="110916" y="24444"/>
                    <a:pt x="110916" y="24444"/>
                  </a:cubicBezTo>
                  <a:cubicBezTo>
                    <a:pt x="111872" y="22962"/>
                    <a:pt x="111872" y="22962"/>
                    <a:pt x="111872" y="22962"/>
                  </a:cubicBezTo>
                  <a:cubicBezTo>
                    <a:pt x="112350" y="21481"/>
                    <a:pt x="112350" y="21481"/>
                    <a:pt x="112350" y="21481"/>
                  </a:cubicBezTo>
                  <a:cubicBezTo>
                    <a:pt x="112350" y="18518"/>
                    <a:pt x="112350" y="18518"/>
                    <a:pt x="112350" y="18518"/>
                  </a:cubicBezTo>
                  <a:cubicBezTo>
                    <a:pt x="110916" y="16296"/>
                    <a:pt x="110916" y="16296"/>
                    <a:pt x="110916" y="16296"/>
                  </a:cubicBezTo>
                  <a:cubicBezTo>
                    <a:pt x="110916" y="15555"/>
                    <a:pt x="110916" y="15555"/>
                    <a:pt x="110916" y="15555"/>
                  </a:cubicBezTo>
                  <a:cubicBezTo>
                    <a:pt x="110438" y="13333"/>
                    <a:pt x="110438" y="13333"/>
                    <a:pt x="110438" y="13333"/>
                  </a:cubicBezTo>
                  <a:cubicBezTo>
                    <a:pt x="109960" y="9629"/>
                    <a:pt x="109960" y="9629"/>
                    <a:pt x="109960" y="9629"/>
                  </a:cubicBezTo>
                  <a:cubicBezTo>
                    <a:pt x="109960" y="9629"/>
                    <a:pt x="62151" y="6666"/>
                    <a:pt x="46374" y="5185"/>
                  </a:cubicBezTo>
                  <a:cubicBezTo>
                    <a:pt x="36334" y="4444"/>
                    <a:pt x="6693" y="0"/>
                    <a:pt x="6693" y="0"/>
                  </a:cubicBezTo>
                  <a:cubicBezTo>
                    <a:pt x="0" y="108888"/>
                    <a:pt x="0" y="108888"/>
                    <a:pt x="0" y="108888"/>
                  </a:cubicBezTo>
                  <a:cubicBezTo>
                    <a:pt x="0" y="108888"/>
                    <a:pt x="43505" y="113333"/>
                    <a:pt x="58326" y="114814"/>
                  </a:cubicBezTo>
                  <a:cubicBezTo>
                    <a:pt x="73147" y="116296"/>
                    <a:pt x="119043" y="119259"/>
                    <a:pt x="119043" y="119259"/>
                  </a:cubicBez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2" name="Shape 1396">
              <a:extLst>
                <a:ext uri="{FF2B5EF4-FFF2-40B4-BE49-F238E27FC236}">
                  <a16:creationId xmlns:a16="http://schemas.microsoft.com/office/drawing/2014/main" id="{127EC8CA-2D96-A282-F707-1E98B7020290}"/>
                </a:ext>
              </a:extLst>
            </p:cNvPr>
            <p:cNvSpPr/>
            <p:nvPr/>
          </p:nvSpPr>
          <p:spPr>
            <a:xfrm>
              <a:off x="8778601" y="4363543"/>
              <a:ext cx="514344" cy="447434"/>
            </a:xfrm>
            <a:custGeom>
              <a:avLst/>
              <a:gdLst/>
              <a:ahLst/>
              <a:cxnLst/>
              <a:rect l="0" t="0" r="0" b="0"/>
              <a:pathLst>
                <a:path w="120000" h="120000" extrusionOk="0">
                  <a:moveTo>
                    <a:pt x="114021" y="120000"/>
                  </a:moveTo>
                  <a:cubicBezTo>
                    <a:pt x="118291" y="40723"/>
                    <a:pt x="118291" y="40723"/>
                    <a:pt x="118291" y="40723"/>
                  </a:cubicBezTo>
                  <a:cubicBezTo>
                    <a:pt x="118291" y="40723"/>
                    <a:pt x="118291" y="40723"/>
                    <a:pt x="118291" y="40723"/>
                  </a:cubicBezTo>
                  <a:cubicBezTo>
                    <a:pt x="118291" y="40723"/>
                    <a:pt x="118291" y="40723"/>
                    <a:pt x="118291" y="40723"/>
                  </a:cubicBezTo>
                  <a:cubicBezTo>
                    <a:pt x="120000" y="15203"/>
                    <a:pt x="120000" y="15203"/>
                    <a:pt x="120000" y="15203"/>
                  </a:cubicBezTo>
                  <a:cubicBezTo>
                    <a:pt x="88825" y="11402"/>
                    <a:pt x="88825" y="11402"/>
                    <a:pt x="88825" y="11402"/>
                  </a:cubicBezTo>
                  <a:cubicBezTo>
                    <a:pt x="12811" y="0"/>
                    <a:pt x="12811" y="0"/>
                    <a:pt x="12811" y="0"/>
                  </a:cubicBezTo>
                  <a:cubicBezTo>
                    <a:pt x="0" y="104253"/>
                    <a:pt x="0" y="104253"/>
                    <a:pt x="0" y="104253"/>
                  </a:cubicBezTo>
                  <a:cubicBezTo>
                    <a:pt x="97793" y="118914"/>
                    <a:pt x="97793" y="118914"/>
                    <a:pt x="97793" y="118914"/>
                  </a:cubicBezTo>
                  <a:cubicBezTo>
                    <a:pt x="97793" y="118914"/>
                    <a:pt x="104626" y="119457"/>
                    <a:pt x="114021" y="120000"/>
                  </a:cubicBezTo>
                  <a:close/>
                </a:path>
              </a:pathLst>
            </a:custGeom>
            <a:solidFill>
              <a:schemeClr val="tx2">
                <a:lumMod val="40000"/>
                <a:lumOff val="60000"/>
              </a:schemeClr>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3" name="Shape 1397">
              <a:extLst>
                <a:ext uri="{FF2B5EF4-FFF2-40B4-BE49-F238E27FC236}">
                  <a16:creationId xmlns:a16="http://schemas.microsoft.com/office/drawing/2014/main" id="{9BB0B5B8-D93F-0CB9-C500-E01C742AAAC1}"/>
                </a:ext>
              </a:extLst>
            </p:cNvPr>
            <p:cNvSpPr/>
            <p:nvPr/>
          </p:nvSpPr>
          <p:spPr>
            <a:xfrm>
              <a:off x="8437145" y="4203233"/>
              <a:ext cx="395483" cy="547928"/>
            </a:xfrm>
            <a:custGeom>
              <a:avLst/>
              <a:gdLst/>
              <a:ahLst/>
              <a:cxnLst/>
              <a:rect l="0" t="0" r="0" b="0"/>
              <a:pathLst>
                <a:path w="120000" h="120000" extrusionOk="0">
                  <a:moveTo>
                    <a:pt x="120000" y="35109"/>
                  </a:moveTo>
                  <a:lnTo>
                    <a:pt x="80000" y="29868"/>
                  </a:lnTo>
                  <a:lnTo>
                    <a:pt x="84590" y="8908"/>
                  </a:lnTo>
                  <a:lnTo>
                    <a:pt x="25573" y="0"/>
                  </a:lnTo>
                  <a:lnTo>
                    <a:pt x="0" y="105327"/>
                  </a:lnTo>
                  <a:lnTo>
                    <a:pt x="103606" y="119999"/>
                  </a:lnTo>
                  <a:lnTo>
                    <a:pt x="120000" y="35109"/>
                  </a:lnTo>
                  <a:close/>
                </a:path>
              </a:pathLst>
            </a:custGeom>
            <a:solidFill>
              <a:schemeClr val="tx2">
                <a:lumMod val="40000"/>
                <a:lumOff val="60000"/>
              </a:schemeClr>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4" name="Shape 1398">
              <a:extLst>
                <a:ext uri="{FF2B5EF4-FFF2-40B4-BE49-F238E27FC236}">
                  <a16:creationId xmlns:a16="http://schemas.microsoft.com/office/drawing/2014/main" id="{93CE0DBB-9090-BC02-17E6-35D66777CCCE}"/>
                </a:ext>
              </a:extLst>
            </p:cNvPr>
            <p:cNvSpPr/>
            <p:nvPr/>
          </p:nvSpPr>
          <p:spPr>
            <a:xfrm>
              <a:off x="8067595" y="4102741"/>
              <a:ext cx="453834" cy="760876"/>
            </a:xfrm>
            <a:custGeom>
              <a:avLst/>
              <a:gdLst/>
              <a:ahLst/>
              <a:cxnLst/>
              <a:rect l="0" t="0" r="0" b="0"/>
              <a:pathLst>
                <a:path w="120000" h="120000" extrusionOk="0">
                  <a:moveTo>
                    <a:pt x="2419" y="41920"/>
                  </a:moveTo>
                  <a:cubicBezTo>
                    <a:pt x="483" y="42240"/>
                    <a:pt x="483" y="42240"/>
                    <a:pt x="483" y="42240"/>
                  </a:cubicBezTo>
                  <a:cubicBezTo>
                    <a:pt x="0" y="43200"/>
                    <a:pt x="0" y="43200"/>
                    <a:pt x="0" y="43200"/>
                  </a:cubicBezTo>
                  <a:cubicBezTo>
                    <a:pt x="483" y="44480"/>
                    <a:pt x="483" y="44480"/>
                    <a:pt x="483" y="44480"/>
                  </a:cubicBezTo>
                  <a:cubicBezTo>
                    <a:pt x="967" y="45440"/>
                    <a:pt x="967" y="45440"/>
                    <a:pt x="967" y="45440"/>
                  </a:cubicBezTo>
                  <a:cubicBezTo>
                    <a:pt x="1451" y="45760"/>
                    <a:pt x="1451" y="45760"/>
                    <a:pt x="1451" y="45760"/>
                  </a:cubicBezTo>
                  <a:cubicBezTo>
                    <a:pt x="3387" y="46400"/>
                    <a:pt x="3387" y="46400"/>
                    <a:pt x="3387" y="46400"/>
                  </a:cubicBezTo>
                  <a:cubicBezTo>
                    <a:pt x="77419" y="120000"/>
                    <a:pt x="77419" y="120000"/>
                    <a:pt x="77419" y="120000"/>
                  </a:cubicBezTo>
                  <a:cubicBezTo>
                    <a:pt x="78870" y="118720"/>
                    <a:pt x="78870" y="118720"/>
                    <a:pt x="78870" y="118720"/>
                  </a:cubicBezTo>
                  <a:cubicBezTo>
                    <a:pt x="79354" y="117440"/>
                    <a:pt x="79354" y="117440"/>
                    <a:pt x="79354" y="117440"/>
                  </a:cubicBezTo>
                  <a:cubicBezTo>
                    <a:pt x="79354" y="113280"/>
                    <a:pt x="79354" y="113280"/>
                    <a:pt x="79354" y="113280"/>
                  </a:cubicBezTo>
                  <a:cubicBezTo>
                    <a:pt x="79354" y="108800"/>
                    <a:pt x="79354" y="108800"/>
                    <a:pt x="79354" y="108800"/>
                  </a:cubicBezTo>
                  <a:cubicBezTo>
                    <a:pt x="79354" y="105280"/>
                    <a:pt x="79354" y="105280"/>
                    <a:pt x="79354" y="105280"/>
                  </a:cubicBezTo>
                  <a:cubicBezTo>
                    <a:pt x="80806" y="104320"/>
                    <a:pt x="80806" y="104320"/>
                    <a:pt x="80806" y="104320"/>
                  </a:cubicBezTo>
                  <a:cubicBezTo>
                    <a:pt x="84193" y="103680"/>
                    <a:pt x="84193" y="103680"/>
                    <a:pt x="84193" y="103680"/>
                  </a:cubicBezTo>
                  <a:cubicBezTo>
                    <a:pt x="85161" y="104960"/>
                    <a:pt x="85161" y="104960"/>
                    <a:pt x="85161" y="104960"/>
                  </a:cubicBezTo>
                  <a:cubicBezTo>
                    <a:pt x="87096" y="104320"/>
                    <a:pt x="87096" y="104320"/>
                    <a:pt x="87096" y="104320"/>
                  </a:cubicBezTo>
                  <a:cubicBezTo>
                    <a:pt x="89516" y="105600"/>
                    <a:pt x="89516" y="105600"/>
                    <a:pt x="89516" y="105600"/>
                  </a:cubicBezTo>
                  <a:cubicBezTo>
                    <a:pt x="90967" y="106240"/>
                    <a:pt x="90967" y="106240"/>
                    <a:pt x="90967" y="106240"/>
                  </a:cubicBezTo>
                  <a:cubicBezTo>
                    <a:pt x="92419" y="105600"/>
                    <a:pt x="92419" y="105600"/>
                    <a:pt x="92419" y="105600"/>
                  </a:cubicBezTo>
                  <a:cubicBezTo>
                    <a:pt x="92419" y="105600"/>
                    <a:pt x="94354" y="101120"/>
                    <a:pt x="95322" y="99840"/>
                  </a:cubicBezTo>
                  <a:cubicBezTo>
                    <a:pt x="95806" y="97920"/>
                    <a:pt x="97741" y="91840"/>
                    <a:pt x="97741" y="91840"/>
                  </a:cubicBezTo>
                  <a:cubicBezTo>
                    <a:pt x="120000" y="15680"/>
                    <a:pt x="120000" y="15680"/>
                    <a:pt x="120000" y="15680"/>
                  </a:cubicBezTo>
                  <a:cubicBezTo>
                    <a:pt x="120000" y="15680"/>
                    <a:pt x="78870" y="9920"/>
                    <a:pt x="64838" y="7680"/>
                  </a:cubicBezTo>
                  <a:cubicBezTo>
                    <a:pt x="53709" y="6080"/>
                    <a:pt x="20322" y="0"/>
                    <a:pt x="20322" y="0"/>
                  </a:cubicBezTo>
                  <a:cubicBezTo>
                    <a:pt x="3870" y="41600"/>
                    <a:pt x="3870" y="41600"/>
                    <a:pt x="3870" y="41600"/>
                  </a:cubicBezTo>
                  <a:lnTo>
                    <a:pt x="2419" y="41920"/>
                  </a:ln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5" name="Shape 1386">
              <a:extLst>
                <a:ext uri="{FF2B5EF4-FFF2-40B4-BE49-F238E27FC236}">
                  <a16:creationId xmlns:a16="http://schemas.microsoft.com/office/drawing/2014/main" id="{3BA72C45-EFFE-B684-5D67-8BF6A1831DBD}"/>
                </a:ext>
              </a:extLst>
            </p:cNvPr>
            <p:cNvSpPr/>
            <p:nvPr/>
          </p:nvSpPr>
          <p:spPr>
            <a:xfrm>
              <a:off x="8705121" y="4751161"/>
              <a:ext cx="492735" cy="559891"/>
            </a:xfrm>
            <a:custGeom>
              <a:avLst/>
              <a:gdLst/>
              <a:ahLst/>
              <a:cxnLst/>
              <a:rect l="0" t="0" r="0" b="0"/>
              <a:pathLst>
                <a:path w="120000" h="120000" extrusionOk="0">
                  <a:moveTo>
                    <a:pt x="17894" y="0"/>
                  </a:moveTo>
                  <a:lnTo>
                    <a:pt x="119999" y="11794"/>
                  </a:lnTo>
                  <a:lnTo>
                    <a:pt x="119473" y="22564"/>
                  </a:lnTo>
                  <a:lnTo>
                    <a:pt x="117894" y="22564"/>
                  </a:lnTo>
                  <a:lnTo>
                    <a:pt x="110526" y="115897"/>
                  </a:lnTo>
                  <a:lnTo>
                    <a:pt x="47894" y="110256"/>
                  </a:lnTo>
                  <a:lnTo>
                    <a:pt x="47368" y="114871"/>
                  </a:lnTo>
                  <a:lnTo>
                    <a:pt x="16842" y="111794"/>
                  </a:lnTo>
                  <a:lnTo>
                    <a:pt x="15263" y="120000"/>
                  </a:lnTo>
                  <a:lnTo>
                    <a:pt x="0" y="117948"/>
                  </a:lnTo>
                  <a:lnTo>
                    <a:pt x="17894" y="0"/>
                  </a:lnTo>
                  <a:close/>
                </a:path>
              </a:pathLst>
            </a:custGeom>
            <a:solidFill>
              <a:schemeClr val="tx2">
                <a:lumMod val="40000"/>
                <a:lumOff val="60000"/>
              </a:schemeClr>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highlight>
                  <a:srgbClr val="ED7013"/>
                </a:highlight>
                <a:uLnTx/>
                <a:uFillTx/>
                <a:latin typeface="Calibri" panose="020F0502020204030204" pitchFamily="34" charset="0"/>
                <a:ea typeface="Source Sans Pro"/>
                <a:cs typeface="Calibri" panose="020F0502020204030204" pitchFamily="34" charset="0"/>
                <a:sym typeface="Source Sans Pro"/>
              </a:endParaRPr>
            </a:p>
          </p:txBody>
        </p:sp>
        <p:sp>
          <p:nvSpPr>
            <p:cNvPr id="366" name="Shape 1400">
              <a:extLst>
                <a:ext uri="{FF2B5EF4-FFF2-40B4-BE49-F238E27FC236}">
                  <a16:creationId xmlns:a16="http://schemas.microsoft.com/office/drawing/2014/main" id="{DC0E3D73-D7D9-D78B-1043-5CDF10D0B744}"/>
                </a:ext>
              </a:extLst>
            </p:cNvPr>
            <p:cNvSpPr/>
            <p:nvPr/>
          </p:nvSpPr>
          <p:spPr>
            <a:xfrm>
              <a:off x="8335572" y="3487815"/>
              <a:ext cx="417095" cy="756092"/>
            </a:xfrm>
            <a:custGeom>
              <a:avLst/>
              <a:gdLst/>
              <a:ahLst/>
              <a:cxnLst/>
              <a:rect l="0" t="0" r="0" b="0"/>
              <a:pathLst>
                <a:path w="120000" h="120000" extrusionOk="0">
                  <a:moveTo>
                    <a:pt x="25263" y="42466"/>
                  </a:moveTo>
                  <a:cubicBezTo>
                    <a:pt x="25263" y="44396"/>
                    <a:pt x="24210" y="46005"/>
                    <a:pt x="24210" y="46005"/>
                  </a:cubicBezTo>
                  <a:cubicBezTo>
                    <a:pt x="24210" y="47292"/>
                    <a:pt x="24210" y="47292"/>
                    <a:pt x="24210" y="47292"/>
                  </a:cubicBezTo>
                  <a:cubicBezTo>
                    <a:pt x="25789" y="48900"/>
                    <a:pt x="25789" y="48900"/>
                    <a:pt x="25789" y="48900"/>
                  </a:cubicBezTo>
                  <a:cubicBezTo>
                    <a:pt x="28421" y="50187"/>
                    <a:pt x="28421" y="50187"/>
                    <a:pt x="28421" y="50187"/>
                  </a:cubicBezTo>
                  <a:cubicBezTo>
                    <a:pt x="29473" y="51152"/>
                    <a:pt x="29473" y="51152"/>
                    <a:pt x="29473" y="51152"/>
                  </a:cubicBezTo>
                  <a:cubicBezTo>
                    <a:pt x="29999" y="52439"/>
                    <a:pt x="29999" y="52439"/>
                    <a:pt x="29999" y="52439"/>
                  </a:cubicBezTo>
                  <a:cubicBezTo>
                    <a:pt x="29999" y="53726"/>
                    <a:pt x="29999" y="53726"/>
                    <a:pt x="29999" y="53726"/>
                  </a:cubicBezTo>
                  <a:cubicBezTo>
                    <a:pt x="28421" y="54048"/>
                    <a:pt x="28421" y="54048"/>
                    <a:pt x="28421" y="54048"/>
                  </a:cubicBezTo>
                  <a:cubicBezTo>
                    <a:pt x="27894" y="55656"/>
                    <a:pt x="27894" y="55656"/>
                    <a:pt x="27894" y="55656"/>
                  </a:cubicBezTo>
                  <a:cubicBezTo>
                    <a:pt x="25789" y="56621"/>
                    <a:pt x="25789" y="56621"/>
                    <a:pt x="25789" y="56621"/>
                  </a:cubicBezTo>
                  <a:cubicBezTo>
                    <a:pt x="24210" y="57908"/>
                    <a:pt x="24210" y="57908"/>
                    <a:pt x="24210" y="57908"/>
                  </a:cubicBezTo>
                  <a:cubicBezTo>
                    <a:pt x="22105" y="59195"/>
                    <a:pt x="22105" y="59195"/>
                    <a:pt x="22105" y="59195"/>
                  </a:cubicBezTo>
                  <a:cubicBezTo>
                    <a:pt x="21052" y="60804"/>
                    <a:pt x="21052" y="60804"/>
                    <a:pt x="21052" y="60804"/>
                  </a:cubicBezTo>
                  <a:cubicBezTo>
                    <a:pt x="20000" y="61126"/>
                    <a:pt x="20000" y="61126"/>
                    <a:pt x="20000" y="61126"/>
                  </a:cubicBezTo>
                  <a:cubicBezTo>
                    <a:pt x="19473" y="62412"/>
                    <a:pt x="19473" y="62412"/>
                    <a:pt x="19473" y="62412"/>
                  </a:cubicBezTo>
                  <a:cubicBezTo>
                    <a:pt x="17894" y="63699"/>
                    <a:pt x="17894" y="63699"/>
                    <a:pt x="17894" y="63699"/>
                  </a:cubicBezTo>
                  <a:cubicBezTo>
                    <a:pt x="13684" y="66273"/>
                    <a:pt x="13684" y="66273"/>
                    <a:pt x="13684" y="66273"/>
                  </a:cubicBezTo>
                  <a:cubicBezTo>
                    <a:pt x="10526" y="67882"/>
                    <a:pt x="10526" y="67882"/>
                    <a:pt x="10526" y="67882"/>
                  </a:cubicBezTo>
                  <a:cubicBezTo>
                    <a:pt x="10000" y="68847"/>
                    <a:pt x="10000" y="68847"/>
                    <a:pt x="10000" y="68847"/>
                  </a:cubicBezTo>
                  <a:cubicBezTo>
                    <a:pt x="9473" y="70455"/>
                    <a:pt x="9473" y="70455"/>
                    <a:pt x="9473" y="70455"/>
                  </a:cubicBezTo>
                  <a:cubicBezTo>
                    <a:pt x="10526" y="71420"/>
                    <a:pt x="10526" y="71420"/>
                    <a:pt x="10526" y="71420"/>
                  </a:cubicBezTo>
                  <a:cubicBezTo>
                    <a:pt x="11578" y="71742"/>
                    <a:pt x="11578" y="71742"/>
                    <a:pt x="11578" y="71742"/>
                  </a:cubicBezTo>
                  <a:cubicBezTo>
                    <a:pt x="12105" y="71742"/>
                    <a:pt x="12105" y="71742"/>
                    <a:pt x="12105" y="71742"/>
                  </a:cubicBezTo>
                  <a:cubicBezTo>
                    <a:pt x="13684" y="72707"/>
                    <a:pt x="13684" y="72707"/>
                    <a:pt x="13684" y="72707"/>
                  </a:cubicBezTo>
                  <a:cubicBezTo>
                    <a:pt x="13157" y="73351"/>
                    <a:pt x="13157" y="73351"/>
                    <a:pt x="13157" y="73351"/>
                  </a:cubicBezTo>
                  <a:cubicBezTo>
                    <a:pt x="13157" y="75924"/>
                    <a:pt x="13157" y="75924"/>
                    <a:pt x="13157" y="75924"/>
                  </a:cubicBezTo>
                  <a:cubicBezTo>
                    <a:pt x="12631" y="77211"/>
                    <a:pt x="12631" y="77211"/>
                    <a:pt x="12631" y="77211"/>
                  </a:cubicBezTo>
                  <a:cubicBezTo>
                    <a:pt x="12631" y="77855"/>
                    <a:pt x="12631" y="77855"/>
                    <a:pt x="12631" y="77855"/>
                  </a:cubicBezTo>
                  <a:cubicBezTo>
                    <a:pt x="10000" y="78498"/>
                    <a:pt x="10000" y="78498"/>
                    <a:pt x="10000" y="78498"/>
                  </a:cubicBezTo>
                  <a:cubicBezTo>
                    <a:pt x="9473" y="79142"/>
                    <a:pt x="9473" y="79142"/>
                    <a:pt x="9473" y="79142"/>
                  </a:cubicBezTo>
                  <a:cubicBezTo>
                    <a:pt x="9473" y="80750"/>
                    <a:pt x="9473" y="80750"/>
                    <a:pt x="9473" y="80750"/>
                  </a:cubicBezTo>
                  <a:cubicBezTo>
                    <a:pt x="0" y="106166"/>
                    <a:pt x="0" y="106166"/>
                    <a:pt x="0" y="106166"/>
                  </a:cubicBezTo>
                  <a:cubicBezTo>
                    <a:pt x="18421" y="108739"/>
                    <a:pt x="53684" y="113243"/>
                    <a:pt x="53684" y="113243"/>
                  </a:cubicBezTo>
                  <a:cubicBezTo>
                    <a:pt x="109473" y="119999"/>
                    <a:pt x="109473" y="119999"/>
                    <a:pt x="109473" y="119999"/>
                  </a:cubicBezTo>
                  <a:cubicBezTo>
                    <a:pt x="119999" y="82359"/>
                    <a:pt x="119999" y="82359"/>
                    <a:pt x="119999" y="82359"/>
                  </a:cubicBezTo>
                  <a:cubicBezTo>
                    <a:pt x="118947" y="81715"/>
                    <a:pt x="118947" y="81715"/>
                    <a:pt x="118947" y="81715"/>
                  </a:cubicBezTo>
                  <a:cubicBezTo>
                    <a:pt x="117894" y="81072"/>
                    <a:pt x="117894" y="81072"/>
                    <a:pt x="117894" y="81072"/>
                  </a:cubicBezTo>
                  <a:cubicBezTo>
                    <a:pt x="117894" y="80750"/>
                    <a:pt x="117894" y="80750"/>
                    <a:pt x="117894" y="80750"/>
                  </a:cubicBezTo>
                  <a:cubicBezTo>
                    <a:pt x="117368" y="79463"/>
                    <a:pt x="117368" y="79463"/>
                    <a:pt x="117368" y="79463"/>
                  </a:cubicBezTo>
                  <a:cubicBezTo>
                    <a:pt x="116315" y="78498"/>
                    <a:pt x="116315" y="78498"/>
                    <a:pt x="116315" y="78498"/>
                  </a:cubicBezTo>
                  <a:cubicBezTo>
                    <a:pt x="114736" y="77533"/>
                    <a:pt x="114736" y="77533"/>
                    <a:pt x="114736" y="77533"/>
                  </a:cubicBezTo>
                  <a:cubicBezTo>
                    <a:pt x="112631" y="77533"/>
                    <a:pt x="112631" y="77533"/>
                    <a:pt x="112631" y="77533"/>
                  </a:cubicBezTo>
                  <a:cubicBezTo>
                    <a:pt x="112105" y="79142"/>
                    <a:pt x="112105" y="79142"/>
                    <a:pt x="112105" y="79142"/>
                  </a:cubicBezTo>
                  <a:cubicBezTo>
                    <a:pt x="111578" y="80107"/>
                    <a:pt x="111578" y="80107"/>
                    <a:pt x="111578" y="80107"/>
                  </a:cubicBezTo>
                  <a:cubicBezTo>
                    <a:pt x="106315" y="79785"/>
                    <a:pt x="106315" y="79785"/>
                    <a:pt x="106315" y="79785"/>
                  </a:cubicBezTo>
                  <a:cubicBezTo>
                    <a:pt x="103684" y="79142"/>
                    <a:pt x="103684" y="79142"/>
                    <a:pt x="103684" y="79142"/>
                  </a:cubicBezTo>
                  <a:cubicBezTo>
                    <a:pt x="99473" y="78820"/>
                    <a:pt x="99473" y="78820"/>
                    <a:pt x="99473" y="78820"/>
                  </a:cubicBezTo>
                  <a:cubicBezTo>
                    <a:pt x="97368" y="78820"/>
                    <a:pt x="97368" y="78820"/>
                    <a:pt x="97368" y="78820"/>
                  </a:cubicBezTo>
                  <a:cubicBezTo>
                    <a:pt x="96842" y="79463"/>
                    <a:pt x="96842" y="79463"/>
                    <a:pt x="96842" y="79463"/>
                  </a:cubicBezTo>
                  <a:cubicBezTo>
                    <a:pt x="96842" y="80107"/>
                    <a:pt x="96842" y="80107"/>
                    <a:pt x="96842" y="80107"/>
                  </a:cubicBezTo>
                  <a:cubicBezTo>
                    <a:pt x="94210" y="79463"/>
                    <a:pt x="94210" y="79463"/>
                    <a:pt x="94210" y="79463"/>
                  </a:cubicBezTo>
                  <a:cubicBezTo>
                    <a:pt x="91578" y="78498"/>
                    <a:pt x="91578" y="78498"/>
                    <a:pt x="91578" y="78498"/>
                  </a:cubicBezTo>
                  <a:cubicBezTo>
                    <a:pt x="89999" y="78498"/>
                    <a:pt x="89999" y="78498"/>
                    <a:pt x="89999" y="78498"/>
                  </a:cubicBezTo>
                  <a:cubicBezTo>
                    <a:pt x="88947" y="78498"/>
                    <a:pt x="88947" y="78498"/>
                    <a:pt x="88947" y="78498"/>
                  </a:cubicBezTo>
                  <a:cubicBezTo>
                    <a:pt x="88421" y="79463"/>
                    <a:pt x="88421" y="79463"/>
                    <a:pt x="88421" y="79463"/>
                  </a:cubicBezTo>
                  <a:cubicBezTo>
                    <a:pt x="88421" y="80107"/>
                    <a:pt x="88421" y="80107"/>
                    <a:pt x="88421" y="80107"/>
                  </a:cubicBezTo>
                  <a:cubicBezTo>
                    <a:pt x="86315" y="80107"/>
                    <a:pt x="86315" y="80107"/>
                    <a:pt x="86315" y="80107"/>
                  </a:cubicBezTo>
                  <a:cubicBezTo>
                    <a:pt x="85263" y="78820"/>
                    <a:pt x="85263" y="78820"/>
                    <a:pt x="85263" y="78820"/>
                  </a:cubicBezTo>
                  <a:cubicBezTo>
                    <a:pt x="85263" y="77855"/>
                    <a:pt x="85263" y="77855"/>
                    <a:pt x="85263" y="77855"/>
                  </a:cubicBezTo>
                  <a:cubicBezTo>
                    <a:pt x="85263" y="76568"/>
                    <a:pt x="85263" y="76568"/>
                    <a:pt x="85263" y="76568"/>
                  </a:cubicBezTo>
                  <a:cubicBezTo>
                    <a:pt x="84210" y="74638"/>
                    <a:pt x="84210" y="74638"/>
                    <a:pt x="84210" y="74638"/>
                  </a:cubicBezTo>
                  <a:cubicBezTo>
                    <a:pt x="84210" y="72707"/>
                    <a:pt x="84210" y="72707"/>
                    <a:pt x="84210" y="72707"/>
                  </a:cubicBezTo>
                  <a:cubicBezTo>
                    <a:pt x="82105" y="72707"/>
                    <a:pt x="82105" y="72707"/>
                    <a:pt x="82105" y="72707"/>
                  </a:cubicBezTo>
                  <a:cubicBezTo>
                    <a:pt x="79473" y="71742"/>
                    <a:pt x="79473" y="71742"/>
                    <a:pt x="79473" y="71742"/>
                  </a:cubicBezTo>
                  <a:cubicBezTo>
                    <a:pt x="78421" y="70777"/>
                    <a:pt x="78421" y="70777"/>
                    <a:pt x="78421" y="70777"/>
                  </a:cubicBezTo>
                  <a:cubicBezTo>
                    <a:pt x="78421" y="70134"/>
                    <a:pt x="78421" y="70134"/>
                    <a:pt x="78421" y="70134"/>
                  </a:cubicBezTo>
                  <a:cubicBezTo>
                    <a:pt x="78421" y="68525"/>
                    <a:pt x="78421" y="68525"/>
                    <a:pt x="78421" y="68525"/>
                  </a:cubicBezTo>
                  <a:cubicBezTo>
                    <a:pt x="78421" y="66916"/>
                    <a:pt x="78421" y="66916"/>
                    <a:pt x="78421" y="66916"/>
                  </a:cubicBezTo>
                  <a:cubicBezTo>
                    <a:pt x="76315" y="65630"/>
                    <a:pt x="76315" y="65630"/>
                    <a:pt x="76315" y="65630"/>
                  </a:cubicBezTo>
                  <a:cubicBezTo>
                    <a:pt x="76315" y="64664"/>
                    <a:pt x="76315" y="64664"/>
                    <a:pt x="76315" y="64664"/>
                  </a:cubicBezTo>
                  <a:cubicBezTo>
                    <a:pt x="76315" y="62734"/>
                    <a:pt x="76315" y="62734"/>
                    <a:pt x="76315" y="62734"/>
                  </a:cubicBezTo>
                  <a:cubicBezTo>
                    <a:pt x="75789" y="60160"/>
                    <a:pt x="75789" y="60160"/>
                    <a:pt x="75789" y="60160"/>
                  </a:cubicBezTo>
                  <a:cubicBezTo>
                    <a:pt x="74736" y="58873"/>
                    <a:pt x="74736" y="58873"/>
                    <a:pt x="74736" y="58873"/>
                  </a:cubicBezTo>
                  <a:cubicBezTo>
                    <a:pt x="74210" y="57587"/>
                    <a:pt x="74210" y="57587"/>
                    <a:pt x="74210" y="57587"/>
                  </a:cubicBezTo>
                  <a:cubicBezTo>
                    <a:pt x="73157" y="57587"/>
                    <a:pt x="73157" y="57587"/>
                    <a:pt x="73157" y="57587"/>
                  </a:cubicBezTo>
                  <a:cubicBezTo>
                    <a:pt x="71052" y="58552"/>
                    <a:pt x="71052" y="58552"/>
                    <a:pt x="71052" y="58552"/>
                  </a:cubicBezTo>
                  <a:cubicBezTo>
                    <a:pt x="70000" y="58552"/>
                    <a:pt x="70000" y="58552"/>
                    <a:pt x="70000" y="58552"/>
                  </a:cubicBezTo>
                  <a:cubicBezTo>
                    <a:pt x="68421" y="58873"/>
                    <a:pt x="68421" y="58873"/>
                    <a:pt x="68421" y="58873"/>
                  </a:cubicBezTo>
                  <a:cubicBezTo>
                    <a:pt x="66842" y="59839"/>
                    <a:pt x="66842" y="59839"/>
                    <a:pt x="66842" y="59839"/>
                  </a:cubicBezTo>
                  <a:cubicBezTo>
                    <a:pt x="65789" y="59839"/>
                    <a:pt x="65789" y="59839"/>
                    <a:pt x="65789" y="59839"/>
                  </a:cubicBezTo>
                  <a:cubicBezTo>
                    <a:pt x="65789" y="58873"/>
                    <a:pt x="65789" y="58873"/>
                    <a:pt x="65789" y="58873"/>
                  </a:cubicBezTo>
                  <a:cubicBezTo>
                    <a:pt x="63684" y="58230"/>
                    <a:pt x="63684" y="58230"/>
                    <a:pt x="63684" y="58230"/>
                  </a:cubicBezTo>
                  <a:cubicBezTo>
                    <a:pt x="62631" y="57587"/>
                    <a:pt x="62631" y="57587"/>
                    <a:pt x="62631" y="57587"/>
                  </a:cubicBezTo>
                  <a:cubicBezTo>
                    <a:pt x="64210" y="55335"/>
                    <a:pt x="64210" y="55335"/>
                    <a:pt x="64210" y="55335"/>
                  </a:cubicBezTo>
                  <a:cubicBezTo>
                    <a:pt x="65789" y="54048"/>
                    <a:pt x="65789" y="54048"/>
                    <a:pt x="65789" y="54048"/>
                  </a:cubicBezTo>
                  <a:cubicBezTo>
                    <a:pt x="67368" y="54048"/>
                    <a:pt x="67368" y="54048"/>
                    <a:pt x="67368" y="54048"/>
                  </a:cubicBezTo>
                  <a:cubicBezTo>
                    <a:pt x="67894" y="53404"/>
                    <a:pt x="67894" y="53404"/>
                    <a:pt x="67894" y="53404"/>
                  </a:cubicBezTo>
                  <a:cubicBezTo>
                    <a:pt x="66842" y="51474"/>
                    <a:pt x="66842" y="51474"/>
                    <a:pt x="66842" y="51474"/>
                  </a:cubicBezTo>
                  <a:cubicBezTo>
                    <a:pt x="67368" y="49544"/>
                    <a:pt x="67368" y="49544"/>
                    <a:pt x="67368" y="49544"/>
                  </a:cubicBezTo>
                  <a:cubicBezTo>
                    <a:pt x="68947" y="47292"/>
                    <a:pt x="68947" y="47292"/>
                    <a:pt x="68947" y="47292"/>
                  </a:cubicBezTo>
                  <a:cubicBezTo>
                    <a:pt x="70526" y="45361"/>
                    <a:pt x="70526" y="45361"/>
                    <a:pt x="70526" y="45361"/>
                  </a:cubicBezTo>
                  <a:cubicBezTo>
                    <a:pt x="72105" y="43431"/>
                    <a:pt x="72105" y="43431"/>
                    <a:pt x="72105" y="43431"/>
                  </a:cubicBezTo>
                  <a:cubicBezTo>
                    <a:pt x="72105" y="42144"/>
                    <a:pt x="72105" y="42144"/>
                    <a:pt x="72105" y="42144"/>
                  </a:cubicBezTo>
                  <a:cubicBezTo>
                    <a:pt x="67368" y="41501"/>
                    <a:pt x="67368" y="41501"/>
                    <a:pt x="67368" y="41501"/>
                  </a:cubicBezTo>
                  <a:cubicBezTo>
                    <a:pt x="67368" y="41179"/>
                    <a:pt x="67368" y="41179"/>
                    <a:pt x="67368" y="41179"/>
                  </a:cubicBezTo>
                  <a:cubicBezTo>
                    <a:pt x="65789" y="39892"/>
                    <a:pt x="65789" y="39892"/>
                    <a:pt x="65789" y="39892"/>
                  </a:cubicBezTo>
                  <a:cubicBezTo>
                    <a:pt x="64736" y="37962"/>
                    <a:pt x="64736" y="37962"/>
                    <a:pt x="64736" y="37962"/>
                  </a:cubicBezTo>
                  <a:cubicBezTo>
                    <a:pt x="64210" y="35710"/>
                    <a:pt x="64210" y="35710"/>
                    <a:pt x="64210" y="35710"/>
                  </a:cubicBezTo>
                  <a:cubicBezTo>
                    <a:pt x="62631" y="34101"/>
                    <a:pt x="62631" y="34101"/>
                    <a:pt x="62631" y="34101"/>
                  </a:cubicBezTo>
                  <a:cubicBezTo>
                    <a:pt x="59999" y="32493"/>
                    <a:pt x="59999" y="32493"/>
                    <a:pt x="59999" y="32493"/>
                  </a:cubicBezTo>
                  <a:cubicBezTo>
                    <a:pt x="57368" y="29919"/>
                    <a:pt x="57368" y="29919"/>
                    <a:pt x="57368" y="29919"/>
                  </a:cubicBezTo>
                  <a:cubicBezTo>
                    <a:pt x="56842" y="28310"/>
                    <a:pt x="56842" y="28310"/>
                    <a:pt x="56842" y="28310"/>
                  </a:cubicBezTo>
                  <a:cubicBezTo>
                    <a:pt x="54736" y="26380"/>
                    <a:pt x="54736" y="26380"/>
                    <a:pt x="54736" y="26380"/>
                  </a:cubicBezTo>
                  <a:cubicBezTo>
                    <a:pt x="54736" y="25415"/>
                    <a:pt x="54736" y="25415"/>
                    <a:pt x="54736" y="25415"/>
                  </a:cubicBezTo>
                  <a:cubicBezTo>
                    <a:pt x="53157" y="24450"/>
                    <a:pt x="53157" y="24450"/>
                    <a:pt x="53157" y="24450"/>
                  </a:cubicBezTo>
                  <a:cubicBezTo>
                    <a:pt x="53157" y="23163"/>
                    <a:pt x="53157" y="23163"/>
                    <a:pt x="53157" y="23163"/>
                  </a:cubicBezTo>
                  <a:cubicBezTo>
                    <a:pt x="53157" y="22198"/>
                    <a:pt x="53157" y="22198"/>
                    <a:pt x="53157" y="22198"/>
                  </a:cubicBezTo>
                  <a:cubicBezTo>
                    <a:pt x="52105" y="20589"/>
                    <a:pt x="52105" y="20589"/>
                    <a:pt x="52105" y="20589"/>
                  </a:cubicBezTo>
                  <a:cubicBezTo>
                    <a:pt x="51052" y="19946"/>
                    <a:pt x="51052" y="19946"/>
                    <a:pt x="51052" y="19946"/>
                  </a:cubicBezTo>
                  <a:cubicBezTo>
                    <a:pt x="51052" y="18981"/>
                    <a:pt x="51052" y="18981"/>
                    <a:pt x="51052" y="18981"/>
                  </a:cubicBezTo>
                  <a:cubicBezTo>
                    <a:pt x="51578" y="15442"/>
                    <a:pt x="51578" y="15442"/>
                    <a:pt x="51578" y="15442"/>
                  </a:cubicBezTo>
                  <a:cubicBezTo>
                    <a:pt x="53157" y="11581"/>
                    <a:pt x="53157" y="11581"/>
                    <a:pt x="53157" y="11581"/>
                  </a:cubicBezTo>
                  <a:cubicBezTo>
                    <a:pt x="54736" y="8042"/>
                    <a:pt x="54736" y="8042"/>
                    <a:pt x="54736" y="8042"/>
                  </a:cubicBezTo>
                  <a:cubicBezTo>
                    <a:pt x="55789" y="5790"/>
                    <a:pt x="55789" y="5790"/>
                    <a:pt x="55789" y="5790"/>
                  </a:cubicBezTo>
                  <a:cubicBezTo>
                    <a:pt x="56842" y="2573"/>
                    <a:pt x="56842" y="2573"/>
                    <a:pt x="56842" y="2573"/>
                  </a:cubicBezTo>
                  <a:cubicBezTo>
                    <a:pt x="40000" y="0"/>
                    <a:pt x="40000" y="0"/>
                    <a:pt x="40000" y="0"/>
                  </a:cubicBezTo>
                  <a:cubicBezTo>
                    <a:pt x="40000" y="0"/>
                    <a:pt x="27368" y="36675"/>
                    <a:pt x="24736" y="38605"/>
                  </a:cubicBezTo>
                  <a:cubicBezTo>
                    <a:pt x="22631" y="40857"/>
                    <a:pt x="25263" y="40214"/>
                    <a:pt x="25263" y="42466"/>
                  </a:cubicBez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7" name="Shape 1401">
              <a:extLst>
                <a:ext uri="{FF2B5EF4-FFF2-40B4-BE49-F238E27FC236}">
                  <a16:creationId xmlns:a16="http://schemas.microsoft.com/office/drawing/2014/main" id="{FEF47F58-8590-19A1-2C7C-37D1D5219D7E}"/>
                </a:ext>
              </a:extLst>
            </p:cNvPr>
            <p:cNvSpPr/>
            <p:nvPr/>
          </p:nvSpPr>
          <p:spPr>
            <a:xfrm>
              <a:off x="8512785" y="3504567"/>
              <a:ext cx="715328" cy="512038"/>
            </a:xfrm>
            <a:custGeom>
              <a:avLst/>
              <a:gdLst/>
              <a:ahLst/>
              <a:cxnLst/>
              <a:rect l="0" t="0" r="0" b="0"/>
              <a:pathLst>
                <a:path w="120000" h="120000" extrusionOk="0">
                  <a:moveTo>
                    <a:pt x="120000" y="28571"/>
                  </a:moveTo>
                  <a:cubicBezTo>
                    <a:pt x="120000" y="28571"/>
                    <a:pt x="74578" y="20000"/>
                    <a:pt x="56470" y="15714"/>
                  </a:cubicBezTo>
                  <a:cubicBezTo>
                    <a:pt x="34373" y="10476"/>
                    <a:pt x="3375" y="0"/>
                    <a:pt x="3375" y="0"/>
                  </a:cubicBezTo>
                  <a:cubicBezTo>
                    <a:pt x="2762" y="4761"/>
                    <a:pt x="2762" y="4761"/>
                    <a:pt x="2762" y="4761"/>
                  </a:cubicBezTo>
                  <a:cubicBezTo>
                    <a:pt x="2148" y="8095"/>
                    <a:pt x="2148" y="8095"/>
                    <a:pt x="2148" y="8095"/>
                  </a:cubicBezTo>
                  <a:cubicBezTo>
                    <a:pt x="1227" y="13333"/>
                    <a:pt x="1227" y="13333"/>
                    <a:pt x="1227" y="13333"/>
                  </a:cubicBezTo>
                  <a:cubicBezTo>
                    <a:pt x="306" y="19047"/>
                    <a:pt x="306" y="19047"/>
                    <a:pt x="306" y="19047"/>
                  </a:cubicBezTo>
                  <a:cubicBezTo>
                    <a:pt x="0" y="24285"/>
                    <a:pt x="0" y="24285"/>
                    <a:pt x="0" y="24285"/>
                  </a:cubicBezTo>
                  <a:cubicBezTo>
                    <a:pt x="0" y="25714"/>
                    <a:pt x="0" y="25714"/>
                    <a:pt x="0" y="25714"/>
                  </a:cubicBezTo>
                  <a:cubicBezTo>
                    <a:pt x="613" y="26666"/>
                    <a:pt x="613" y="26666"/>
                    <a:pt x="613" y="26666"/>
                  </a:cubicBezTo>
                  <a:cubicBezTo>
                    <a:pt x="1227" y="29047"/>
                    <a:pt x="1227" y="29047"/>
                    <a:pt x="1227" y="29047"/>
                  </a:cubicBezTo>
                  <a:cubicBezTo>
                    <a:pt x="1227" y="30476"/>
                    <a:pt x="1227" y="30476"/>
                    <a:pt x="1227" y="30476"/>
                  </a:cubicBezTo>
                  <a:cubicBezTo>
                    <a:pt x="1227" y="32380"/>
                    <a:pt x="1227" y="32380"/>
                    <a:pt x="1227" y="32380"/>
                  </a:cubicBezTo>
                  <a:cubicBezTo>
                    <a:pt x="2148" y="33809"/>
                    <a:pt x="2148" y="33809"/>
                    <a:pt x="2148" y="33809"/>
                  </a:cubicBezTo>
                  <a:cubicBezTo>
                    <a:pt x="2148" y="35238"/>
                    <a:pt x="2148" y="35238"/>
                    <a:pt x="2148" y="35238"/>
                  </a:cubicBezTo>
                  <a:cubicBezTo>
                    <a:pt x="3375" y="38095"/>
                    <a:pt x="3375" y="38095"/>
                    <a:pt x="3375" y="38095"/>
                  </a:cubicBezTo>
                  <a:cubicBezTo>
                    <a:pt x="3682" y="40476"/>
                    <a:pt x="3682" y="40476"/>
                    <a:pt x="3682" y="40476"/>
                  </a:cubicBezTo>
                  <a:cubicBezTo>
                    <a:pt x="5217" y="44285"/>
                    <a:pt x="5217" y="44285"/>
                    <a:pt x="5217" y="44285"/>
                  </a:cubicBezTo>
                  <a:cubicBezTo>
                    <a:pt x="6751" y="46666"/>
                    <a:pt x="6751" y="46666"/>
                    <a:pt x="6751" y="46666"/>
                  </a:cubicBezTo>
                  <a:cubicBezTo>
                    <a:pt x="7672" y="49047"/>
                    <a:pt x="7672" y="49047"/>
                    <a:pt x="7672" y="49047"/>
                  </a:cubicBezTo>
                  <a:cubicBezTo>
                    <a:pt x="7979" y="52380"/>
                    <a:pt x="7979" y="52380"/>
                    <a:pt x="7979" y="52380"/>
                  </a:cubicBezTo>
                  <a:cubicBezTo>
                    <a:pt x="8593" y="55238"/>
                    <a:pt x="8593" y="55238"/>
                    <a:pt x="8593" y="55238"/>
                  </a:cubicBezTo>
                  <a:cubicBezTo>
                    <a:pt x="9514" y="57142"/>
                    <a:pt x="9514" y="57142"/>
                    <a:pt x="9514" y="57142"/>
                  </a:cubicBezTo>
                  <a:cubicBezTo>
                    <a:pt x="9514" y="57619"/>
                    <a:pt x="9514" y="57619"/>
                    <a:pt x="9514" y="57619"/>
                  </a:cubicBezTo>
                  <a:cubicBezTo>
                    <a:pt x="12276" y="58571"/>
                    <a:pt x="12276" y="58571"/>
                    <a:pt x="12276" y="58571"/>
                  </a:cubicBezTo>
                  <a:cubicBezTo>
                    <a:pt x="12276" y="60476"/>
                    <a:pt x="12276" y="60476"/>
                    <a:pt x="12276" y="60476"/>
                  </a:cubicBezTo>
                  <a:cubicBezTo>
                    <a:pt x="11355" y="63333"/>
                    <a:pt x="11355" y="63333"/>
                    <a:pt x="11355" y="63333"/>
                  </a:cubicBezTo>
                  <a:cubicBezTo>
                    <a:pt x="10434" y="66190"/>
                    <a:pt x="10434" y="66190"/>
                    <a:pt x="10434" y="66190"/>
                  </a:cubicBezTo>
                  <a:cubicBezTo>
                    <a:pt x="9514" y="69523"/>
                    <a:pt x="9514" y="69523"/>
                    <a:pt x="9514" y="69523"/>
                  </a:cubicBezTo>
                  <a:cubicBezTo>
                    <a:pt x="9207" y="72380"/>
                    <a:pt x="9207" y="72380"/>
                    <a:pt x="9207" y="72380"/>
                  </a:cubicBezTo>
                  <a:cubicBezTo>
                    <a:pt x="9820" y="75238"/>
                    <a:pt x="9820" y="75238"/>
                    <a:pt x="9820" y="75238"/>
                  </a:cubicBezTo>
                  <a:cubicBezTo>
                    <a:pt x="9514" y="76190"/>
                    <a:pt x="9514" y="76190"/>
                    <a:pt x="9514" y="76190"/>
                  </a:cubicBezTo>
                  <a:cubicBezTo>
                    <a:pt x="8593" y="76190"/>
                    <a:pt x="8593" y="76190"/>
                    <a:pt x="8593" y="76190"/>
                  </a:cubicBezTo>
                  <a:cubicBezTo>
                    <a:pt x="7672" y="78095"/>
                    <a:pt x="7672" y="78095"/>
                    <a:pt x="7672" y="78095"/>
                  </a:cubicBezTo>
                  <a:cubicBezTo>
                    <a:pt x="6751" y="81428"/>
                    <a:pt x="6751" y="81428"/>
                    <a:pt x="6751" y="81428"/>
                  </a:cubicBezTo>
                  <a:cubicBezTo>
                    <a:pt x="7365" y="82380"/>
                    <a:pt x="7365" y="82380"/>
                    <a:pt x="7365" y="82380"/>
                  </a:cubicBezTo>
                  <a:cubicBezTo>
                    <a:pt x="8593" y="83333"/>
                    <a:pt x="8593" y="83333"/>
                    <a:pt x="8593" y="83333"/>
                  </a:cubicBezTo>
                  <a:cubicBezTo>
                    <a:pt x="8593" y="84761"/>
                    <a:pt x="8593" y="84761"/>
                    <a:pt x="8593" y="84761"/>
                  </a:cubicBezTo>
                  <a:cubicBezTo>
                    <a:pt x="9207" y="84761"/>
                    <a:pt x="9207" y="84761"/>
                    <a:pt x="9207" y="84761"/>
                  </a:cubicBezTo>
                  <a:cubicBezTo>
                    <a:pt x="10127" y="83333"/>
                    <a:pt x="10127" y="83333"/>
                    <a:pt x="10127" y="83333"/>
                  </a:cubicBezTo>
                  <a:cubicBezTo>
                    <a:pt x="11048" y="82857"/>
                    <a:pt x="11048" y="82857"/>
                    <a:pt x="11048" y="82857"/>
                  </a:cubicBezTo>
                  <a:cubicBezTo>
                    <a:pt x="11662" y="82857"/>
                    <a:pt x="11662" y="82857"/>
                    <a:pt x="11662" y="82857"/>
                  </a:cubicBezTo>
                  <a:cubicBezTo>
                    <a:pt x="12890" y="81428"/>
                    <a:pt x="12890" y="81428"/>
                    <a:pt x="12890" y="81428"/>
                  </a:cubicBezTo>
                  <a:cubicBezTo>
                    <a:pt x="13503" y="81428"/>
                    <a:pt x="13503" y="81428"/>
                    <a:pt x="13503" y="81428"/>
                  </a:cubicBezTo>
                  <a:cubicBezTo>
                    <a:pt x="13810" y="83333"/>
                    <a:pt x="13810" y="83333"/>
                    <a:pt x="13810" y="83333"/>
                  </a:cubicBezTo>
                  <a:cubicBezTo>
                    <a:pt x="14424" y="85238"/>
                    <a:pt x="14424" y="85238"/>
                    <a:pt x="14424" y="85238"/>
                  </a:cubicBezTo>
                  <a:cubicBezTo>
                    <a:pt x="14731" y="89047"/>
                    <a:pt x="14731" y="89047"/>
                    <a:pt x="14731" y="89047"/>
                  </a:cubicBezTo>
                  <a:cubicBezTo>
                    <a:pt x="14731" y="91904"/>
                    <a:pt x="14731" y="91904"/>
                    <a:pt x="14731" y="91904"/>
                  </a:cubicBezTo>
                  <a:cubicBezTo>
                    <a:pt x="14731" y="93333"/>
                    <a:pt x="14731" y="93333"/>
                    <a:pt x="14731" y="93333"/>
                  </a:cubicBezTo>
                  <a:cubicBezTo>
                    <a:pt x="15959" y="95238"/>
                    <a:pt x="15959" y="95238"/>
                    <a:pt x="15959" y="95238"/>
                  </a:cubicBezTo>
                  <a:cubicBezTo>
                    <a:pt x="15959" y="97619"/>
                    <a:pt x="15959" y="97619"/>
                    <a:pt x="15959" y="97619"/>
                  </a:cubicBezTo>
                  <a:cubicBezTo>
                    <a:pt x="15959" y="100000"/>
                    <a:pt x="15959" y="100000"/>
                    <a:pt x="15959" y="100000"/>
                  </a:cubicBezTo>
                  <a:cubicBezTo>
                    <a:pt x="15959" y="100952"/>
                    <a:pt x="15959" y="100952"/>
                    <a:pt x="15959" y="100952"/>
                  </a:cubicBezTo>
                  <a:cubicBezTo>
                    <a:pt x="16572" y="102380"/>
                    <a:pt x="16572" y="102380"/>
                    <a:pt x="16572" y="102380"/>
                  </a:cubicBezTo>
                  <a:cubicBezTo>
                    <a:pt x="18107" y="103809"/>
                    <a:pt x="18107" y="103809"/>
                    <a:pt x="18107" y="103809"/>
                  </a:cubicBezTo>
                  <a:cubicBezTo>
                    <a:pt x="19335" y="103809"/>
                    <a:pt x="19335" y="103809"/>
                    <a:pt x="19335" y="103809"/>
                  </a:cubicBezTo>
                  <a:cubicBezTo>
                    <a:pt x="19335" y="106666"/>
                    <a:pt x="19335" y="106666"/>
                    <a:pt x="19335" y="106666"/>
                  </a:cubicBezTo>
                  <a:cubicBezTo>
                    <a:pt x="19948" y="109523"/>
                    <a:pt x="19948" y="109523"/>
                    <a:pt x="19948" y="109523"/>
                  </a:cubicBezTo>
                  <a:cubicBezTo>
                    <a:pt x="19948" y="111428"/>
                    <a:pt x="19948" y="111428"/>
                    <a:pt x="19948" y="111428"/>
                  </a:cubicBezTo>
                  <a:cubicBezTo>
                    <a:pt x="19948" y="112857"/>
                    <a:pt x="19948" y="112857"/>
                    <a:pt x="19948" y="112857"/>
                  </a:cubicBezTo>
                  <a:cubicBezTo>
                    <a:pt x="20562" y="114761"/>
                    <a:pt x="20562" y="114761"/>
                    <a:pt x="20562" y="114761"/>
                  </a:cubicBezTo>
                  <a:cubicBezTo>
                    <a:pt x="21790" y="114761"/>
                    <a:pt x="21790" y="114761"/>
                    <a:pt x="21790" y="114761"/>
                  </a:cubicBezTo>
                  <a:cubicBezTo>
                    <a:pt x="21790" y="113809"/>
                    <a:pt x="21790" y="113809"/>
                    <a:pt x="21790" y="113809"/>
                  </a:cubicBezTo>
                  <a:cubicBezTo>
                    <a:pt x="22097" y="112380"/>
                    <a:pt x="22097" y="112380"/>
                    <a:pt x="22097" y="112380"/>
                  </a:cubicBezTo>
                  <a:cubicBezTo>
                    <a:pt x="22710" y="112380"/>
                    <a:pt x="22710" y="112380"/>
                    <a:pt x="22710" y="112380"/>
                  </a:cubicBezTo>
                  <a:cubicBezTo>
                    <a:pt x="23631" y="112380"/>
                    <a:pt x="23631" y="112380"/>
                    <a:pt x="23631" y="112380"/>
                  </a:cubicBezTo>
                  <a:cubicBezTo>
                    <a:pt x="25166" y="113809"/>
                    <a:pt x="25166" y="113809"/>
                    <a:pt x="25166" y="113809"/>
                  </a:cubicBezTo>
                  <a:cubicBezTo>
                    <a:pt x="26700" y="114761"/>
                    <a:pt x="26700" y="114761"/>
                    <a:pt x="26700" y="114761"/>
                  </a:cubicBezTo>
                  <a:cubicBezTo>
                    <a:pt x="26700" y="113809"/>
                    <a:pt x="26700" y="113809"/>
                    <a:pt x="26700" y="113809"/>
                  </a:cubicBezTo>
                  <a:cubicBezTo>
                    <a:pt x="27007" y="112857"/>
                    <a:pt x="27007" y="112857"/>
                    <a:pt x="27007" y="112857"/>
                  </a:cubicBezTo>
                  <a:cubicBezTo>
                    <a:pt x="28235" y="112857"/>
                    <a:pt x="28235" y="112857"/>
                    <a:pt x="28235" y="112857"/>
                  </a:cubicBezTo>
                  <a:cubicBezTo>
                    <a:pt x="30690" y="113333"/>
                    <a:pt x="30690" y="113333"/>
                    <a:pt x="30690" y="113333"/>
                  </a:cubicBezTo>
                  <a:cubicBezTo>
                    <a:pt x="32225" y="114285"/>
                    <a:pt x="32225" y="114285"/>
                    <a:pt x="32225" y="114285"/>
                  </a:cubicBezTo>
                  <a:cubicBezTo>
                    <a:pt x="35294" y="114761"/>
                    <a:pt x="35294" y="114761"/>
                    <a:pt x="35294" y="114761"/>
                  </a:cubicBezTo>
                  <a:cubicBezTo>
                    <a:pt x="35601" y="113333"/>
                    <a:pt x="35601" y="113333"/>
                    <a:pt x="35601" y="113333"/>
                  </a:cubicBezTo>
                  <a:cubicBezTo>
                    <a:pt x="35907" y="110952"/>
                    <a:pt x="35907" y="110952"/>
                    <a:pt x="35907" y="110952"/>
                  </a:cubicBezTo>
                  <a:cubicBezTo>
                    <a:pt x="37135" y="110952"/>
                    <a:pt x="37135" y="110952"/>
                    <a:pt x="37135" y="110952"/>
                  </a:cubicBezTo>
                  <a:cubicBezTo>
                    <a:pt x="38056" y="112380"/>
                    <a:pt x="38056" y="112380"/>
                    <a:pt x="38056" y="112380"/>
                  </a:cubicBezTo>
                  <a:cubicBezTo>
                    <a:pt x="38670" y="113809"/>
                    <a:pt x="38670" y="113809"/>
                    <a:pt x="38670" y="113809"/>
                  </a:cubicBezTo>
                  <a:cubicBezTo>
                    <a:pt x="38976" y="115714"/>
                    <a:pt x="38976" y="115714"/>
                    <a:pt x="38976" y="115714"/>
                  </a:cubicBezTo>
                  <a:cubicBezTo>
                    <a:pt x="38976" y="116190"/>
                    <a:pt x="38976" y="116190"/>
                    <a:pt x="38976" y="116190"/>
                  </a:cubicBezTo>
                  <a:cubicBezTo>
                    <a:pt x="39590" y="117142"/>
                    <a:pt x="39590" y="117142"/>
                    <a:pt x="39590" y="117142"/>
                  </a:cubicBezTo>
                  <a:cubicBezTo>
                    <a:pt x="40204" y="118095"/>
                    <a:pt x="40204" y="118095"/>
                    <a:pt x="40204" y="118095"/>
                  </a:cubicBezTo>
                  <a:cubicBezTo>
                    <a:pt x="41739" y="105238"/>
                    <a:pt x="41739" y="105238"/>
                    <a:pt x="41739" y="105238"/>
                  </a:cubicBezTo>
                  <a:cubicBezTo>
                    <a:pt x="114168" y="120000"/>
                    <a:pt x="114168" y="120000"/>
                    <a:pt x="114168" y="120000"/>
                  </a:cubicBezTo>
                  <a:cubicBezTo>
                    <a:pt x="114475" y="120000"/>
                    <a:pt x="114475" y="120000"/>
                    <a:pt x="114475" y="120000"/>
                  </a:cubicBezTo>
                  <a:cubicBezTo>
                    <a:pt x="115703" y="98571"/>
                    <a:pt x="115703" y="98571"/>
                    <a:pt x="115703" y="98571"/>
                  </a:cubicBezTo>
                  <a:lnTo>
                    <a:pt x="120000" y="28571"/>
                  </a:ln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8" name="Shape 1426">
              <a:extLst>
                <a:ext uri="{FF2B5EF4-FFF2-40B4-BE49-F238E27FC236}">
                  <a16:creationId xmlns:a16="http://schemas.microsoft.com/office/drawing/2014/main" id="{FC51B178-38FD-4F4A-D06C-2328F26E6A5F}"/>
                </a:ext>
              </a:extLst>
            </p:cNvPr>
            <p:cNvSpPr/>
            <p:nvPr/>
          </p:nvSpPr>
          <p:spPr>
            <a:xfrm>
              <a:off x="9705724" y="4473608"/>
              <a:ext cx="464639" cy="447434"/>
            </a:xfrm>
            <a:custGeom>
              <a:avLst/>
              <a:gdLst/>
              <a:ahLst/>
              <a:cxnLst/>
              <a:rect l="0" t="0" r="0" b="0"/>
              <a:pathLst>
                <a:path w="120000" h="120000" extrusionOk="0">
                  <a:moveTo>
                    <a:pt x="112440" y="104796"/>
                  </a:moveTo>
                  <a:cubicBezTo>
                    <a:pt x="112440" y="103167"/>
                    <a:pt x="112440" y="103167"/>
                    <a:pt x="112440" y="103167"/>
                  </a:cubicBezTo>
                  <a:cubicBezTo>
                    <a:pt x="112440" y="102624"/>
                    <a:pt x="112440" y="102624"/>
                    <a:pt x="112440" y="102624"/>
                  </a:cubicBezTo>
                  <a:cubicBezTo>
                    <a:pt x="114330" y="102624"/>
                    <a:pt x="114330" y="102624"/>
                    <a:pt x="114330" y="102624"/>
                  </a:cubicBezTo>
                  <a:cubicBezTo>
                    <a:pt x="114803" y="102624"/>
                    <a:pt x="114803" y="102624"/>
                    <a:pt x="114803" y="102624"/>
                  </a:cubicBezTo>
                  <a:cubicBezTo>
                    <a:pt x="115275" y="102081"/>
                    <a:pt x="115275" y="102081"/>
                    <a:pt x="115275" y="102081"/>
                  </a:cubicBezTo>
                  <a:cubicBezTo>
                    <a:pt x="116220" y="101538"/>
                    <a:pt x="116220" y="101538"/>
                    <a:pt x="116220" y="101538"/>
                  </a:cubicBezTo>
                  <a:cubicBezTo>
                    <a:pt x="117637" y="101538"/>
                    <a:pt x="117637" y="101538"/>
                    <a:pt x="117637" y="101538"/>
                  </a:cubicBezTo>
                  <a:cubicBezTo>
                    <a:pt x="119055" y="100995"/>
                    <a:pt x="119055" y="100995"/>
                    <a:pt x="119055" y="100995"/>
                  </a:cubicBezTo>
                  <a:cubicBezTo>
                    <a:pt x="120000" y="99366"/>
                    <a:pt x="120000" y="99366"/>
                    <a:pt x="120000" y="99366"/>
                  </a:cubicBezTo>
                  <a:cubicBezTo>
                    <a:pt x="120000" y="96108"/>
                    <a:pt x="120000" y="96108"/>
                    <a:pt x="120000" y="96108"/>
                  </a:cubicBezTo>
                  <a:cubicBezTo>
                    <a:pt x="120000" y="93936"/>
                    <a:pt x="120000" y="93936"/>
                    <a:pt x="120000" y="93936"/>
                  </a:cubicBezTo>
                  <a:cubicBezTo>
                    <a:pt x="120000" y="92850"/>
                    <a:pt x="120000" y="92850"/>
                    <a:pt x="120000" y="92850"/>
                  </a:cubicBezTo>
                  <a:cubicBezTo>
                    <a:pt x="118110" y="91221"/>
                    <a:pt x="118110" y="91221"/>
                    <a:pt x="118110" y="91221"/>
                  </a:cubicBezTo>
                  <a:cubicBezTo>
                    <a:pt x="118110" y="89592"/>
                    <a:pt x="118110" y="89592"/>
                    <a:pt x="118110" y="89592"/>
                  </a:cubicBezTo>
                  <a:cubicBezTo>
                    <a:pt x="118582" y="87420"/>
                    <a:pt x="118582" y="87420"/>
                    <a:pt x="118582" y="87420"/>
                  </a:cubicBezTo>
                  <a:cubicBezTo>
                    <a:pt x="116220" y="87420"/>
                    <a:pt x="116220" y="87420"/>
                    <a:pt x="116220" y="87420"/>
                  </a:cubicBezTo>
                  <a:cubicBezTo>
                    <a:pt x="114803" y="90135"/>
                    <a:pt x="114803" y="90135"/>
                    <a:pt x="114803" y="90135"/>
                  </a:cubicBezTo>
                  <a:cubicBezTo>
                    <a:pt x="114803" y="87420"/>
                    <a:pt x="114803" y="87420"/>
                    <a:pt x="114803" y="87420"/>
                  </a:cubicBezTo>
                  <a:cubicBezTo>
                    <a:pt x="112440" y="84705"/>
                    <a:pt x="112440" y="84705"/>
                    <a:pt x="112440" y="84705"/>
                  </a:cubicBezTo>
                  <a:cubicBezTo>
                    <a:pt x="112913" y="82533"/>
                    <a:pt x="112913" y="82533"/>
                    <a:pt x="112913" y="82533"/>
                  </a:cubicBezTo>
                  <a:cubicBezTo>
                    <a:pt x="113385" y="79276"/>
                    <a:pt x="113385" y="79276"/>
                    <a:pt x="113385" y="79276"/>
                  </a:cubicBezTo>
                  <a:cubicBezTo>
                    <a:pt x="111496" y="73303"/>
                    <a:pt x="111496" y="73303"/>
                    <a:pt x="111496" y="73303"/>
                  </a:cubicBezTo>
                  <a:cubicBezTo>
                    <a:pt x="109606" y="71131"/>
                    <a:pt x="109606" y="71131"/>
                    <a:pt x="109606" y="71131"/>
                  </a:cubicBezTo>
                  <a:cubicBezTo>
                    <a:pt x="103464" y="66244"/>
                    <a:pt x="103464" y="66244"/>
                    <a:pt x="103464" y="66244"/>
                  </a:cubicBezTo>
                  <a:cubicBezTo>
                    <a:pt x="102047" y="67330"/>
                    <a:pt x="102047" y="67330"/>
                    <a:pt x="102047" y="67330"/>
                  </a:cubicBezTo>
                  <a:cubicBezTo>
                    <a:pt x="98267" y="64072"/>
                    <a:pt x="98267" y="64072"/>
                    <a:pt x="98267" y="64072"/>
                  </a:cubicBezTo>
                  <a:cubicBezTo>
                    <a:pt x="95433" y="60814"/>
                    <a:pt x="95433" y="60814"/>
                    <a:pt x="95433" y="60814"/>
                  </a:cubicBezTo>
                  <a:cubicBezTo>
                    <a:pt x="95433" y="57556"/>
                    <a:pt x="95433" y="57556"/>
                    <a:pt x="95433" y="57556"/>
                  </a:cubicBezTo>
                  <a:cubicBezTo>
                    <a:pt x="96377" y="54298"/>
                    <a:pt x="96377" y="54298"/>
                    <a:pt x="96377" y="54298"/>
                  </a:cubicBezTo>
                  <a:cubicBezTo>
                    <a:pt x="96850" y="52126"/>
                    <a:pt x="96850" y="52126"/>
                    <a:pt x="96850" y="52126"/>
                  </a:cubicBezTo>
                  <a:cubicBezTo>
                    <a:pt x="97322" y="49411"/>
                    <a:pt x="97322" y="49411"/>
                    <a:pt x="97322" y="49411"/>
                  </a:cubicBezTo>
                  <a:cubicBezTo>
                    <a:pt x="98740" y="45610"/>
                    <a:pt x="98740" y="45610"/>
                    <a:pt x="98740" y="45610"/>
                  </a:cubicBezTo>
                  <a:cubicBezTo>
                    <a:pt x="97322" y="43438"/>
                    <a:pt x="97322" y="43438"/>
                    <a:pt x="97322" y="43438"/>
                  </a:cubicBezTo>
                  <a:cubicBezTo>
                    <a:pt x="95433" y="41266"/>
                    <a:pt x="95433" y="41266"/>
                    <a:pt x="95433" y="41266"/>
                  </a:cubicBezTo>
                  <a:cubicBezTo>
                    <a:pt x="92598" y="41266"/>
                    <a:pt x="92598" y="41266"/>
                    <a:pt x="92598" y="41266"/>
                  </a:cubicBezTo>
                  <a:cubicBezTo>
                    <a:pt x="91181" y="42352"/>
                    <a:pt x="91181" y="42352"/>
                    <a:pt x="91181" y="42352"/>
                  </a:cubicBezTo>
                  <a:cubicBezTo>
                    <a:pt x="90236" y="43981"/>
                    <a:pt x="90236" y="43981"/>
                    <a:pt x="90236" y="43981"/>
                  </a:cubicBezTo>
                  <a:cubicBezTo>
                    <a:pt x="87874" y="41266"/>
                    <a:pt x="87874" y="41266"/>
                    <a:pt x="87874" y="41266"/>
                  </a:cubicBezTo>
                  <a:cubicBezTo>
                    <a:pt x="87874" y="36380"/>
                    <a:pt x="87874" y="36380"/>
                    <a:pt x="87874" y="36380"/>
                  </a:cubicBezTo>
                  <a:cubicBezTo>
                    <a:pt x="85511" y="32579"/>
                    <a:pt x="85511" y="32579"/>
                    <a:pt x="85511" y="32579"/>
                  </a:cubicBezTo>
                  <a:cubicBezTo>
                    <a:pt x="77007" y="24434"/>
                    <a:pt x="77007" y="24434"/>
                    <a:pt x="77007" y="24434"/>
                  </a:cubicBezTo>
                  <a:cubicBezTo>
                    <a:pt x="73700" y="17918"/>
                    <a:pt x="73700" y="17918"/>
                    <a:pt x="73700" y="17918"/>
                  </a:cubicBezTo>
                  <a:cubicBezTo>
                    <a:pt x="73700" y="11945"/>
                    <a:pt x="73700" y="11945"/>
                    <a:pt x="73700" y="11945"/>
                  </a:cubicBezTo>
                  <a:cubicBezTo>
                    <a:pt x="73700" y="5972"/>
                    <a:pt x="73700" y="5972"/>
                    <a:pt x="73700" y="5972"/>
                  </a:cubicBezTo>
                  <a:cubicBezTo>
                    <a:pt x="74645" y="5429"/>
                    <a:pt x="74645" y="5429"/>
                    <a:pt x="74645" y="5429"/>
                  </a:cubicBezTo>
                  <a:cubicBezTo>
                    <a:pt x="68976" y="0"/>
                    <a:pt x="68976" y="0"/>
                    <a:pt x="68976" y="0"/>
                  </a:cubicBezTo>
                  <a:cubicBezTo>
                    <a:pt x="0" y="1085"/>
                    <a:pt x="0" y="1085"/>
                    <a:pt x="0" y="1085"/>
                  </a:cubicBezTo>
                  <a:cubicBezTo>
                    <a:pt x="472" y="2171"/>
                    <a:pt x="472" y="2171"/>
                    <a:pt x="472" y="2171"/>
                  </a:cubicBezTo>
                  <a:cubicBezTo>
                    <a:pt x="1889" y="3257"/>
                    <a:pt x="1889" y="3257"/>
                    <a:pt x="1889" y="3257"/>
                  </a:cubicBezTo>
                  <a:cubicBezTo>
                    <a:pt x="2362" y="5972"/>
                    <a:pt x="2362" y="5972"/>
                    <a:pt x="2362" y="5972"/>
                  </a:cubicBezTo>
                  <a:cubicBezTo>
                    <a:pt x="1417" y="7058"/>
                    <a:pt x="1417" y="7058"/>
                    <a:pt x="1417" y="7058"/>
                  </a:cubicBezTo>
                  <a:cubicBezTo>
                    <a:pt x="2362" y="8687"/>
                    <a:pt x="2362" y="8687"/>
                    <a:pt x="2362" y="8687"/>
                  </a:cubicBezTo>
                  <a:cubicBezTo>
                    <a:pt x="2362" y="8687"/>
                    <a:pt x="1889" y="8687"/>
                    <a:pt x="2362" y="9230"/>
                  </a:cubicBezTo>
                  <a:cubicBezTo>
                    <a:pt x="2834" y="9773"/>
                    <a:pt x="5196" y="10316"/>
                    <a:pt x="5196" y="10316"/>
                  </a:cubicBezTo>
                  <a:cubicBezTo>
                    <a:pt x="5669" y="13574"/>
                    <a:pt x="5669" y="13574"/>
                    <a:pt x="5669" y="13574"/>
                  </a:cubicBezTo>
                  <a:cubicBezTo>
                    <a:pt x="6614" y="15746"/>
                    <a:pt x="6614" y="15746"/>
                    <a:pt x="6614" y="15746"/>
                  </a:cubicBezTo>
                  <a:cubicBezTo>
                    <a:pt x="6614" y="15746"/>
                    <a:pt x="6614" y="15746"/>
                    <a:pt x="6614" y="15746"/>
                  </a:cubicBezTo>
                  <a:cubicBezTo>
                    <a:pt x="8503" y="19004"/>
                    <a:pt x="8503" y="19004"/>
                    <a:pt x="8503" y="19004"/>
                  </a:cubicBezTo>
                  <a:cubicBezTo>
                    <a:pt x="9448" y="21176"/>
                    <a:pt x="9448" y="21176"/>
                    <a:pt x="9448" y="21176"/>
                  </a:cubicBezTo>
                  <a:cubicBezTo>
                    <a:pt x="13700" y="21176"/>
                    <a:pt x="13700" y="21176"/>
                    <a:pt x="13700" y="21176"/>
                  </a:cubicBezTo>
                  <a:cubicBezTo>
                    <a:pt x="14645" y="21176"/>
                    <a:pt x="14645" y="21176"/>
                    <a:pt x="14645" y="21176"/>
                  </a:cubicBezTo>
                  <a:cubicBezTo>
                    <a:pt x="14645" y="23891"/>
                    <a:pt x="14645" y="23891"/>
                    <a:pt x="14645" y="23891"/>
                  </a:cubicBezTo>
                  <a:cubicBezTo>
                    <a:pt x="13228" y="27149"/>
                    <a:pt x="13228" y="27149"/>
                    <a:pt x="13228" y="27149"/>
                  </a:cubicBezTo>
                  <a:cubicBezTo>
                    <a:pt x="11811" y="29864"/>
                    <a:pt x="11811" y="29864"/>
                    <a:pt x="11811" y="29864"/>
                  </a:cubicBezTo>
                  <a:cubicBezTo>
                    <a:pt x="14645" y="33122"/>
                    <a:pt x="14645" y="33122"/>
                    <a:pt x="14645" y="33122"/>
                  </a:cubicBezTo>
                  <a:cubicBezTo>
                    <a:pt x="15590" y="36380"/>
                    <a:pt x="15590" y="36380"/>
                    <a:pt x="15590" y="36380"/>
                  </a:cubicBezTo>
                  <a:cubicBezTo>
                    <a:pt x="17007" y="37466"/>
                    <a:pt x="17007" y="37466"/>
                    <a:pt x="17007" y="37466"/>
                  </a:cubicBezTo>
                  <a:cubicBezTo>
                    <a:pt x="19842" y="39095"/>
                    <a:pt x="19842" y="39095"/>
                    <a:pt x="19842" y="39095"/>
                  </a:cubicBezTo>
                  <a:cubicBezTo>
                    <a:pt x="19842" y="95565"/>
                    <a:pt x="19842" y="95565"/>
                    <a:pt x="19842" y="95565"/>
                  </a:cubicBezTo>
                  <a:cubicBezTo>
                    <a:pt x="19842" y="109140"/>
                    <a:pt x="19842" y="109140"/>
                    <a:pt x="19842" y="109140"/>
                  </a:cubicBezTo>
                  <a:cubicBezTo>
                    <a:pt x="101574" y="106968"/>
                    <a:pt x="101574" y="106968"/>
                    <a:pt x="101574" y="106968"/>
                  </a:cubicBezTo>
                  <a:cubicBezTo>
                    <a:pt x="102047" y="110226"/>
                    <a:pt x="102047" y="110226"/>
                    <a:pt x="102047" y="110226"/>
                  </a:cubicBezTo>
                  <a:cubicBezTo>
                    <a:pt x="96850" y="120000"/>
                    <a:pt x="96850" y="120000"/>
                    <a:pt x="96850" y="120000"/>
                  </a:cubicBezTo>
                  <a:cubicBezTo>
                    <a:pt x="110078" y="118914"/>
                    <a:pt x="110078" y="118914"/>
                    <a:pt x="110078" y="118914"/>
                  </a:cubicBezTo>
                  <a:cubicBezTo>
                    <a:pt x="110551" y="117285"/>
                    <a:pt x="110551" y="117285"/>
                    <a:pt x="110551" y="117285"/>
                  </a:cubicBezTo>
                  <a:cubicBezTo>
                    <a:pt x="111496" y="115656"/>
                    <a:pt x="111496" y="115656"/>
                    <a:pt x="111496" y="115656"/>
                  </a:cubicBezTo>
                  <a:cubicBezTo>
                    <a:pt x="111496" y="115656"/>
                    <a:pt x="112440" y="115113"/>
                    <a:pt x="111968" y="114570"/>
                  </a:cubicBezTo>
                  <a:cubicBezTo>
                    <a:pt x="111968" y="114027"/>
                    <a:pt x="111023" y="112398"/>
                    <a:pt x="111023" y="112398"/>
                  </a:cubicBezTo>
                  <a:cubicBezTo>
                    <a:pt x="110551" y="111855"/>
                    <a:pt x="110551" y="111855"/>
                    <a:pt x="110551" y="111855"/>
                  </a:cubicBezTo>
                  <a:cubicBezTo>
                    <a:pt x="111023" y="110769"/>
                    <a:pt x="111023" y="110769"/>
                    <a:pt x="111023" y="110769"/>
                  </a:cubicBezTo>
                  <a:cubicBezTo>
                    <a:pt x="111968" y="110226"/>
                    <a:pt x="111968" y="110226"/>
                    <a:pt x="111968" y="110226"/>
                  </a:cubicBezTo>
                  <a:cubicBezTo>
                    <a:pt x="112440" y="108597"/>
                    <a:pt x="112440" y="108597"/>
                    <a:pt x="112440" y="108597"/>
                  </a:cubicBezTo>
                  <a:cubicBezTo>
                    <a:pt x="112440" y="106968"/>
                    <a:pt x="112440" y="106968"/>
                    <a:pt x="112440" y="106968"/>
                  </a:cubicBezTo>
                  <a:cubicBezTo>
                    <a:pt x="112440" y="105339"/>
                    <a:pt x="112440" y="105339"/>
                    <a:pt x="112440" y="105339"/>
                  </a:cubicBezTo>
                  <a:lnTo>
                    <a:pt x="112440" y="104796"/>
                  </a:ln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69" name="Shape 1427">
              <a:extLst>
                <a:ext uri="{FF2B5EF4-FFF2-40B4-BE49-F238E27FC236}">
                  <a16:creationId xmlns:a16="http://schemas.microsoft.com/office/drawing/2014/main" id="{CF2CF1F2-1F6B-2624-FAAB-9F1F03E0597B}"/>
                </a:ext>
              </a:extLst>
            </p:cNvPr>
            <p:cNvSpPr/>
            <p:nvPr/>
          </p:nvSpPr>
          <p:spPr>
            <a:xfrm>
              <a:off x="9623603" y="3614629"/>
              <a:ext cx="449512" cy="579032"/>
            </a:xfrm>
            <a:custGeom>
              <a:avLst/>
              <a:gdLst/>
              <a:ahLst/>
              <a:cxnLst/>
              <a:rect l="0" t="0" r="0" b="0"/>
              <a:pathLst>
                <a:path w="120000" h="120000" extrusionOk="0">
                  <a:moveTo>
                    <a:pt x="73846" y="69917"/>
                  </a:moveTo>
                  <a:lnTo>
                    <a:pt x="80192" y="66942"/>
                  </a:lnTo>
                  <a:lnTo>
                    <a:pt x="80192" y="55041"/>
                  </a:lnTo>
                  <a:lnTo>
                    <a:pt x="83076" y="53057"/>
                  </a:lnTo>
                  <a:lnTo>
                    <a:pt x="92884" y="45123"/>
                  </a:lnTo>
                  <a:lnTo>
                    <a:pt x="97500" y="39669"/>
                  </a:lnTo>
                  <a:lnTo>
                    <a:pt x="106730" y="34214"/>
                  </a:lnTo>
                  <a:lnTo>
                    <a:pt x="120000" y="27272"/>
                  </a:lnTo>
                  <a:lnTo>
                    <a:pt x="115384" y="26280"/>
                  </a:lnTo>
                  <a:lnTo>
                    <a:pt x="105576" y="25785"/>
                  </a:lnTo>
                  <a:lnTo>
                    <a:pt x="97500" y="24297"/>
                  </a:lnTo>
                  <a:lnTo>
                    <a:pt x="95769" y="25785"/>
                  </a:lnTo>
                  <a:lnTo>
                    <a:pt x="93461" y="27272"/>
                  </a:lnTo>
                  <a:lnTo>
                    <a:pt x="88846" y="27272"/>
                  </a:lnTo>
                  <a:lnTo>
                    <a:pt x="87115" y="25289"/>
                  </a:lnTo>
                  <a:lnTo>
                    <a:pt x="84807" y="23801"/>
                  </a:lnTo>
                  <a:lnTo>
                    <a:pt x="78461" y="22314"/>
                  </a:lnTo>
                  <a:lnTo>
                    <a:pt x="76730" y="22314"/>
                  </a:lnTo>
                  <a:lnTo>
                    <a:pt x="74423" y="21322"/>
                  </a:lnTo>
                  <a:lnTo>
                    <a:pt x="73846" y="20826"/>
                  </a:lnTo>
                  <a:lnTo>
                    <a:pt x="68653" y="20330"/>
                  </a:lnTo>
                  <a:lnTo>
                    <a:pt x="65769" y="17851"/>
                  </a:lnTo>
                  <a:lnTo>
                    <a:pt x="69230" y="19338"/>
                  </a:lnTo>
                  <a:lnTo>
                    <a:pt x="70961" y="17851"/>
                  </a:lnTo>
                  <a:lnTo>
                    <a:pt x="68653" y="17355"/>
                  </a:lnTo>
                  <a:lnTo>
                    <a:pt x="65769" y="17355"/>
                  </a:lnTo>
                  <a:lnTo>
                    <a:pt x="62884" y="17355"/>
                  </a:lnTo>
                  <a:lnTo>
                    <a:pt x="60576" y="17355"/>
                  </a:lnTo>
                  <a:lnTo>
                    <a:pt x="57692" y="17355"/>
                  </a:lnTo>
                  <a:lnTo>
                    <a:pt x="55961" y="19338"/>
                  </a:lnTo>
                  <a:lnTo>
                    <a:pt x="53653" y="19338"/>
                  </a:lnTo>
                  <a:lnTo>
                    <a:pt x="50192" y="16859"/>
                  </a:lnTo>
                  <a:lnTo>
                    <a:pt x="48461" y="16859"/>
                  </a:lnTo>
                  <a:lnTo>
                    <a:pt x="46153" y="16859"/>
                  </a:lnTo>
                  <a:lnTo>
                    <a:pt x="42115" y="15867"/>
                  </a:lnTo>
                  <a:lnTo>
                    <a:pt x="39230" y="11900"/>
                  </a:lnTo>
                  <a:lnTo>
                    <a:pt x="39230" y="11900"/>
                  </a:lnTo>
                  <a:lnTo>
                    <a:pt x="38076" y="9917"/>
                  </a:lnTo>
                  <a:lnTo>
                    <a:pt x="35769" y="9917"/>
                  </a:lnTo>
                  <a:lnTo>
                    <a:pt x="33461" y="9917"/>
                  </a:lnTo>
                  <a:lnTo>
                    <a:pt x="31730" y="9917"/>
                  </a:lnTo>
                  <a:lnTo>
                    <a:pt x="31153" y="7933"/>
                  </a:lnTo>
                  <a:lnTo>
                    <a:pt x="32884" y="5950"/>
                  </a:lnTo>
                  <a:lnTo>
                    <a:pt x="33461" y="3966"/>
                  </a:lnTo>
                  <a:lnTo>
                    <a:pt x="35769" y="2479"/>
                  </a:lnTo>
                  <a:lnTo>
                    <a:pt x="34615" y="991"/>
                  </a:lnTo>
                  <a:lnTo>
                    <a:pt x="34615" y="991"/>
                  </a:lnTo>
                  <a:lnTo>
                    <a:pt x="32307" y="0"/>
                  </a:lnTo>
                  <a:lnTo>
                    <a:pt x="32307" y="4958"/>
                  </a:lnTo>
                  <a:lnTo>
                    <a:pt x="31153" y="5950"/>
                  </a:lnTo>
                  <a:lnTo>
                    <a:pt x="30000" y="7933"/>
                  </a:lnTo>
                  <a:lnTo>
                    <a:pt x="0" y="7933"/>
                  </a:lnTo>
                  <a:lnTo>
                    <a:pt x="576" y="9917"/>
                  </a:lnTo>
                  <a:lnTo>
                    <a:pt x="576" y="11404"/>
                  </a:lnTo>
                  <a:lnTo>
                    <a:pt x="576" y="11900"/>
                  </a:lnTo>
                  <a:lnTo>
                    <a:pt x="2307" y="12892"/>
                  </a:lnTo>
                  <a:lnTo>
                    <a:pt x="2307" y="14876"/>
                  </a:lnTo>
                  <a:lnTo>
                    <a:pt x="1730" y="15371"/>
                  </a:lnTo>
                  <a:lnTo>
                    <a:pt x="576" y="16363"/>
                  </a:lnTo>
                  <a:lnTo>
                    <a:pt x="576" y="16859"/>
                  </a:lnTo>
                  <a:lnTo>
                    <a:pt x="576" y="18842"/>
                  </a:lnTo>
                  <a:lnTo>
                    <a:pt x="1153" y="19834"/>
                  </a:lnTo>
                  <a:lnTo>
                    <a:pt x="1730" y="22314"/>
                  </a:lnTo>
                  <a:lnTo>
                    <a:pt x="576" y="25289"/>
                  </a:lnTo>
                  <a:lnTo>
                    <a:pt x="1730" y="27768"/>
                  </a:lnTo>
                  <a:lnTo>
                    <a:pt x="3461" y="31735"/>
                  </a:lnTo>
                  <a:lnTo>
                    <a:pt x="5192" y="34710"/>
                  </a:lnTo>
                  <a:lnTo>
                    <a:pt x="5192" y="38677"/>
                  </a:lnTo>
                  <a:lnTo>
                    <a:pt x="5769" y="45619"/>
                  </a:lnTo>
                  <a:lnTo>
                    <a:pt x="5769" y="51570"/>
                  </a:lnTo>
                  <a:lnTo>
                    <a:pt x="5769" y="55537"/>
                  </a:lnTo>
                  <a:lnTo>
                    <a:pt x="6923" y="56528"/>
                  </a:lnTo>
                  <a:lnTo>
                    <a:pt x="6923" y="57520"/>
                  </a:lnTo>
                  <a:lnTo>
                    <a:pt x="6923" y="60495"/>
                  </a:lnTo>
                  <a:lnTo>
                    <a:pt x="8653" y="61487"/>
                  </a:lnTo>
                  <a:lnTo>
                    <a:pt x="9807" y="62975"/>
                  </a:lnTo>
                  <a:lnTo>
                    <a:pt x="10384" y="65454"/>
                  </a:lnTo>
                  <a:lnTo>
                    <a:pt x="10384" y="67438"/>
                  </a:lnTo>
                  <a:lnTo>
                    <a:pt x="10384" y="69917"/>
                  </a:lnTo>
                  <a:lnTo>
                    <a:pt x="9230" y="70413"/>
                  </a:lnTo>
                  <a:lnTo>
                    <a:pt x="9230" y="70413"/>
                  </a:lnTo>
                  <a:lnTo>
                    <a:pt x="9807" y="71404"/>
                  </a:lnTo>
                  <a:lnTo>
                    <a:pt x="7500" y="72892"/>
                  </a:lnTo>
                  <a:lnTo>
                    <a:pt x="6346" y="74380"/>
                  </a:lnTo>
                  <a:lnTo>
                    <a:pt x="4615" y="75371"/>
                  </a:lnTo>
                  <a:lnTo>
                    <a:pt x="4615" y="76363"/>
                  </a:lnTo>
                  <a:lnTo>
                    <a:pt x="4615" y="77355"/>
                  </a:lnTo>
                  <a:lnTo>
                    <a:pt x="5192" y="78347"/>
                  </a:lnTo>
                  <a:lnTo>
                    <a:pt x="6923" y="79338"/>
                  </a:lnTo>
                  <a:lnTo>
                    <a:pt x="6923" y="80826"/>
                  </a:lnTo>
                  <a:lnTo>
                    <a:pt x="9807" y="81322"/>
                  </a:lnTo>
                  <a:lnTo>
                    <a:pt x="10384" y="82809"/>
                  </a:lnTo>
                  <a:lnTo>
                    <a:pt x="12115" y="83801"/>
                  </a:lnTo>
                  <a:lnTo>
                    <a:pt x="10384" y="120000"/>
                  </a:lnTo>
                  <a:lnTo>
                    <a:pt x="99230" y="118512"/>
                  </a:lnTo>
                  <a:lnTo>
                    <a:pt x="99807" y="115537"/>
                  </a:lnTo>
                  <a:lnTo>
                    <a:pt x="99230" y="112561"/>
                  </a:lnTo>
                  <a:lnTo>
                    <a:pt x="95769" y="109090"/>
                  </a:lnTo>
                  <a:lnTo>
                    <a:pt x="92307" y="107107"/>
                  </a:lnTo>
                  <a:lnTo>
                    <a:pt x="90576" y="105619"/>
                  </a:lnTo>
                  <a:lnTo>
                    <a:pt x="86538" y="101157"/>
                  </a:lnTo>
                  <a:lnTo>
                    <a:pt x="79615" y="97685"/>
                  </a:lnTo>
                  <a:lnTo>
                    <a:pt x="75000" y="95702"/>
                  </a:lnTo>
                  <a:lnTo>
                    <a:pt x="72115" y="93719"/>
                  </a:lnTo>
                  <a:lnTo>
                    <a:pt x="72692" y="86280"/>
                  </a:lnTo>
                  <a:lnTo>
                    <a:pt x="73846" y="78842"/>
                  </a:lnTo>
                  <a:lnTo>
                    <a:pt x="72692" y="78842"/>
                  </a:lnTo>
                  <a:lnTo>
                    <a:pt x="70384" y="76363"/>
                  </a:lnTo>
                  <a:lnTo>
                    <a:pt x="72692" y="71900"/>
                  </a:lnTo>
                  <a:lnTo>
                    <a:pt x="73846" y="69917"/>
                  </a:ln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0" name="Shape 1431">
              <a:extLst>
                <a:ext uri="{FF2B5EF4-FFF2-40B4-BE49-F238E27FC236}">
                  <a16:creationId xmlns:a16="http://schemas.microsoft.com/office/drawing/2014/main" id="{F36534EC-8E37-5C19-EA65-ED5D6A8321F8}"/>
                </a:ext>
              </a:extLst>
            </p:cNvPr>
            <p:cNvSpPr/>
            <p:nvPr/>
          </p:nvSpPr>
          <p:spPr>
            <a:xfrm>
              <a:off x="9887259" y="3849113"/>
              <a:ext cx="367388" cy="433080"/>
            </a:xfrm>
            <a:custGeom>
              <a:avLst/>
              <a:gdLst/>
              <a:ahLst/>
              <a:cxnLst/>
              <a:rect l="0" t="0" r="0" b="0"/>
              <a:pathLst>
                <a:path w="120000" h="120000" extrusionOk="0">
                  <a:moveTo>
                    <a:pt x="106268" y="38873"/>
                  </a:moveTo>
                  <a:cubicBezTo>
                    <a:pt x="105671" y="38309"/>
                    <a:pt x="105671" y="38309"/>
                    <a:pt x="105671" y="38309"/>
                  </a:cubicBezTo>
                  <a:cubicBezTo>
                    <a:pt x="104477" y="36619"/>
                    <a:pt x="104477" y="36619"/>
                    <a:pt x="104477" y="36619"/>
                  </a:cubicBezTo>
                  <a:cubicBezTo>
                    <a:pt x="105074" y="34929"/>
                    <a:pt x="105074" y="34929"/>
                    <a:pt x="105074" y="34929"/>
                  </a:cubicBezTo>
                  <a:cubicBezTo>
                    <a:pt x="104477" y="31549"/>
                    <a:pt x="104477" y="31549"/>
                    <a:pt x="104477" y="31549"/>
                  </a:cubicBezTo>
                  <a:cubicBezTo>
                    <a:pt x="102686" y="29859"/>
                    <a:pt x="102686" y="29859"/>
                    <a:pt x="102686" y="29859"/>
                  </a:cubicBezTo>
                  <a:cubicBezTo>
                    <a:pt x="99104" y="27605"/>
                    <a:pt x="99104" y="27605"/>
                    <a:pt x="99104" y="27605"/>
                  </a:cubicBezTo>
                  <a:cubicBezTo>
                    <a:pt x="97910" y="25352"/>
                    <a:pt x="97910" y="25352"/>
                    <a:pt x="97910" y="25352"/>
                  </a:cubicBezTo>
                  <a:cubicBezTo>
                    <a:pt x="93731" y="24788"/>
                    <a:pt x="93731" y="24788"/>
                    <a:pt x="93731" y="24788"/>
                  </a:cubicBezTo>
                  <a:cubicBezTo>
                    <a:pt x="88358" y="24788"/>
                    <a:pt x="88358" y="24788"/>
                    <a:pt x="88358" y="24788"/>
                  </a:cubicBezTo>
                  <a:cubicBezTo>
                    <a:pt x="87164" y="23661"/>
                    <a:pt x="87164" y="23661"/>
                    <a:pt x="87164" y="23661"/>
                  </a:cubicBezTo>
                  <a:cubicBezTo>
                    <a:pt x="83582" y="23661"/>
                    <a:pt x="83582" y="23661"/>
                    <a:pt x="83582" y="23661"/>
                  </a:cubicBezTo>
                  <a:cubicBezTo>
                    <a:pt x="78805" y="23098"/>
                    <a:pt x="78805" y="23098"/>
                    <a:pt x="78805" y="23098"/>
                  </a:cubicBezTo>
                  <a:cubicBezTo>
                    <a:pt x="78208" y="21971"/>
                    <a:pt x="78208" y="21971"/>
                    <a:pt x="78208" y="21971"/>
                  </a:cubicBezTo>
                  <a:cubicBezTo>
                    <a:pt x="74626" y="20281"/>
                    <a:pt x="74626" y="20281"/>
                    <a:pt x="74626" y="20281"/>
                  </a:cubicBezTo>
                  <a:cubicBezTo>
                    <a:pt x="70447" y="19718"/>
                    <a:pt x="70447" y="19718"/>
                    <a:pt x="70447" y="19718"/>
                  </a:cubicBezTo>
                  <a:cubicBezTo>
                    <a:pt x="66268" y="18591"/>
                    <a:pt x="66268" y="18591"/>
                    <a:pt x="66268" y="18591"/>
                  </a:cubicBezTo>
                  <a:cubicBezTo>
                    <a:pt x="61492" y="16901"/>
                    <a:pt x="61492" y="16901"/>
                    <a:pt x="61492" y="16901"/>
                  </a:cubicBezTo>
                  <a:cubicBezTo>
                    <a:pt x="58507" y="15211"/>
                    <a:pt x="58507" y="15211"/>
                    <a:pt x="58507" y="15211"/>
                  </a:cubicBezTo>
                  <a:cubicBezTo>
                    <a:pt x="56119" y="15211"/>
                    <a:pt x="56119" y="15211"/>
                    <a:pt x="56119" y="15211"/>
                  </a:cubicBezTo>
                  <a:cubicBezTo>
                    <a:pt x="55522" y="15211"/>
                    <a:pt x="55522" y="15211"/>
                    <a:pt x="55522" y="15211"/>
                  </a:cubicBezTo>
                  <a:cubicBezTo>
                    <a:pt x="54328" y="14084"/>
                    <a:pt x="54328" y="14084"/>
                    <a:pt x="54328" y="14084"/>
                  </a:cubicBezTo>
                  <a:cubicBezTo>
                    <a:pt x="53134" y="12394"/>
                    <a:pt x="53134" y="12394"/>
                    <a:pt x="53134" y="12394"/>
                  </a:cubicBezTo>
                  <a:cubicBezTo>
                    <a:pt x="48955" y="11267"/>
                    <a:pt x="48955" y="11267"/>
                    <a:pt x="48955" y="11267"/>
                  </a:cubicBezTo>
                  <a:cubicBezTo>
                    <a:pt x="48955" y="11267"/>
                    <a:pt x="48955" y="11267"/>
                    <a:pt x="48955" y="11267"/>
                  </a:cubicBezTo>
                  <a:cubicBezTo>
                    <a:pt x="48358" y="11267"/>
                    <a:pt x="48358" y="11267"/>
                    <a:pt x="48358" y="11267"/>
                  </a:cubicBezTo>
                  <a:cubicBezTo>
                    <a:pt x="46567" y="10140"/>
                    <a:pt x="46567" y="10140"/>
                    <a:pt x="46567" y="10140"/>
                  </a:cubicBezTo>
                  <a:cubicBezTo>
                    <a:pt x="44776" y="9014"/>
                    <a:pt x="44776" y="9014"/>
                    <a:pt x="44776" y="9014"/>
                  </a:cubicBezTo>
                  <a:cubicBezTo>
                    <a:pt x="42985" y="8450"/>
                    <a:pt x="42985" y="8450"/>
                    <a:pt x="42985" y="8450"/>
                  </a:cubicBezTo>
                  <a:cubicBezTo>
                    <a:pt x="41791" y="9577"/>
                    <a:pt x="41791" y="9577"/>
                    <a:pt x="41791" y="9577"/>
                  </a:cubicBezTo>
                  <a:cubicBezTo>
                    <a:pt x="40000" y="10140"/>
                    <a:pt x="40000" y="10140"/>
                    <a:pt x="40000" y="10140"/>
                  </a:cubicBezTo>
                  <a:cubicBezTo>
                    <a:pt x="39402" y="9577"/>
                    <a:pt x="39402" y="9577"/>
                    <a:pt x="39402" y="9577"/>
                  </a:cubicBezTo>
                  <a:cubicBezTo>
                    <a:pt x="40000" y="8450"/>
                    <a:pt x="40000" y="8450"/>
                    <a:pt x="40000" y="8450"/>
                  </a:cubicBezTo>
                  <a:cubicBezTo>
                    <a:pt x="40597" y="5070"/>
                    <a:pt x="40597" y="5070"/>
                    <a:pt x="40597" y="5070"/>
                  </a:cubicBezTo>
                  <a:cubicBezTo>
                    <a:pt x="41194" y="3943"/>
                    <a:pt x="41194" y="3943"/>
                    <a:pt x="41194" y="3943"/>
                  </a:cubicBezTo>
                  <a:cubicBezTo>
                    <a:pt x="41791" y="1126"/>
                    <a:pt x="41791" y="1126"/>
                    <a:pt x="41791" y="1126"/>
                  </a:cubicBezTo>
                  <a:cubicBezTo>
                    <a:pt x="40000" y="0"/>
                    <a:pt x="40000" y="0"/>
                    <a:pt x="40000" y="0"/>
                  </a:cubicBezTo>
                  <a:cubicBezTo>
                    <a:pt x="38805" y="563"/>
                    <a:pt x="38805" y="563"/>
                    <a:pt x="38805" y="563"/>
                  </a:cubicBezTo>
                  <a:cubicBezTo>
                    <a:pt x="36417" y="1690"/>
                    <a:pt x="36417" y="1690"/>
                    <a:pt x="36417" y="1690"/>
                  </a:cubicBezTo>
                  <a:cubicBezTo>
                    <a:pt x="34029" y="2253"/>
                    <a:pt x="34029" y="2253"/>
                    <a:pt x="34029" y="2253"/>
                  </a:cubicBezTo>
                  <a:cubicBezTo>
                    <a:pt x="31044" y="3380"/>
                    <a:pt x="31044" y="3380"/>
                    <a:pt x="31044" y="3380"/>
                  </a:cubicBezTo>
                  <a:cubicBezTo>
                    <a:pt x="28059" y="5070"/>
                    <a:pt x="28059" y="5070"/>
                    <a:pt x="28059" y="5070"/>
                  </a:cubicBezTo>
                  <a:cubicBezTo>
                    <a:pt x="23283" y="7323"/>
                    <a:pt x="23283" y="7323"/>
                    <a:pt x="23283" y="7323"/>
                  </a:cubicBezTo>
                  <a:cubicBezTo>
                    <a:pt x="22089" y="9014"/>
                    <a:pt x="22089" y="9014"/>
                    <a:pt x="22089" y="9014"/>
                  </a:cubicBezTo>
                  <a:cubicBezTo>
                    <a:pt x="19701" y="9014"/>
                    <a:pt x="19701" y="9014"/>
                    <a:pt x="19701" y="9014"/>
                  </a:cubicBezTo>
                  <a:cubicBezTo>
                    <a:pt x="16716" y="7887"/>
                    <a:pt x="16716" y="7887"/>
                    <a:pt x="16716" y="7887"/>
                  </a:cubicBezTo>
                  <a:cubicBezTo>
                    <a:pt x="14925" y="6197"/>
                    <a:pt x="14925" y="6197"/>
                    <a:pt x="14925" y="6197"/>
                  </a:cubicBezTo>
                  <a:cubicBezTo>
                    <a:pt x="12537" y="8450"/>
                    <a:pt x="12537" y="8450"/>
                    <a:pt x="12537" y="8450"/>
                  </a:cubicBezTo>
                  <a:cubicBezTo>
                    <a:pt x="11940" y="24225"/>
                    <a:pt x="11940" y="24225"/>
                    <a:pt x="11940" y="24225"/>
                  </a:cubicBezTo>
                  <a:cubicBezTo>
                    <a:pt x="4179" y="28732"/>
                    <a:pt x="4179" y="28732"/>
                    <a:pt x="4179" y="28732"/>
                  </a:cubicBezTo>
                  <a:cubicBezTo>
                    <a:pt x="2985" y="30985"/>
                    <a:pt x="2985" y="30985"/>
                    <a:pt x="2985" y="30985"/>
                  </a:cubicBezTo>
                  <a:cubicBezTo>
                    <a:pt x="0" y="37183"/>
                    <a:pt x="0" y="37183"/>
                    <a:pt x="0" y="37183"/>
                  </a:cubicBezTo>
                  <a:cubicBezTo>
                    <a:pt x="2985" y="40563"/>
                    <a:pt x="2985" y="40563"/>
                    <a:pt x="2985" y="40563"/>
                  </a:cubicBezTo>
                  <a:cubicBezTo>
                    <a:pt x="4179" y="40563"/>
                    <a:pt x="4179" y="40563"/>
                    <a:pt x="4179" y="40563"/>
                  </a:cubicBezTo>
                  <a:cubicBezTo>
                    <a:pt x="2985" y="50140"/>
                    <a:pt x="2985" y="50140"/>
                    <a:pt x="2985" y="50140"/>
                  </a:cubicBezTo>
                  <a:cubicBezTo>
                    <a:pt x="2388" y="60281"/>
                    <a:pt x="2388" y="60281"/>
                    <a:pt x="2388" y="60281"/>
                  </a:cubicBezTo>
                  <a:cubicBezTo>
                    <a:pt x="5970" y="63098"/>
                    <a:pt x="5970" y="63098"/>
                    <a:pt x="5970" y="63098"/>
                  </a:cubicBezTo>
                  <a:cubicBezTo>
                    <a:pt x="11343" y="65915"/>
                    <a:pt x="11343" y="65915"/>
                    <a:pt x="11343" y="65915"/>
                  </a:cubicBezTo>
                  <a:cubicBezTo>
                    <a:pt x="19701" y="70422"/>
                    <a:pt x="19701" y="70422"/>
                    <a:pt x="19701" y="70422"/>
                  </a:cubicBezTo>
                  <a:cubicBezTo>
                    <a:pt x="25074" y="76056"/>
                    <a:pt x="25074" y="76056"/>
                    <a:pt x="25074" y="76056"/>
                  </a:cubicBezTo>
                  <a:cubicBezTo>
                    <a:pt x="26865" y="78309"/>
                    <a:pt x="26865" y="78309"/>
                    <a:pt x="26865" y="78309"/>
                  </a:cubicBezTo>
                  <a:cubicBezTo>
                    <a:pt x="31044" y="81126"/>
                    <a:pt x="31044" y="81126"/>
                    <a:pt x="31044" y="81126"/>
                  </a:cubicBezTo>
                  <a:cubicBezTo>
                    <a:pt x="35820" y="85633"/>
                    <a:pt x="35820" y="85633"/>
                    <a:pt x="35820" y="85633"/>
                  </a:cubicBezTo>
                  <a:cubicBezTo>
                    <a:pt x="36417" y="89577"/>
                    <a:pt x="36417" y="89577"/>
                    <a:pt x="36417" y="89577"/>
                  </a:cubicBezTo>
                  <a:cubicBezTo>
                    <a:pt x="35820" y="93521"/>
                    <a:pt x="35820" y="93521"/>
                    <a:pt x="35820" y="93521"/>
                  </a:cubicBezTo>
                  <a:cubicBezTo>
                    <a:pt x="37611" y="97464"/>
                    <a:pt x="37611" y="97464"/>
                    <a:pt x="37611" y="97464"/>
                  </a:cubicBezTo>
                  <a:cubicBezTo>
                    <a:pt x="38805" y="99154"/>
                    <a:pt x="38805" y="99154"/>
                    <a:pt x="38805" y="99154"/>
                  </a:cubicBezTo>
                  <a:cubicBezTo>
                    <a:pt x="38805" y="103098"/>
                    <a:pt x="38805" y="103098"/>
                    <a:pt x="38805" y="103098"/>
                  </a:cubicBezTo>
                  <a:cubicBezTo>
                    <a:pt x="38805" y="105352"/>
                    <a:pt x="38805" y="105352"/>
                    <a:pt x="38805" y="105352"/>
                  </a:cubicBezTo>
                  <a:cubicBezTo>
                    <a:pt x="38805" y="108732"/>
                    <a:pt x="38805" y="108732"/>
                    <a:pt x="38805" y="108732"/>
                  </a:cubicBezTo>
                  <a:cubicBezTo>
                    <a:pt x="40000" y="111549"/>
                    <a:pt x="40000" y="111549"/>
                    <a:pt x="40000" y="111549"/>
                  </a:cubicBezTo>
                  <a:cubicBezTo>
                    <a:pt x="40000" y="114366"/>
                    <a:pt x="40000" y="114366"/>
                    <a:pt x="40000" y="114366"/>
                  </a:cubicBezTo>
                  <a:cubicBezTo>
                    <a:pt x="42985" y="114366"/>
                    <a:pt x="42985" y="114366"/>
                    <a:pt x="42985" y="114366"/>
                  </a:cubicBezTo>
                  <a:cubicBezTo>
                    <a:pt x="42985" y="114366"/>
                    <a:pt x="45373" y="116619"/>
                    <a:pt x="45970" y="116619"/>
                  </a:cubicBezTo>
                  <a:cubicBezTo>
                    <a:pt x="46567" y="116619"/>
                    <a:pt x="48955" y="117746"/>
                    <a:pt x="48955" y="117746"/>
                  </a:cubicBezTo>
                  <a:cubicBezTo>
                    <a:pt x="50746" y="119999"/>
                    <a:pt x="50746" y="119999"/>
                    <a:pt x="50746" y="119999"/>
                  </a:cubicBezTo>
                  <a:cubicBezTo>
                    <a:pt x="109850" y="116619"/>
                    <a:pt x="109850" y="116619"/>
                    <a:pt x="109850" y="116619"/>
                  </a:cubicBezTo>
                  <a:cubicBezTo>
                    <a:pt x="109850" y="109859"/>
                    <a:pt x="109850" y="109859"/>
                    <a:pt x="109850" y="109859"/>
                  </a:cubicBezTo>
                  <a:cubicBezTo>
                    <a:pt x="109850" y="107605"/>
                    <a:pt x="109850" y="107605"/>
                    <a:pt x="109850" y="107605"/>
                  </a:cubicBezTo>
                  <a:cubicBezTo>
                    <a:pt x="106865" y="100845"/>
                    <a:pt x="106865" y="100845"/>
                    <a:pt x="106865" y="100845"/>
                  </a:cubicBezTo>
                  <a:cubicBezTo>
                    <a:pt x="106268" y="96901"/>
                    <a:pt x="106268" y="96901"/>
                    <a:pt x="106268" y="96901"/>
                  </a:cubicBezTo>
                  <a:cubicBezTo>
                    <a:pt x="106865" y="92394"/>
                    <a:pt x="106865" y="92394"/>
                    <a:pt x="106865" y="92394"/>
                  </a:cubicBezTo>
                  <a:cubicBezTo>
                    <a:pt x="108059" y="89014"/>
                    <a:pt x="108059" y="89014"/>
                    <a:pt x="108059" y="89014"/>
                  </a:cubicBezTo>
                  <a:cubicBezTo>
                    <a:pt x="108656" y="87323"/>
                    <a:pt x="108656" y="87323"/>
                    <a:pt x="108656" y="87323"/>
                  </a:cubicBezTo>
                  <a:cubicBezTo>
                    <a:pt x="109850" y="85633"/>
                    <a:pt x="109850" y="85633"/>
                    <a:pt x="109850" y="85633"/>
                  </a:cubicBezTo>
                  <a:cubicBezTo>
                    <a:pt x="108656" y="82816"/>
                    <a:pt x="108656" y="82816"/>
                    <a:pt x="108656" y="82816"/>
                  </a:cubicBezTo>
                  <a:cubicBezTo>
                    <a:pt x="108656" y="78873"/>
                    <a:pt x="108656" y="78873"/>
                    <a:pt x="108656" y="78873"/>
                  </a:cubicBezTo>
                  <a:cubicBezTo>
                    <a:pt x="108656" y="76619"/>
                    <a:pt x="108656" y="76619"/>
                    <a:pt x="108656" y="76619"/>
                  </a:cubicBezTo>
                  <a:cubicBezTo>
                    <a:pt x="109850" y="74929"/>
                    <a:pt x="109850" y="74929"/>
                    <a:pt x="109850" y="74929"/>
                  </a:cubicBezTo>
                  <a:cubicBezTo>
                    <a:pt x="109850" y="73802"/>
                    <a:pt x="109850" y="73802"/>
                    <a:pt x="109850" y="73802"/>
                  </a:cubicBezTo>
                  <a:cubicBezTo>
                    <a:pt x="112238" y="71549"/>
                    <a:pt x="112238" y="71549"/>
                    <a:pt x="112238" y="71549"/>
                  </a:cubicBezTo>
                  <a:cubicBezTo>
                    <a:pt x="112238" y="70422"/>
                    <a:pt x="112238" y="70422"/>
                    <a:pt x="112238" y="70422"/>
                  </a:cubicBezTo>
                  <a:cubicBezTo>
                    <a:pt x="111044" y="68169"/>
                    <a:pt x="111044" y="68169"/>
                    <a:pt x="111044" y="68169"/>
                  </a:cubicBezTo>
                  <a:cubicBezTo>
                    <a:pt x="111044" y="66478"/>
                    <a:pt x="111044" y="66478"/>
                    <a:pt x="111044" y="66478"/>
                  </a:cubicBezTo>
                  <a:cubicBezTo>
                    <a:pt x="111641" y="61971"/>
                    <a:pt x="111641" y="61971"/>
                    <a:pt x="111641" y="61971"/>
                  </a:cubicBezTo>
                  <a:cubicBezTo>
                    <a:pt x="112238" y="59154"/>
                    <a:pt x="112238" y="59154"/>
                    <a:pt x="112238" y="59154"/>
                  </a:cubicBezTo>
                  <a:cubicBezTo>
                    <a:pt x="114029" y="55774"/>
                    <a:pt x="114029" y="55774"/>
                    <a:pt x="114029" y="55774"/>
                  </a:cubicBezTo>
                  <a:cubicBezTo>
                    <a:pt x="117014" y="50140"/>
                    <a:pt x="117014" y="50140"/>
                    <a:pt x="117014" y="50140"/>
                  </a:cubicBezTo>
                  <a:cubicBezTo>
                    <a:pt x="117611" y="47887"/>
                    <a:pt x="117611" y="47887"/>
                    <a:pt x="117611" y="47887"/>
                  </a:cubicBezTo>
                  <a:cubicBezTo>
                    <a:pt x="117611" y="46197"/>
                    <a:pt x="117611" y="46197"/>
                    <a:pt x="117611" y="46197"/>
                  </a:cubicBezTo>
                  <a:cubicBezTo>
                    <a:pt x="120000" y="45633"/>
                    <a:pt x="120000" y="45633"/>
                    <a:pt x="120000" y="45633"/>
                  </a:cubicBezTo>
                  <a:cubicBezTo>
                    <a:pt x="120000" y="44507"/>
                    <a:pt x="120000" y="44507"/>
                    <a:pt x="120000" y="44507"/>
                  </a:cubicBezTo>
                  <a:cubicBezTo>
                    <a:pt x="120000" y="43380"/>
                    <a:pt x="120000" y="43380"/>
                    <a:pt x="120000" y="43380"/>
                  </a:cubicBezTo>
                  <a:cubicBezTo>
                    <a:pt x="120000" y="42253"/>
                    <a:pt x="120000" y="42253"/>
                    <a:pt x="120000" y="42253"/>
                  </a:cubicBezTo>
                  <a:cubicBezTo>
                    <a:pt x="120000" y="41126"/>
                    <a:pt x="120000" y="41126"/>
                    <a:pt x="120000" y="41126"/>
                  </a:cubicBezTo>
                  <a:cubicBezTo>
                    <a:pt x="120000" y="40000"/>
                    <a:pt x="120000" y="40000"/>
                    <a:pt x="120000" y="40000"/>
                  </a:cubicBezTo>
                  <a:cubicBezTo>
                    <a:pt x="117611" y="42253"/>
                    <a:pt x="117611" y="42253"/>
                    <a:pt x="117611" y="42253"/>
                  </a:cubicBezTo>
                  <a:cubicBezTo>
                    <a:pt x="115820" y="44507"/>
                    <a:pt x="115820" y="44507"/>
                    <a:pt x="115820" y="44507"/>
                  </a:cubicBezTo>
                  <a:cubicBezTo>
                    <a:pt x="115223" y="47323"/>
                    <a:pt x="115223" y="47323"/>
                    <a:pt x="115223" y="47323"/>
                  </a:cubicBezTo>
                  <a:cubicBezTo>
                    <a:pt x="113432" y="50704"/>
                    <a:pt x="113432" y="50704"/>
                    <a:pt x="113432" y="50704"/>
                  </a:cubicBezTo>
                  <a:cubicBezTo>
                    <a:pt x="111641" y="51830"/>
                    <a:pt x="111641" y="51830"/>
                    <a:pt x="111641" y="51830"/>
                  </a:cubicBezTo>
                  <a:cubicBezTo>
                    <a:pt x="108059" y="53521"/>
                    <a:pt x="108059" y="53521"/>
                    <a:pt x="108059" y="53521"/>
                  </a:cubicBezTo>
                  <a:cubicBezTo>
                    <a:pt x="106268" y="55774"/>
                    <a:pt x="106268" y="55774"/>
                    <a:pt x="106268" y="55774"/>
                  </a:cubicBezTo>
                  <a:cubicBezTo>
                    <a:pt x="105671" y="56901"/>
                    <a:pt x="105671" y="56901"/>
                    <a:pt x="105671" y="56901"/>
                  </a:cubicBezTo>
                  <a:cubicBezTo>
                    <a:pt x="104477" y="59154"/>
                    <a:pt x="104477" y="59154"/>
                    <a:pt x="104477" y="59154"/>
                  </a:cubicBezTo>
                  <a:cubicBezTo>
                    <a:pt x="102089" y="61971"/>
                    <a:pt x="102089" y="61971"/>
                    <a:pt x="102089" y="61971"/>
                  </a:cubicBezTo>
                  <a:cubicBezTo>
                    <a:pt x="100298" y="60281"/>
                    <a:pt x="100298" y="60281"/>
                    <a:pt x="100298" y="60281"/>
                  </a:cubicBezTo>
                  <a:cubicBezTo>
                    <a:pt x="102089" y="58028"/>
                    <a:pt x="102089" y="58028"/>
                    <a:pt x="102089" y="58028"/>
                  </a:cubicBezTo>
                  <a:cubicBezTo>
                    <a:pt x="103283" y="54084"/>
                    <a:pt x="103283" y="54084"/>
                    <a:pt x="103283" y="54084"/>
                  </a:cubicBezTo>
                  <a:cubicBezTo>
                    <a:pt x="103880" y="52394"/>
                    <a:pt x="103880" y="52394"/>
                    <a:pt x="103880" y="52394"/>
                  </a:cubicBezTo>
                  <a:cubicBezTo>
                    <a:pt x="104477" y="51267"/>
                    <a:pt x="104477" y="51267"/>
                    <a:pt x="104477" y="51267"/>
                  </a:cubicBezTo>
                  <a:cubicBezTo>
                    <a:pt x="105671" y="50140"/>
                    <a:pt x="105671" y="50140"/>
                    <a:pt x="105671" y="50140"/>
                  </a:cubicBezTo>
                  <a:cubicBezTo>
                    <a:pt x="106865" y="49014"/>
                    <a:pt x="106865" y="49014"/>
                    <a:pt x="106865" y="49014"/>
                  </a:cubicBezTo>
                  <a:cubicBezTo>
                    <a:pt x="107462" y="47887"/>
                    <a:pt x="107462" y="47887"/>
                    <a:pt x="107462" y="47887"/>
                  </a:cubicBezTo>
                  <a:cubicBezTo>
                    <a:pt x="106865" y="45070"/>
                    <a:pt x="106865" y="45070"/>
                    <a:pt x="106865" y="45070"/>
                  </a:cubicBezTo>
                  <a:cubicBezTo>
                    <a:pt x="107462" y="43943"/>
                    <a:pt x="107462" y="43943"/>
                    <a:pt x="107462" y="43943"/>
                  </a:cubicBezTo>
                  <a:cubicBezTo>
                    <a:pt x="106865" y="42816"/>
                    <a:pt x="106865" y="42816"/>
                    <a:pt x="106865" y="42816"/>
                  </a:cubicBezTo>
                  <a:lnTo>
                    <a:pt x="106268" y="38873"/>
                  </a:ln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1" name="Shape 1435">
              <a:extLst>
                <a:ext uri="{FF2B5EF4-FFF2-40B4-BE49-F238E27FC236}">
                  <a16:creationId xmlns:a16="http://schemas.microsoft.com/office/drawing/2014/main" id="{F59E3846-75C7-3EAB-4474-67E52D614E28}"/>
                </a:ext>
              </a:extLst>
            </p:cNvPr>
            <p:cNvSpPr/>
            <p:nvPr/>
          </p:nvSpPr>
          <p:spPr>
            <a:xfrm>
              <a:off x="9649540" y="4150592"/>
              <a:ext cx="423578" cy="344549"/>
            </a:xfrm>
            <a:custGeom>
              <a:avLst/>
              <a:gdLst/>
              <a:ahLst/>
              <a:cxnLst/>
              <a:rect l="0" t="0" r="0" b="0"/>
              <a:pathLst>
                <a:path w="120000" h="120000" extrusionOk="0">
                  <a:moveTo>
                    <a:pt x="98181" y="113647"/>
                  </a:moveTo>
                  <a:cubicBezTo>
                    <a:pt x="101818" y="108705"/>
                    <a:pt x="101818" y="108705"/>
                    <a:pt x="101818" y="108705"/>
                  </a:cubicBezTo>
                  <a:cubicBezTo>
                    <a:pt x="103376" y="105882"/>
                    <a:pt x="103376" y="105882"/>
                    <a:pt x="103376" y="105882"/>
                  </a:cubicBezTo>
                  <a:cubicBezTo>
                    <a:pt x="104415" y="105882"/>
                    <a:pt x="104415" y="105882"/>
                    <a:pt x="104415" y="105882"/>
                  </a:cubicBezTo>
                  <a:cubicBezTo>
                    <a:pt x="104935" y="100235"/>
                    <a:pt x="104935" y="100235"/>
                    <a:pt x="104935" y="100235"/>
                  </a:cubicBezTo>
                  <a:cubicBezTo>
                    <a:pt x="107012" y="98117"/>
                    <a:pt x="107012" y="98117"/>
                    <a:pt x="107012" y="98117"/>
                  </a:cubicBezTo>
                  <a:cubicBezTo>
                    <a:pt x="105974" y="96000"/>
                    <a:pt x="105974" y="96000"/>
                    <a:pt x="105974" y="96000"/>
                  </a:cubicBezTo>
                  <a:cubicBezTo>
                    <a:pt x="103896" y="90352"/>
                    <a:pt x="103896" y="90352"/>
                    <a:pt x="103896" y="90352"/>
                  </a:cubicBezTo>
                  <a:cubicBezTo>
                    <a:pt x="103896" y="87529"/>
                    <a:pt x="103896" y="87529"/>
                    <a:pt x="103896" y="87529"/>
                  </a:cubicBezTo>
                  <a:cubicBezTo>
                    <a:pt x="103896" y="84705"/>
                    <a:pt x="103896" y="84705"/>
                    <a:pt x="103896" y="84705"/>
                  </a:cubicBezTo>
                  <a:cubicBezTo>
                    <a:pt x="105974" y="83294"/>
                    <a:pt x="105974" y="83294"/>
                    <a:pt x="105974" y="83294"/>
                  </a:cubicBezTo>
                  <a:cubicBezTo>
                    <a:pt x="109610" y="83294"/>
                    <a:pt x="109610" y="83294"/>
                    <a:pt x="109610" y="83294"/>
                  </a:cubicBezTo>
                  <a:cubicBezTo>
                    <a:pt x="113246" y="81176"/>
                    <a:pt x="113246" y="81176"/>
                    <a:pt x="113246" y="81176"/>
                  </a:cubicBezTo>
                  <a:cubicBezTo>
                    <a:pt x="114285" y="79764"/>
                    <a:pt x="114285" y="79764"/>
                    <a:pt x="114285" y="79764"/>
                  </a:cubicBezTo>
                  <a:cubicBezTo>
                    <a:pt x="115844" y="77647"/>
                    <a:pt x="115844" y="77647"/>
                    <a:pt x="115844" y="77647"/>
                  </a:cubicBezTo>
                  <a:cubicBezTo>
                    <a:pt x="117402" y="71294"/>
                    <a:pt x="117402" y="71294"/>
                    <a:pt x="117402" y="71294"/>
                  </a:cubicBezTo>
                  <a:cubicBezTo>
                    <a:pt x="118961" y="68470"/>
                    <a:pt x="118961" y="68470"/>
                    <a:pt x="118961" y="68470"/>
                  </a:cubicBezTo>
                  <a:cubicBezTo>
                    <a:pt x="119999" y="63529"/>
                    <a:pt x="119999" y="63529"/>
                    <a:pt x="119999" y="63529"/>
                  </a:cubicBezTo>
                  <a:cubicBezTo>
                    <a:pt x="119999" y="61411"/>
                    <a:pt x="119999" y="61411"/>
                    <a:pt x="119999" y="61411"/>
                  </a:cubicBezTo>
                  <a:cubicBezTo>
                    <a:pt x="116883" y="57176"/>
                    <a:pt x="116883" y="57176"/>
                    <a:pt x="116883" y="57176"/>
                  </a:cubicBezTo>
                  <a:cubicBezTo>
                    <a:pt x="113766" y="53647"/>
                    <a:pt x="113766" y="53647"/>
                    <a:pt x="113766" y="53647"/>
                  </a:cubicBezTo>
                  <a:cubicBezTo>
                    <a:pt x="111688" y="50823"/>
                    <a:pt x="111688" y="50823"/>
                    <a:pt x="111688" y="50823"/>
                  </a:cubicBezTo>
                  <a:cubicBezTo>
                    <a:pt x="109610" y="48705"/>
                    <a:pt x="109610" y="48705"/>
                    <a:pt x="109610" y="48705"/>
                  </a:cubicBezTo>
                  <a:cubicBezTo>
                    <a:pt x="109610" y="46588"/>
                    <a:pt x="109610" y="46588"/>
                    <a:pt x="109610" y="46588"/>
                  </a:cubicBezTo>
                  <a:cubicBezTo>
                    <a:pt x="110129" y="44470"/>
                    <a:pt x="110129" y="44470"/>
                    <a:pt x="110129" y="44470"/>
                  </a:cubicBezTo>
                  <a:cubicBezTo>
                    <a:pt x="111168" y="45882"/>
                    <a:pt x="111168" y="45882"/>
                    <a:pt x="111168" y="45882"/>
                  </a:cubicBezTo>
                  <a:cubicBezTo>
                    <a:pt x="109610" y="43058"/>
                    <a:pt x="109610" y="43058"/>
                    <a:pt x="109610" y="43058"/>
                  </a:cubicBezTo>
                  <a:cubicBezTo>
                    <a:pt x="109610" y="43058"/>
                    <a:pt x="107532" y="41647"/>
                    <a:pt x="107012" y="41647"/>
                  </a:cubicBezTo>
                  <a:cubicBezTo>
                    <a:pt x="106493" y="41647"/>
                    <a:pt x="104415" y="38823"/>
                    <a:pt x="104415" y="38823"/>
                  </a:cubicBezTo>
                  <a:cubicBezTo>
                    <a:pt x="101818" y="38823"/>
                    <a:pt x="101818" y="38823"/>
                    <a:pt x="101818" y="38823"/>
                  </a:cubicBezTo>
                  <a:cubicBezTo>
                    <a:pt x="101818" y="35294"/>
                    <a:pt x="101818" y="35294"/>
                    <a:pt x="101818" y="35294"/>
                  </a:cubicBezTo>
                  <a:cubicBezTo>
                    <a:pt x="100779" y="31764"/>
                    <a:pt x="100779" y="31764"/>
                    <a:pt x="100779" y="31764"/>
                  </a:cubicBezTo>
                  <a:cubicBezTo>
                    <a:pt x="100779" y="27529"/>
                    <a:pt x="100779" y="27529"/>
                    <a:pt x="100779" y="27529"/>
                  </a:cubicBezTo>
                  <a:cubicBezTo>
                    <a:pt x="100779" y="24705"/>
                    <a:pt x="100779" y="24705"/>
                    <a:pt x="100779" y="24705"/>
                  </a:cubicBezTo>
                  <a:cubicBezTo>
                    <a:pt x="100779" y="19764"/>
                    <a:pt x="100779" y="19764"/>
                    <a:pt x="100779" y="19764"/>
                  </a:cubicBezTo>
                  <a:cubicBezTo>
                    <a:pt x="99740" y="17647"/>
                    <a:pt x="99740" y="17647"/>
                    <a:pt x="99740" y="17647"/>
                  </a:cubicBezTo>
                  <a:cubicBezTo>
                    <a:pt x="98181" y="12705"/>
                    <a:pt x="98181" y="12705"/>
                    <a:pt x="98181" y="12705"/>
                  </a:cubicBezTo>
                  <a:cubicBezTo>
                    <a:pt x="3636" y="15529"/>
                    <a:pt x="3636" y="15529"/>
                    <a:pt x="3636" y="15529"/>
                  </a:cubicBezTo>
                  <a:cubicBezTo>
                    <a:pt x="4155" y="0"/>
                    <a:pt x="4155" y="0"/>
                    <a:pt x="4155" y="0"/>
                  </a:cubicBezTo>
                  <a:cubicBezTo>
                    <a:pt x="4155" y="0"/>
                    <a:pt x="4155" y="0"/>
                    <a:pt x="4155" y="0"/>
                  </a:cubicBezTo>
                  <a:cubicBezTo>
                    <a:pt x="3636" y="16235"/>
                    <a:pt x="3636" y="16235"/>
                    <a:pt x="3636" y="16235"/>
                  </a:cubicBezTo>
                  <a:cubicBezTo>
                    <a:pt x="2077" y="16235"/>
                    <a:pt x="2077" y="16235"/>
                    <a:pt x="2077" y="16235"/>
                  </a:cubicBezTo>
                  <a:cubicBezTo>
                    <a:pt x="2077" y="18352"/>
                    <a:pt x="2077" y="18352"/>
                    <a:pt x="2077" y="18352"/>
                  </a:cubicBezTo>
                  <a:cubicBezTo>
                    <a:pt x="1558" y="21882"/>
                    <a:pt x="1558" y="21882"/>
                    <a:pt x="1558" y="21882"/>
                  </a:cubicBezTo>
                  <a:cubicBezTo>
                    <a:pt x="2597" y="22588"/>
                    <a:pt x="2597" y="22588"/>
                    <a:pt x="2597" y="22588"/>
                  </a:cubicBezTo>
                  <a:cubicBezTo>
                    <a:pt x="3636" y="26117"/>
                    <a:pt x="3636" y="26117"/>
                    <a:pt x="3636" y="26117"/>
                  </a:cubicBezTo>
                  <a:cubicBezTo>
                    <a:pt x="3636" y="28941"/>
                    <a:pt x="3636" y="28941"/>
                    <a:pt x="3636" y="28941"/>
                  </a:cubicBezTo>
                  <a:cubicBezTo>
                    <a:pt x="2597" y="29647"/>
                    <a:pt x="2597" y="29647"/>
                    <a:pt x="2597" y="29647"/>
                  </a:cubicBezTo>
                  <a:cubicBezTo>
                    <a:pt x="2077" y="31764"/>
                    <a:pt x="2077" y="31764"/>
                    <a:pt x="2077" y="31764"/>
                  </a:cubicBezTo>
                  <a:cubicBezTo>
                    <a:pt x="2077" y="36705"/>
                    <a:pt x="2077" y="36705"/>
                    <a:pt x="2077" y="36705"/>
                  </a:cubicBezTo>
                  <a:cubicBezTo>
                    <a:pt x="519" y="37411"/>
                    <a:pt x="519" y="37411"/>
                    <a:pt x="519" y="37411"/>
                  </a:cubicBezTo>
                  <a:cubicBezTo>
                    <a:pt x="0" y="39529"/>
                    <a:pt x="0" y="39529"/>
                    <a:pt x="0" y="39529"/>
                  </a:cubicBezTo>
                  <a:cubicBezTo>
                    <a:pt x="0" y="41647"/>
                    <a:pt x="0" y="41647"/>
                    <a:pt x="0" y="41647"/>
                  </a:cubicBezTo>
                  <a:cubicBezTo>
                    <a:pt x="2077" y="43764"/>
                    <a:pt x="2077" y="43764"/>
                    <a:pt x="2077" y="43764"/>
                  </a:cubicBezTo>
                  <a:cubicBezTo>
                    <a:pt x="2077" y="46588"/>
                    <a:pt x="2077" y="46588"/>
                    <a:pt x="2077" y="46588"/>
                  </a:cubicBezTo>
                  <a:cubicBezTo>
                    <a:pt x="2077" y="48705"/>
                    <a:pt x="2077" y="48705"/>
                    <a:pt x="2077" y="48705"/>
                  </a:cubicBezTo>
                  <a:cubicBezTo>
                    <a:pt x="1558" y="47294"/>
                    <a:pt x="1558" y="47294"/>
                    <a:pt x="1558" y="47294"/>
                  </a:cubicBezTo>
                  <a:cubicBezTo>
                    <a:pt x="3116" y="50117"/>
                    <a:pt x="3116" y="50117"/>
                    <a:pt x="3116" y="50117"/>
                  </a:cubicBezTo>
                  <a:cubicBezTo>
                    <a:pt x="4675" y="56470"/>
                    <a:pt x="4675" y="56470"/>
                    <a:pt x="4675" y="56470"/>
                  </a:cubicBezTo>
                  <a:cubicBezTo>
                    <a:pt x="6233" y="60000"/>
                    <a:pt x="6233" y="60000"/>
                    <a:pt x="6233" y="60000"/>
                  </a:cubicBezTo>
                  <a:cubicBezTo>
                    <a:pt x="7272" y="64235"/>
                    <a:pt x="7272" y="64235"/>
                    <a:pt x="7272" y="64235"/>
                  </a:cubicBezTo>
                  <a:cubicBezTo>
                    <a:pt x="8311" y="67764"/>
                    <a:pt x="8311" y="67764"/>
                    <a:pt x="8311" y="67764"/>
                  </a:cubicBezTo>
                  <a:cubicBezTo>
                    <a:pt x="9350" y="69882"/>
                    <a:pt x="9350" y="69882"/>
                    <a:pt x="9350" y="69882"/>
                  </a:cubicBezTo>
                  <a:cubicBezTo>
                    <a:pt x="9870" y="72000"/>
                    <a:pt x="9870" y="72000"/>
                    <a:pt x="9870" y="72000"/>
                  </a:cubicBezTo>
                  <a:cubicBezTo>
                    <a:pt x="10389" y="72705"/>
                    <a:pt x="10389" y="72705"/>
                    <a:pt x="10389" y="72705"/>
                  </a:cubicBezTo>
                  <a:cubicBezTo>
                    <a:pt x="10389" y="73411"/>
                    <a:pt x="10389" y="73411"/>
                    <a:pt x="10389" y="73411"/>
                  </a:cubicBezTo>
                  <a:cubicBezTo>
                    <a:pt x="8831" y="74117"/>
                    <a:pt x="8831" y="74117"/>
                    <a:pt x="8831" y="74117"/>
                  </a:cubicBezTo>
                  <a:cubicBezTo>
                    <a:pt x="9350" y="76941"/>
                    <a:pt x="9350" y="76941"/>
                    <a:pt x="9350" y="76941"/>
                  </a:cubicBezTo>
                  <a:cubicBezTo>
                    <a:pt x="9870" y="80470"/>
                    <a:pt x="9870" y="80470"/>
                    <a:pt x="9870" y="80470"/>
                  </a:cubicBezTo>
                  <a:cubicBezTo>
                    <a:pt x="10389" y="81882"/>
                    <a:pt x="10389" y="81882"/>
                    <a:pt x="10389" y="81882"/>
                  </a:cubicBezTo>
                  <a:cubicBezTo>
                    <a:pt x="11428" y="81882"/>
                    <a:pt x="11428" y="81882"/>
                    <a:pt x="11428" y="81882"/>
                  </a:cubicBezTo>
                  <a:cubicBezTo>
                    <a:pt x="12467" y="83294"/>
                    <a:pt x="12467" y="83294"/>
                    <a:pt x="12467" y="83294"/>
                  </a:cubicBezTo>
                  <a:cubicBezTo>
                    <a:pt x="13506" y="88235"/>
                    <a:pt x="13506" y="88235"/>
                    <a:pt x="13506" y="88235"/>
                  </a:cubicBezTo>
                  <a:cubicBezTo>
                    <a:pt x="13506" y="95294"/>
                    <a:pt x="13506" y="95294"/>
                    <a:pt x="13506" y="95294"/>
                  </a:cubicBezTo>
                  <a:cubicBezTo>
                    <a:pt x="12987" y="98117"/>
                    <a:pt x="12987" y="98117"/>
                    <a:pt x="12987" y="98117"/>
                  </a:cubicBezTo>
                  <a:cubicBezTo>
                    <a:pt x="14025" y="100235"/>
                    <a:pt x="14025" y="100235"/>
                    <a:pt x="14025" y="100235"/>
                  </a:cubicBezTo>
                  <a:cubicBezTo>
                    <a:pt x="14545" y="101647"/>
                    <a:pt x="14545" y="101647"/>
                    <a:pt x="14545" y="101647"/>
                  </a:cubicBezTo>
                  <a:cubicBezTo>
                    <a:pt x="14545" y="108705"/>
                    <a:pt x="14545" y="108705"/>
                    <a:pt x="14545" y="108705"/>
                  </a:cubicBezTo>
                  <a:cubicBezTo>
                    <a:pt x="15584" y="113647"/>
                    <a:pt x="15584" y="113647"/>
                    <a:pt x="15584" y="113647"/>
                  </a:cubicBezTo>
                  <a:cubicBezTo>
                    <a:pt x="15584" y="114352"/>
                    <a:pt x="15584" y="114352"/>
                    <a:pt x="15584" y="114352"/>
                  </a:cubicBezTo>
                  <a:cubicBezTo>
                    <a:pt x="91428" y="112941"/>
                    <a:pt x="91428" y="112941"/>
                    <a:pt x="91428" y="112941"/>
                  </a:cubicBezTo>
                  <a:cubicBezTo>
                    <a:pt x="97662" y="120000"/>
                    <a:pt x="97662" y="120000"/>
                    <a:pt x="97662" y="120000"/>
                  </a:cubicBezTo>
                  <a:cubicBezTo>
                    <a:pt x="98701" y="118588"/>
                    <a:pt x="98701" y="118588"/>
                    <a:pt x="98701" y="118588"/>
                  </a:cubicBezTo>
                  <a:lnTo>
                    <a:pt x="98181" y="113647"/>
                  </a:lnTo>
                  <a:close/>
                </a:path>
              </a:pathLst>
            </a:custGeom>
            <a:solidFill>
              <a:srgbClr val="0070C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2" name="Freeform 47">
              <a:extLst>
                <a:ext uri="{FF2B5EF4-FFF2-40B4-BE49-F238E27FC236}">
                  <a16:creationId xmlns:a16="http://schemas.microsoft.com/office/drawing/2014/main" id="{88E94663-C032-B779-A7C8-7EF30E0E748E}"/>
                </a:ext>
              </a:extLst>
            </p:cNvPr>
            <p:cNvSpPr>
              <a:spLocks/>
            </p:cNvSpPr>
            <p:nvPr/>
          </p:nvSpPr>
          <p:spPr bwMode="auto">
            <a:xfrm rot="21097436">
              <a:off x="8067665" y="3254894"/>
              <a:ext cx="13905" cy="30470"/>
            </a:xfrm>
            <a:custGeom>
              <a:avLst/>
              <a:gdLst>
                <a:gd name="T0" fmla="*/ 28465 w 6"/>
                <a:gd name="T1" fmla="*/ 32370 h 12"/>
                <a:gd name="T2" fmla="*/ 21349 w 6"/>
                <a:gd name="T3" fmla="*/ 12948 h 12"/>
                <a:gd name="T4" fmla="*/ 7116 w 6"/>
                <a:gd name="T5" fmla="*/ 32370 h 12"/>
                <a:gd name="T6" fmla="*/ 14233 w 6"/>
                <a:gd name="T7" fmla="*/ 45318 h 12"/>
                <a:gd name="T8" fmla="*/ 35582 w 6"/>
                <a:gd name="T9" fmla="*/ 71214 h 12"/>
                <a:gd name="T10" fmla="*/ 35582 w 6"/>
                <a:gd name="T11" fmla="*/ 38844 h 12"/>
                <a:gd name="T12" fmla="*/ 28465 w 6"/>
                <a:gd name="T13" fmla="*/ 3237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12">
                  <a:moveTo>
                    <a:pt x="4" y="5"/>
                  </a:moveTo>
                  <a:cubicBezTo>
                    <a:pt x="4" y="4"/>
                    <a:pt x="4" y="2"/>
                    <a:pt x="3" y="2"/>
                  </a:cubicBezTo>
                  <a:cubicBezTo>
                    <a:pt x="0" y="0"/>
                    <a:pt x="0" y="3"/>
                    <a:pt x="1" y="5"/>
                  </a:cubicBezTo>
                  <a:cubicBezTo>
                    <a:pt x="1" y="6"/>
                    <a:pt x="2" y="6"/>
                    <a:pt x="2" y="7"/>
                  </a:cubicBezTo>
                  <a:cubicBezTo>
                    <a:pt x="3" y="8"/>
                    <a:pt x="3" y="12"/>
                    <a:pt x="5" y="11"/>
                  </a:cubicBezTo>
                  <a:cubicBezTo>
                    <a:pt x="6" y="10"/>
                    <a:pt x="5" y="8"/>
                    <a:pt x="5" y="6"/>
                  </a:cubicBezTo>
                  <a:cubicBezTo>
                    <a:pt x="4" y="6"/>
                    <a:pt x="4" y="5"/>
                    <a:pt x="4" y="5"/>
                  </a:cubicBezTo>
                  <a:close/>
                </a:path>
              </a:pathLst>
            </a:custGeom>
            <a:solidFill>
              <a:schemeClr val="tx1">
                <a:lumMod val="50000"/>
                <a:lumOff val="50000"/>
              </a:schemeClr>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73" name="Shape 1385">
              <a:extLst>
                <a:ext uri="{FF2B5EF4-FFF2-40B4-BE49-F238E27FC236}">
                  <a16:creationId xmlns:a16="http://schemas.microsoft.com/office/drawing/2014/main" id="{FBAABCD1-3B7E-D408-F9D3-CE43D672B5D3}"/>
                </a:ext>
              </a:extLst>
            </p:cNvPr>
            <p:cNvSpPr/>
            <p:nvPr/>
          </p:nvSpPr>
          <p:spPr>
            <a:xfrm>
              <a:off x="7995979" y="3359507"/>
              <a:ext cx="477905" cy="420218"/>
            </a:xfrm>
            <a:custGeom>
              <a:avLst/>
              <a:gdLst/>
              <a:ahLst/>
              <a:cxnLst/>
              <a:rect l="0" t="0" r="0" b="0"/>
              <a:pathLst>
                <a:path w="120000" h="120000" extrusionOk="0">
                  <a:moveTo>
                    <a:pt x="120000" y="29684"/>
                  </a:moveTo>
                  <a:cubicBezTo>
                    <a:pt x="120000" y="29684"/>
                    <a:pt x="108793" y="101684"/>
                    <a:pt x="106459" y="105473"/>
                  </a:cubicBezTo>
                  <a:cubicBezTo>
                    <a:pt x="104591" y="109894"/>
                    <a:pt x="106926" y="108631"/>
                    <a:pt x="106926" y="113052"/>
                  </a:cubicBezTo>
                  <a:cubicBezTo>
                    <a:pt x="106926" y="116842"/>
                    <a:pt x="105992" y="120000"/>
                    <a:pt x="105992" y="120000"/>
                  </a:cubicBezTo>
                  <a:cubicBezTo>
                    <a:pt x="75175" y="109263"/>
                    <a:pt x="75175" y="109263"/>
                    <a:pt x="75175" y="109263"/>
                  </a:cubicBezTo>
                  <a:cubicBezTo>
                    <a:pt x="70038" y="108631"/>
                    <a:pt x="70038" y="108631"/>
                    <a:pt x="70038" y="108631"/>
                  </a:cubicBezTo>
                  <a:cubicBezTo>
                    <a:pt x="68171" y="109263"/>
                    <a:pt x="68171" y="109263"/>
                    <a:pt x="68171" y="109263"/>
                  </a:cubicBezTo>
                  <a:cubicBezTo>
                    <a:pt x="65836" y="108631"/>
                    <a:pt x="65836" y="108631"/>
                    <a:pt x="65836" y="108631"/>
                  </a:cubicBezTo>
                  <a:cubicBezTo>
                    <a:pt x="63968" y="109263"/>
                    <a:pt x="63968" y="109263"/>
                    <a:pt x="63968" y="109263"/>
                  </a:cubicBezTo>
                  <a:cubicBezTo>
                    <a:pt x="50428" y="109894"/>
                    <a:pt x="50428" y="109894"/>
                    <a:pt x="50428" y="109894"/>
                  </a:cubicBezTo>
                  <a:cubicBezTo>
                    <a:pt x="49027" y="108631"/>
                    <a:pt x="49027" y="108631"/>
                    <a:pt x="49027" y="108631"/>
                  </a:cubicBezTo>
                  <a:cubicBezTo>
                    <a:pt x="47626" y="109263"/>
                    <a:pt x="47626" y="109263"/>
                    <a:pt x="47626" y="109263"/>
                  </a:cubicBezTo>
                  <a:cubicBezTo>
                    <a:pt x="46225" y="109894"/>
                    <a:pt x="46225" y="109894"/>
                    <a:pt x="46225" y="109894"/>
                  </a:cubicBezTo>
                  <a:cubicBezTo>
                    <a:pt x="45291" y="109894"/>
                    <a:pt x="45291" y="109894"/>
                    <a:pt x="45291" y="109894"/>
                  </a:cubicBezTo>
                  <a:cubicBezTo>
                    <a:pt x="43891" y="109263"/>
                    <a:pt x="43891" y="109263"/>
                    <a:pt x="43891" y="109263"/>
                  </a:cubicBezTo>
                  <a:cubicBezTo>
                    <a:pt x="43891" y="108631"/>
                    <a:pt x="43891" y="108631"/>
                    <a:pt x="43891" y="108631"/>
                  </a:cubicBezTo>
                  <a:cubicBezTo>
                    <a:pt x="41556" y="108631"/>
                    <a:pt x="41556" y="108631"/>
                    <a:pt x="41556" y="108631"/>
                  </a:cubicBezTo>
                  <a:cubicBezTo>
                    <a:pt x="40155" y="108000"/>
                    <a:pt x="40155" y="108000"/>
                    <a:pt x="40155" y="108000"/>
                  </a:cubicBezTo>
                  <a:cubicBezTo>
                    <a:pt x="39688" y="106736"/>
                    <a:pt x="39688" y="106736"/>
                    <a:pt x="39688" y="106736"/>
                  </a:cubicBezTo>
                  <a:cubicBezTo>
                    <a:pt x="39688" y="106105"/>
                    <a:pt x="39688" y="106105"/>
                    <a:pt x="39688" y="106105"/>
                  </a:cubicBezTo>
                  <a:cubicBezTo>
                    <a:pt x="37821" y="105473"/>
                    <a:pt x="37821" y="105473"/>
                    <a:pt x="37821" y="105473"/>
                  </a:cubicBezTo>
                  <a:cubicBezTo>
                    <a:pt x="34085" y="104210"/>
                    <a:pt x="34085" y="104210"/>
                    <a:pt x="34085" y="104210"/>
                  </a:cubicBezTo>
                  <a:cubicBezTo>
                    <a:pt x="31750" y="102947"/>
                    <a:pt x="31750" y="102947"/>
                    <a:pt x="31750" y="102947"/>
                  </a:cubicBezTo>
                  <a:cubicBezTo>
                    <a:pt x="30817" y="102315"/>
                    <a:pt x="30817" y="102315"/>
                    <a:pt x="30817" y="102315"/>
                  </a:cubicBezTo>
                  <a:cubicBezTo>
                    <a:pt x="28015" y="102947"/>
                    <a:pt x="28015" y="102947"/>
                    <a:pt x="28015" y="102947"/>
                  </a:cubicBezTo>
                  <a:cubicBezTo>
                    <a:pt x="23813" y="104210"/>
                    <a:pt x="23813" y="104210"/>
                    <a:pt x="23813" y="104210"/>
                  </a:cubicBezTo>
                  <a:cubicBezTo>
                    <a:pt x="18677" y="102315"/>
                    <a:pt x="18677" y="102315"/>
                    <a:pt x="18677" y="102315"/>
                  </a:cubicBezTo>
                  <a:cubicBezTo>
                    <a:pt x="15408" y="98526"/>
                    <a:pt x="15408" y="98526"/>
                    <a:pt x="15408" y="98526"/>
                  </a:cubicBezTo>
                  <a:cubicBezTo>
                    <a:pt x="15408" y="98526"/>
                    <a:pt x="16809" y="94105"/>
                    <a:pt x="16342" y="88421"/>
                  </a:cubicBezTo>
                  <a:cubicBezTo>
                    <a:pt x="15875" y="82105"/>
                    <a:pt x="13540" y="80842"/>
                    <a:pt x="13540" y="80842"/>
                  </a:cubicBezTo>
                  <a:cubicBezTo>
                    <a:pt x="11206" y="80842"/>
                    <a:pt x="11206" y="80842"/>
                    <a:pt x="11206" y="80842"/>
                  </a:cubicBezTo>
                  <a:cubicBezTo>
                    <a:pt x="9338" y="79578"/>
                    <a:pt x="9338" y="79578"/>
                    <a:pt x="9338" y="79578"/>
                  </a:cubicBezTo>
                  <a:cubicBezTo>
                    <a:pt x="9338" y="79578"/>
                    <a:pt x="9338" y="75789"/>
                    <a:pt x="7003" y="75789"/>
                  </a:cubicBezTo>
                  <a:cubicBezTo>
                    <a:pt x="4669" y="75789"/>
                    <a:pt x="4669" y="75789"/>
                    <a:pt x="4669" y="75789"/>
                  </a:cubicBezTo>
                  <a:cubicBezTo>
                    <a:pt x="1867" y="75157"/>
                    <a:pt x="1867" y="75157"/>
                    <a:pt x="1867" y="75157"/>
                  </a:cubicBezTo>
                  <a:cubicBezTo>
                    <a:pt x="0" y="73263"/>
                    <a:pt x="0" y="73263"/>
                    <a:pt x="0" y="73263"/>
                  </a:cubicBezTo>
                  <a:cubicBezTo>
                    <a:pt x="466" y="68842"/>
                    <a:pt x="466" y="68842"/>
                    <a:pt x="466" y="68842"/>
                  </a:cubicBezTo>
                  <a:cubicBezTo>
                    <a:pt x="1400" y="65052"/>
                    <a:pt x="1400" y="65052"/>
                    <a:pt x="1400" y="65052"/>
                  </a:cubicBezTo>
                  <a:cubicBezTo>
                    <a:pt x="1867" y="64421"/>
                    <a:pt x="1867" y="64421"/>
                    <a:pt x="1867" y="64421"/>
                  </a:cubicBezTo>
                  <a:cubicBezTo>
                    <a:pt x="2334" y="66315"/>
                    <a:pt x="2334" y="66315"/>
                    <a:pt x="2334" y="66315"/>
                  </a:cubicBezTo>
                  <a:cubicBezTo>
                    <a:pt x="2801" y="66947"/>
                    <a:pt x="2801" y="66947"/>
                    <a:pt x="2801" y="66947"/>
                  </a:cubicBezTo>
                  <a:cubicBezTo>
                    <a:pt x="3268" y="66315"/>
                    <a:pt x="3268" y="66315"/>
                    <a:pt x="3268" y="66315"/>
                  </a:cubicBezTo>
                  <a:cubicBezTo>
                    <a:pt x="3268" y="63789"/>
                    <a:pt x="3268" y="63789"/>
                    <a:pt x="3268" y="63789"/>
                  </a:cubicBezTo>
                  <a:cubicBezTo>
                    <a:pt x="5136" y="62526"/>
                    <a:pt x="5136" y="62526"/>
                    <a:pt x="5136" y="62526"/>
                  </a:cubicBezTo>
                  <a:cubicBezTo>
                    <a:pt x="5136" y="61894"/>
                    <a:pt x="5136" y="61894"/>
                    <a:pt x="5136" y="61894"/>
                  </a:cubicBezTo>
                  <a:cubicBezTo>
                    <a:pt x="4202" y="60631"/>
                    <a:pt x="4202" y="60631"/>
                    <a:pt x="4202" y="60631"/>
                  </a:cubicBezTo>
                  <a:cubicBezTo>
                    <a:pt x="3735" y="60000"/>
                    <a:pt x="3735" y="60000"/>
                    <a:pt x="3735" y="60000"/>
                  </a:cubicBezTo>
                  <a:cubicBezTo>
                    <a:pt x="3268" y="55578"/>
                    <a:pt x="3268" y="55578"/>
                    <a:pt x="3268" y="55578"/>
                  </a:cubicBezTo>
                  <a:cubicBezTo>
                    <a:pt x="6536" y="54947"/>
                    <a:pt x="6536" y="54947"/>
                    <a:pt x="6536" y="54947"/>
                  </a:cubicBezTo>
                  <a:cubicBezTo>
                    <a:pt x="7470" y="53684"/>
                    <a:pt x="7470" y="53684"/>
                    <a:pt x="7470" y="53684"/>
                  </a:cubicBezTo>
                  <a:cubicBezTo>
                    <a:pt x="4669" y="50526"/>
                    <a:pt x="4669" y="50526"/>
                    <a:pt x="4669" y="50526"/>
                  </a:cubicBezTo>
                  <a:cubicBezTo>
                    <a:pt x="3735" y="49263"/>
                    <a:pt x="3735" y="49263"/>
                    <a:pt x="3735" y="49263"/>
                  </a:cubicBezTo>
                  <a:cubicBezTo>
                    <a:pt x="2801" y="40421"/>
                    <a:pt x="2801" y="40421"/>
                    <a:pt x="2801" y="40421"/>
                  </a:cubicBezTo>
                  <a:cubicBezTo>
                    <a:pt x="2801" y="37894"/>
                    <a:pt x="2801" y="37894"/>
                    <a:pt x="2801" y="37894"/>
                  </a:cubicBezTo>
                  <a:cubicBezTo>
                    <a:pt x="3735" y="37263"/>
                    <a:pt x="3735" y="37263"/>
                    <a:pt x="3735" y="37263"/>
                  </a:cubicBezTo>
                  <a:cubicBezTo>
                    <a:pt x="3735" y="25894"/>
                    <a:pt x="3735" y="25894"/>
                    <a:pt x="3735" y="25894"/>
                  </a:cubicBezTo>
                  <a:cubicBezTo>
                    <a:pt x="1400" y="23368"/>
                    <a:pt x="1400" y="23368"/>
                    <a:pt x="1400" y="23368"/>
                  </a:cubicBezTo>
                  <a:cubicBezTo>
                    <a:pt x="1400" y="14526"/>
                    <a:pt x="1400" y="14526"/>
                    <a:pt x="1400" y="14526"/>
                  </a:cubicBezTo>
                  <a:cubicBezTo>
                    <a:pt x="3735" y="10736"/>
                    <a:pt x="3735" y="10736"/>
                    <a:pt x="3735" y="10736"/>
                  </a:cubicBezTo>
                  <a:cubicBezTo>
                    <a:pt x="4669" y="6315"/>
                    <a:pt x="4669" y="6315"/>
                    <a:pt x="4669" y="6315"/>
                  </a:cubicBezTo>
                  <a:cubicBezTo>
                    <a:pt x="9805" y="13263"/>
                    <a:pt x="9805" y="13263"/>
                    <a:pt x="9805" y="13263"/>
                  </a:cubicBezTo>
                  <a:cubicBezTo>
                    <a:pt x="15408" y="18947"/>
                    <a:pt x="15408" y="18947"/>
                    <a:pt x="15408" y="18947"/>
                  </a:cubicBezTo>
                  <a:cubicBezTo>
                    <a:pt x="19610" y="21473"/>
                    <a:pt x="19610" y="21473"/>
                    <a:pt x="19610" y="21473"/>
                  </a:cubicBezTo>
                  <a:cubicBezTo>
                    <a:pt x="22879" y="22736"/>
                    <a:pt x="22879" y="22736"/>
                    <a:pt x="22879" y="22736"/>
                  </a:cubicBezTo>
                  <a:cubicBezTo>
                    <a:pt x="24280" y="22736"/>
                    <a:pt x="24280" y="22736"/>
                    <a:pt x="24280" y="22736"/>
                  </a:cubicBezTo>
                  <a:cubicBezTo>
                    <a:pt x="25680" y="22736"/>
                    <a:pt x="25680" y="22736"/>
                    <a:pt x="25680" y="22736"/>
                  </a:cubicBezTo>
                  <a:cubicBezTo>
                    <a:pt x="26614" y="27157"/>
                    <a:pt x="26614" y="27157"/>
                    <a:pt x="26614" y="27157"/>
                  </a:cubicBezTo>
                  <a:cubicBezTo>
                    <a:pt x="30350" y="26526"/>
                    <a:pt x="30350" y="26526"/>
                    <a:pt x="30350" y="26526"/>
                  </a:cubicBezTo>
                  <a:cubicBezTo>
                    <a:pt x="30817" y="32842"/>
                    <a:pt x="30817" y="32842"/>
                    <a:pt x="30817" y="32842"/>
                  </a:cubicBezTo>
                  <a:cubicBezTo>
                    <a:pt x="29416" y="35368"/>
                    <a:pt x="29416" y="35368"/>
                    <a:pt x="29416" y="35368"/>
                  </a:cubicBezTo>
                  <a:cubicBezTo>
                    <a:pt x="25214" y="38526"/>
                    <a:pt x="25214" y="38526"/>
                    <a:pt x="25214" y="38526"/>
                  </a:cubicBezTo>
                  <a:cubicBezTo>
                    <a:pt x="22412" y="43578"/>
                    <a:pt x="22412" y="43578"/>
                    <a:pt x="22412" y="43578"/>
                  </a:cubicBezTo>
                  <a:cubicBezTo>
                    <a:pt x="21478" y="46105"/>
                    <a:pt x="21478" y="46105"/>
                    <a:pt x="21478" y="46105"/>
                  </a:cubicBezTo>
                  <a:cubicBezTo>
                    <a:pt x="22412" y="46736"/>
                    <a:pt x="22412" y="46736"/>
                    <a:pt x="22412" y="46736"/>
                  </a:cubicBezTo>
                  <a:cubicBezTo>
                    <a:pt x="24280" y="44210"/>
                    <a:pt x="24280" y="44210"/>
                    <a:pt x="24280" y="44210"/>
                  </a:cubicBezTo>
                  <a:cubicBezTo>
                    <a:pt x="25680" y="41684"/>
                    <a:pt x="25680" y="41684"/>
                    <a:pt x="25680" y="41684"/>
                  </a:cubicBezTo>
                  <a:cubicBezTo>
                    <a:pt x="29883" y="37894"/>
                    <a:pt x="29883" y="37894"/>
                    <a:pt x="29883" y="37894"/>
                  </a:cubicBezTo>
                  <a:cubicBezTo>
                    <a:pt x="32684" y="36000"/>
                    <a:pt x="32684" y="36000"/>
                    <a:pt x="32684" y="36000"/>
                  </a:cubicBezTo>
                  <a:cubicBezTo>
                    <a:pt x="32217" y="38526"/>
                    <a:pt x="32217" y="38526"/>
                    <a:pt x="32217" y="38526"/>
                  </a:cubicBezTo>
                  <a:cubicBezTo>
                    <a:pt x="30817" y="40421"/>
                    <a:pt x="30817" y="40421"/>
                    <a:pt x="30817" y="40421"/>
                  </a:cubicBezTo>
                  <a:cubicBezTo>
                    <a:pt x="28949" y="46736"/>
                    <a:pt x="28949" y="46736"/>
                    <a:pt x="28949" y="46736"/>
                  </a:cubicBezTo>
                  <a:cubicBezTo>
                    <a:pt x="24280" y="50526"/>
                    <a:pt x="24280" y="50526"/>
                    <a:pt x="24280" y="50526"/>
                  </a:cubicBezTo>
                  <a:cubicBezTo>
                    <a:pt x="21478" y="54315"/>
                    <a:pt x="21478" y="54315"/>
                    <a:pt x="21478" y="54315"/>
                  </a:cubicBezTo>
                  <a:cubicBezTo>
                    <a:pt x="21478" y="57473"/>
                    <a:pt x="21478" y="57473"/>
                    <a:pt x="21478" y="57473"/>
                  </a:cubicBezTo>
                  <a:cubicBezTo>
                    <a:pt x="23346" y="58105"/>
                    <a:pt x="23346" y="58105"/>
                    <a:pt x="23346" y="58105"/>
                  </a:cubicBezTo>
                  <a:cubicBezTo>
                    <a:pt x="25680" y="54947"/>
                    <a:pt x="25680" y="54947"/>
                    <a:pt x="25680" y="54947"/>
                  </a:cubicBezTo>
                  <a:cubicBezTo>
                    <a:pt x="28015" y="52421"/>
                    <a:pt x="28015" y="52421"/>
                    <a:pt x="28015" y="52421"/>
                  </a:cubicBezTo>
                  <a:cubicBezTo>
                    <a:pt x="30350" y="51789"/>
                    <a:pt x="30350" y="51789"/>
                    <a:pt x="30350" y="51789"/>
                  </a:cubicBezTo>
                  <a:cubicBezTo>
                    <a:pt x="32217" y="49263"/>
                    <a:pt x="32217" y="49263"/>
                    <a:pt x="32217" y="49263"/>
                  </a:cubicBezTo>
                  <a:cubicBezTo>
                    <a:pt x="33151" y="42947"/>
                    <a:pt x="33151" y="42947"/>
                    <a:pt x="33151" y="42947"/>
                  </a:cubicBezTo>
                  <a:cubicBezTo>
                    <a:pt x="35019" y="37894"/>
                    <a:pt x="35019" y="37894"/>
                    <a:pt x="35019" y="37894"/>
                  </a:cubicBezTo>
                  <a:cubicBezTo>
                    <a:pt x="37354" y="34105"/>
                    <a:pt x="37354" y="34105"/>
                    <a:pt x="37354" y="34105"/>
                  </a:cubicBezTo>
                  <a:cubicBezTo>
                    <a:pt x="37821" y="31578"/>
                    <a:pt x="37821" y="31578"/>
                    <a:pt x="37821" y="31578"/>
                  </a:cubicBezTo>
                  <a:cubicBezTo>
                    <a:pt x="36420" y="26526"/>
                    <a:pt x="36420" y="26526"/>
                    <a:pt x="36420" y="26526"/>
                  </a:cubicBezTo>
                  <a:cubicBezTo>
                    <a:pt x="36420" y="21473"/>
                    <a:pt x="36420" y="21473"/>
                    <a:pt x="36420" y="21473"/>
                  </a:cubicBezTo>
                  <a:cubicBezTo>
                    <a:pt x="35019" y="22105"/>
                    <a:pt x="35019" y="22105"/>
                    <a:pt x="35019" y="22105"/>
                  </a:cubicBezTo>
                  <a:cubicBezTo>
                    <a:pt x="34085" y="24000"/>
                    <a:pt x="34085" y="24000"/>
                    <a:pt x="34085" y="24000"/>
                  </a:cubicBezTo>
                  <a:cubicBezTo>
                    <a:pt x="34552" y="29052"/>
                    <a:pt x="34552" y="29052"/>
                    <a:pt x="34552" y="29052"/>
                  </a:cubicBezTo>
                  <a:cubicBezTo>
                    <a:pt x="35486" y="32842"/>
                    <a:pt x="35486" y="32842"/>
                    <a:pt x="35486" y="32842"/>
                  </a:cubicBezTo>
                  <a:cubicBezTo>
                    <a:pt x="35486" y="34105"/>
                    <a:pt x="35486" y="34105"/>
                    <a:pt x="35486" y="34105"/>
                  </a:cubicBezTo>
                  <a:cubicBezTo>
                    <a:pt x="34552" y="33473"/>
                    <a:pt x="34552" y="33473"/>
                    <a:pt x="34552" y="33473"/>
                  </a:cubicBezTo>
                  <a:cubicBezTo>
                    <a:pt x="33618" y="32210"/>
                    <a:pt x="33618" y="32210"/>
                    <a:pt x="33618" y="32210"/>
                  </a:cubicBezTo>
                  <a:cubicBezTo>
                    <a:pt x="32684" y="29052"/>
                    <a:pt x="32684" y="29052"/>
                    <a:pt x="32684" y="29052"/>
                  </a:cubicBezTo>
                  <a:cubicBezTo>
                    <a:pt x="31750" y="25894"/>
                    <a:pt x="31750" y="25894"/>
                    <a:pt x="31750" y="25894"/>
                  </a:cubicBezTo>
                  <a:cubicBezTo>
                    <a:pt x="31750" y="23368"/>
                    <a:pt x="31750" y="23368"/>
                    <a:pt x="31750" y="23368"/>
                  </a:cubicBezTo>
                  <a:cubicBezTo>
                    <a:pt x="34085" y="20210"/>
                    <a:pt x="34085" y="20210"/>
                    <a:pt x="34085" y="20210"/>
                  </a:cubicBezTo>
                  <a:cubicBezTo>
                    <a:pt x="35019" y="17684"/>
                    <a:pt x="35019" y="17684"/>
                    <a:pt x="35019" y="17684"/>
                  </a:cubicBezTo>
                  <a:cubicBezTo>
                    <a:pt x="34552" y="15157"/>
                    <a:pt x="34552" y="15157"/>
                    <a:pt x="34552" y="15157"/>
                  </a:cubicBezTo>
                  <a:cubicBezTo>
                    <a:pt x="36887" y="18315"/>
                    <a:pt x="36887" y="18315"/>
                    <a:pt x="36887" y="18315"/>
                  </a:cubicBezTo>
                  <a:cubicBezTo>
                    <a:pt x="37354" y="18947"/>
                    <a:pt x="37354" y="18947"/>
                    <a:pt x="37354" y="18947"/>
                  </a:cubicBezTo>
                  <a:cubicBezTo>
                    <a:pt x="37821" y="15157"/>
                    <a:pt x="37821" y="15157"/>
                    <a:pt x="37821" y="15157"/>
                  </a:cubicBezTo>
                  <a:cubicBezTo>
                    <a:pt x="36887" y="9473"/>
                    <a:pt x="36887" y="9473"/>
                    <a:pt x="36887" y="9473"/>
                  </a:cubicBezTo>
                  <a:cubicBezTo>
                    <a:pt x="37354" y="7578"/>
                    <a:pt x="37354" y="7578"/>
                    <a:pt x="37354" y="7578"/>
                  </a:cubicBezTo>
                  <a:cubicBezTo>
                    <a:pt x="35953" y="6947"/>
                    <a:pt x="35953" y="6947"/>
                    <a:pt x="35953" y="6947"/>
                  </a:cubicBezTo>
                  <a:cubicBezTo>
                    <a:pt x="35486" y="0"/>
                    <a:pt x="35486" y="0"/>
                    <a:pt x="35486" y="0"/>
                  </a:cubicBezTo>
                  <a:cubicBezTo>
                    <a:pt x="35486" y="0"/>
                    <a:pt x="62101" y="10105"/>
                    <a:pt x="67704" y="12000"/>
                  </a:cubicBezTo>
                  <a:cubicBezTo>
                    <a:pt x="72840" y="13894"/>
                    <a:pt x="107392" y="26526"/>
                    <a:pt x="109727" y="27157"/>
                  </a:cubicBezTo>
                  <a:cubicBezTo>
                    <a:pt x="112062" y="28421"/>
                    <a:pt x="114863" y="28421"/>
                    <a:pt x="114863" y="28421"/>
                  </a:cubicBezTo>
                  <a:lnTo>
                    <a:pt x="120000" y="29684"/>
                  </a:ln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4" name="Shape 1389">
              <a:extLst>
                <a:ext uri="{FF2B5EF4-FFF2-40B4-BE49-F238E27FC236}">
                  <a16:creationId xmlns:a16="http://schemas.microsoft.com/office/drawing/2014/main" id="{B78F31A6-8B43-C9C0-C0C6-01B53B9AFF82}"/>
                </a:ext>
              </a:extLst>
            </p:cNvPr>
            <p:cNvSpPr/>
            <p:nvPr/>
          </p:nvSpPr>
          <p:spPr>
            <a:xfrm>
              <a:off x="7825549" y="4018996"/>
              <a:ext cx="555405" cy="1064750"/>
            </a:xfrm>
            <a:custGeom>
              <a:avLst/>
              <a:gdLst/>
              <a:ahLst/>
              <a:cxnLst/>
              <a:rect l="0" t="0" r="0" b="0"/>
              <a:pathLst>
                <a:path w="120000" h="120000" extrusionOk="0">
                  <a:moveTo>
                    <a:pt x="108793" y="118921"/>
                  </a:moveTo>
                  <a:lnTo>
                    <a:pt x="109260" y="118112"/>
                  </a:lnTo>
                  <a:lnTo>
                    <a:pt x="106926" y="116764"/>
                  </a:lnTo>
                  <a:lnTo>
                    <a:pt x="107392" y="115685"/>
                  </a:lnTo>
                  <a:lnTo>
                    <a:pt x="106926" y="114067"/>
                  </a:lnTo>
                  <a:lnTo>
                    <a:pt x="107859" y="113258"/>
                  </a:lnTo>
                  <a:lnTo>
                    <a:pt x="108793" y="112988"/>
                  </a:lnTo>
                  <a:lnTo>
                    <a:pt x="110194" y="112179"/>
                  </a:lnTo>
                  <a:lnTo>
                    <a:pt x="111595" y="110292"/>
                  </a:lnTo>
                  <a:lnTo>
                    <a:pt x="112996" y="107325"/>
                  </a:lnTo>
                  <a:lnTo>
                    <a:pt x="116731" y="105707"/>
                  </a:lnTo>
                  <a:lnTo>
                    <a:pt x="119066" y="104629"/>
                  </a:lnTo>
                  <a:lnTo>
                    <a:pt x="120000" y="104359"/>
                  </a:lnTo>
                  <a:lnTo>
                    <a:pt x="118132" y="103011"/>
                  </a:lnTo>
                  <a:lnTo>
                    <a:pt x="117198" y="102202"/>
                  </a:lnTo>
                  <a:lnTo>
                    <a:pt x="116731" y="100314"/>
                  </a:lnTo>
                  <a:lnTo>
                    <a:pt x="115330" y="98157"/>
                  </a:lnTo>
                  <a:lnTo>
                    <a:pt x="115330" y="96539"/>
                  </a:lnTo>
                  <a:lnTo>
                    <a:pt x="115797" y="95460"/>
                  </a:lnTo>
                  <a:lnTo>
                    <a:pt x="115797" y="95191"/>
                  </a:lnTo>
                  <a:lnTo>
                    <a:pt x="55097" y="42606"/>
                  </a:lnTo>
                  <a:lnTo>
                    <a:pt x="53696" y="42067"/>
                  </a:lnTo>
                  <a:lnTo>
                    <a:pt x="53229" y="41797"/>
                  </a:lnTo>
                  <a:lnTo>
                    <a:pt x="52762" y="41258"/>
                  </a:lnTo>
                  <a:lnTo>
                    <a:pt x="52295" y="40449"/>
                  </a:lnTo>
                  <a:lnTo>
                    <a:pt x="52762" y="39640"/>
                  </a:lnTo>
                  <a:lnTo>
                    <a:pt x="54630" y="39370"/>
                  </a:lnTo>
                  <a:lnTo>
                    <a:pt x="55564" y="39101"/>
                  </a:lnTo>
                  <a:lnTo>
                    <a:pt x="69105" y="9438"/>
                  </a:lnTo>
                  <a:lnTo>
                    <a:pt x="12140" y="0"/>
                  </a:lnTo>
                  <a:lnTo>
                    <a:pt x="11673" y="1078"/>
                  </a:lnTo>
                  <a:lnTo>
                    <a:pt x="10739" y="1348"/>
                  </a:lnTo>
                  <a:lnTo>
                    <a:pt x="10739" y="2426"/>
                  </a:lnTo>
                  <a:lnTo>
                    <a:pt x="10739" y="3235"/>
                  </a:lnTo>
                  <a:lnTo>
                    <a:pt x="10739" y="5662"/>
                  </a:lnTo>
                  <a:lnTo>
                    <a:pt x="10272" y="6741"/>
                  </a:lnTo>
                  <a:lnTo>
                    <a:pt x="8871" y="8089"/>
                  </a:lnTo>
                  <a:lnTo>
                    <a:pt x="7937" y="8898"/>
                  </a:lnTo>
                  <a:lnTo>
                    <a:pt x="7937" y="9168"/>
                  </a:lnTo>
                  <a:lnTo>
                    <a:pt x="7937" y="10786"/>
                  </a:lnTo>
                  <a:lnTo>
                    <a:pt x="6070" y="12134"/>
                  </a:lnTo>
                  <a:lnTo>
                    <a:pt x="3268" y="13483"/>
                  </a:lnTo>
                  <a:lnTo>
                    <a:pt x="933" y="14831"/>
                  </a:lnTo>
                  <a:lnTo>
                    <a:pt x="466" y="15370"/>
                  </a:lnTo>
                  <a:lnTo>
                    <a:pt x="0" y="16719"/>
                  </a:lnTo>
                  <a:lnTo>
                    <a:pt x="0" y="17797"/>
                  </a:lnTo>
                  <a:lnTo>
                    <a:pt x="466" y="19146"/>
                  </a:lnTo>
                  <a:lnTo>
                    <a:pt x="1400" y="20224"/>
                  </a:lnTo>
                  <a:lnTo>
                    <a:pt x="3268" y="21842"/>
                  </a:lnTo>
                  <a:lnTo>
                    <a:pt x="3735" y="22921"/>
                  </a:lnTo>
                  <a:lnTo>
                    <a:pt x="4202" y="24269"/>
                  </a:lnTo>
                  <a:lnTo>
                    <a:pt x="4202" y="26426"/>
                  </a:lnTo>
                  <a:lnTo>
                    <a:pt x="2801" y="28044"/>
                  </a:lnTo>
                  <a:lnTo>
                    <a:pt x="2334" y="29662"/>
                  </a:lnTo>
                  <a:lnTo>
                    <a:pt x="2334" y="31550"/>
                  </a:lnTo>
                  <a:lnTo>
                    <a:pt x="1867" y="32359"/>
                  </a:lnTo>
                  <a:lnTo>
                    <a:pt x="933" y="32898"/>
                  </a:lnTo>
                  <a:lnTo>
                    <a:pt x="1400" y="33977"/>
                  </a:lnTo>
                  <a:lnTo>
                    <a:pt x="3268" y="35865"/>
                  </a:lnTo>
                  <a:lnTo>
                    <a:pt x="5136" y="39101"/>
                  </a:lnTo>
                  <a:lnTo>
                    <a:pt x="7003" y="41258"/>
                  </a:lnTo>
                  <a:lnTo>
                    <a:pt x="7937" y="42067"/>
                  </a:lnTo>
                  <a:lnTo>
                    <a:pt x="7937" y="43415"/>
                  </a:lnTo>
                  <a:lnTo>
                    <a:pt x="7470" y="44224"/>
                  </a:lnTo>
                  <a:lnTo>
                    <a:pt x="6536" y="44764"/>
                  </a:lnTo>
                  <a:lnTo>
                    <a:pt x="6536" y="45573"/>
                  </a:lnTo>
                  <a:lnTo>
                    <a:pt x="8404" y="45573"/>
                  </a:lnTo>
                  <a:lnTo>
                    <a:pt x="9338" y="46382"/>
                  </a:lnTo>
                  <a:lnTo>
                    <a:pt x="10739" y="47460"/>
                  </a:lnTo>
                  <a:lnTo>
                    <a:pt x="11206" y="48000"/>
                  </a:lnTo>
                  <a:lnTo>
                    <a:pt x="12607" y="48269"/>
                  </a:lnTo>
                  <a:lnTo>
                    <a:pt x="13540" y="47191"/>
                  </a:lnTo>
                  <a:lnTo>
                    <a:pt x="13540" y="45842"/>
                  </a:lnTo>
                  <a:lnTo>
                    <a:pt x="15875" y="45573"/>
                  </a:lnTo>
                  <a:lnTo>
                    <a:pt x="17276" y="46382"/>
                  </a:lnTo>
                  <a:lnTo>
                    <a:pt x="20544" y="46382"/>
                  </a:lnTo>
                  <a:lnTo>
                    <a:pt x="22412" y="47460"/>
                  </a:lnTo>
                  <a:lnTo>
                    <a:pt x="23813" y="47730"/>
                  </a:lnTo>
                  <a:lnTo>
                    <a:pt x="24747" y="48000"/>
                  </a:lnTo>
                  <a:lnTo>
                    <a:pt x="23813" y="48539"/>
                  </a:lnTo>
                  <a:lnTo>
                    <a:pt x="22879" y="48269"/>
                  </a:lnTo>
                  <a:lnTo>
                    <a:pt x="21011" y="47730"/>
                  </a:lnTo>
                  <a:lnTo>
                    <a:pt x="20544" y="47730"/>
                  </a:lnTo>
                  <a:lnTo>
                    <a:pt x="18677" y="47460"/>
                  </a:lnTo>
                  <a:lnTo>
                    <a:pt x="17743" y="47191"/>
                  </a:lnTo>
                  <a:lnTo>
                    <a:pt x="16342" y="46921"/>
                  </a:lnTo>
                  <a:lnTo>
                    <a:pt x="15408" y="47191"/>
                  </a:lnTo>
                  <a:lnTo>
                    <a:pt x="15408" y="47730"/>
                  </a:lnTo>
                  <a:lnTo>
                    <a:pt x="15408" y="49617"/>
                  </a:lnTo>
                  <a:lnTo>
                    <a:pt x="16342" y="50426"/>
                  </a:lnTo>
                  <a:lnTo>
                    <a:pt x="15875" y="52314"/>
                  </a:lnTo>
                  <a:lnTo>
                    <a:pt x="15408" y="52314"/>
                  </a:lnTo>
                  <a:lnTo>
                    <a:pt x="14007" y="51775"/>
                  </a:lnTo>
                  <a:lnTo>
                    <a:pt x="13540" y="51235"/>
                  </a:lnTo>
                  <a:lnTo>
                    <a:pt x="13540" y="50157"/>
                  </a:lnTo>
                  <a:lnTo>
                    <a:pt x="13540" y="49887"/>
                  </a:lnTo>
                  <a:lnTo>
                    <a:pt x="13073" y="49617"/>
                  </a:lnTo>
                  <a:lnTo>
                    <a:pt x="11673" y="49348"/>
                  </a:lnTo>
                  <a:lnTo>
                    <a:pt x="11206" y="50426"/>
                  </a:lnTo>
                  <a:lnTo>
                    <a:pt x="10739" y="50966"/>
                  </a:lnTo>
                  <a:lnTo>
                    <a:pt x="10739" y="52584"/>
                  </a:lnTo>
                  <a:lnTo>
                    <a:pt x="10739" y="55011"/>
                  </a:lnTo>
                  <a:lnTo>
                    <a:pt x="10739" y="56359"/>
                  </a:lnTo>
                  <a:lnTo>
                    <a:pt x="12140" y="57707"/>
                  </a:lnTo>
                  <a:lnTo>
                    <a:pt x="14007" y="58516"/>
                  </a:lnTo>
                  <a:lnTo>
                    <a:pt x="15875" y="59325"/>
                  </a:lnTo>
                  <a:lnTo>
                    <a:pt x="16342" y="60674"/>
                  </a:lnTo>
                  <a:lnTo>
                    <a:pt x="16342" y="61752"/>
                  </a:lnTo>
                  <a:lnTo>
                    <a:pt x="15875" y="62831"/>
                  </a:lnTo>
                  <a:lnTo>
                    <a:pt x="14474" y="63101"/>
                  </a:lnTo>
                  <a:lnTo>
                    <a:pt x="13073" y="63101"/>
                  </a:lnTo>
                  <a:lnTo>
                    <a:pt x="13073" y="65797"/>
                  </a:lnTo>
                  <a:lnTo>
                    <a:pt x="13540" y="66606"/>
                  </a:lnTo>
                  <a:lnTo>
                    <a:pt x="15875" y="68764"/>
                  </a:lnTo>
                  <a:lnTo>
                    <a:pt x="16342" y="70382"/>
                  </a:lnTo>
                  <a:lnTo>
                    <a:pt x="18677" y="72269"/>
                  </a:lnTo>
                  <a:lnTo>
                    <a:pt x="19610" y="74157"/>
                  </a:lnTo>
                  <a:lnTo>
                    <a:pt x="21011" y="75505"/>
                  </a:lnTo>
                  <a:lnTo>
                    <a:pt x="22412" y="77393"/>
                  </a:lnTo>
                  <a:lnTo>
                    <a:pt x="23346" y="77662"/>
                  </a:lnTo>
                  <a:lnTo>
                    <a:pt x="23346" y="79011"/>
                  </a:lnTo>
                  <a:lnTo>
                    <a:pt x="23346" y="79820"/>
                  </a:lnTo>
                  <a:lnTo>
                    <a:pt x="23346" y="80359"/>
                  </a:lnTo>
                  <a:lnTo>
                    <a:pt x="24280" y="80898"/>
                  </a:lnTo>
                  <a:lnTo>
                    <a:pt x="24747" y="81707"/>
                  </a:lnTo>
                  <a:lnTo>
                    <a:pt x="24747" y="82786"/>
                  </a:lnTo>
                  <a:lnTo>
                    <a:pt x="24280" y="85213"/>
                  </a:lnTo>
                  <a:lnTo>
                    <a:pt x="23813" y="86831"/>
                  </a:lnTo>
                  <a:lnTo>
                    <a:pt x="23346" y="88179"/>
                  </a:lnTo>
                  <a:lnTo>
                    <a:pt x="27548" y="89528"/>
                  </a:lnTo>
                  <a:lnTo>
                    <a:pt x="31284" y="90337"/>
                  </a:lnTo>
                  <a:lnTo>
                    <a:pt x="34085" y="91415"/>
                  </a:lnTo>
                  <a:lnTo>
                    <a:pt x="38287" y="92224"/>
                  </a:lnTo>
                  <a:lnTo>
                    <a:pt x="39688" y="93033"/>
                  </a:lnTo>
                  <a:lnTo>
                    <a:pt x="42490" y="95730"/>
                  </a:lnTo>
                  <a:lnTo>
                    <a:pt x="46225" y="97617"/>
                  </a:lnTo>
                  <a:lnTo>
                    <a:pt x="51828" y="98426"/>
                  </a:lnTo>
                  <a:lnTo>
                    <a:pt x="52295" y="100853"/>
                  </a:lnTo>
                  <a:lnTo>
                    <a:pt x="53229" y="101932"/>
                  </a:lnTo>
                  <a:lnTo>
                    <a:pt x="56498" y="102471"/>
                  </a:lnTo>
                  <a:lnTo>
                    <a:pt x="59766" y="104629"/>
                  </a:lnTo>
                  <a:lnTo>
                    <a:pt x="63501" y="107865"/>
                  </a:lnTo>
                  <a:lnTo>
                    <a:pt x="65369" y="109213"/>
                  </a:lnTo>
                  <a:lnTo>
                    <a:pt x="66770" y="111640"/>
                  </a:lnTo>
                  <a:lnTo>
                    <a:pt x="65369" y="113797"/>
                  </a:lnTo>
                  <a:lnTo>
                    <a:pt x="65369" y="115146"/>
                  </a:lnTo>
                  <a:lnTo>
                    <a:pt x="66770" y="117033"/>
                  </a:lnTo>
                  <a:lnTo>
                    <a:pt x="68638" y="117303"/>
                  </a:lnTo>
                  <a:lnTo>
                    <a:pt x="105058" y="120000"/>
                  </a:lnTo>
                  <a:lnTo>
                    <a:pt x="105525" y="119730"/>
                  </a:lnTo>
                  <a:lnTo>
                    <a:pt x="108793" y="118921"/>
                  </a:lnTo>
                  <a:close/>
                </a:path>
              </a:pathLst>
            </a:custGeom>
            <a:solidFill>
              <a:srgbClr val="92D05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5" name="Shape 1388">
              <a:extLst>
                <a:ext uri="{FF2B5EF4-FFF2-40B4-BE49-F238E27FC236}">
                  <a16:creationId xmlns:a16="http://schemas.microsoft.com/office/drawing/2014/main" id="{4C4769FD-2979-B598-F384-A9B4809C77DC}"/>
                </a:ext>
              </a:extLst>
            </p:cNvPr>
            <p:cNvSpPr/>
            <p:nvPr/>
          </p:nvSpPr>
          <p:spPr>
            <a:xfrm>
              <a:off x="8305314" y="4684163"/>
              <a:ext cx="473282" cy="617316"/>
            </a:xfrm>
            <a:custGeom>
              <a:avLst/>
              <a:gdLst/>
              <a:ahLst/>
              <a:cxnLst/>
              <a:rect l="0" t="0" r="0" b="0"/>
              <a:pathLst>
                <a:path w="120000" h="120000" extrusionOk="0">
                  <a:moveTo>
                    <a:pt x="33822" y="0"/>
                  </a:moveTo>
                  <a:cubicBezTo>
                    <a:pt x="33822" y="0"/>
                    <a:pt x="31969" y="7500"/>
                    <a:pt x="31505" y="9868"/>
                  </a:cubicBezTo>
                  <a:cubicBezTo>
                    <a:pt x="30579" y="11447"/>
                    <a:pt x="28725" y="16973"/>
                    <a:pt x="28725" y="16973"/>
                  </a:cubicBezTo>
                  <a:cubicBezTo>
                    <a:pt x="27335" y="17763"/>
                    <a:pt x="27335" y="17763"/>
                    <a:pt x="27335" y="17763"/>
                  </a:cubicBezTo>
                  <a:cubicBezTo>
                    <a:pt x="25945" y="16973"/>
                    <a:pt x="25945" y="16973"/>
                    <a:pt x="25945" y="16973"/>
                  </a:cubicBezTo>
                  <a:cubicBezTo>
                    <a:pt x="23629" y="15394"/>
                    <a:pt x="23629" y="15394"/>
                    <a:pt x="23629" y="15394"/>
                  </a:cubicBezTo>
                  <a:cubicBezTo>
                    <a:pt x="21776" y="16184"/>
                    <a:pt x="21776" y="16184"/>
                    <a:pt x="21776" y="16184"/>
                  </a:cubicBezTo>
                  <a:cubicBezTo>
                    <a:pt x="20849" y="14605"/>
                    <a:pt x="20849" y="14605"/>
                    <a:pt x="20849" y="14605"/>
                  </a:cubicBezTo>
                  <a:cubicBezTo>
                    <a:pt x="17606" y="15394"/>
                    <a:pt x="17606" y="15394"/>
                    <a:pt x="17606" y="15394"/>
                  </a:cubicBezTo>
                  <a:cubicBezTo>
                    <a:pt x="16216" y="16578"/>
                    <a:pt x="16216" y="16578"/>
                    <a:pt x="16216" y="16578"/>
                  </a:cubicBezTo>
                  <a:cubicBezTo>
                    <a:pt x="16216" y="20921"/>
                    <a:pt x="16216" y="20921"/>
                    <a:pt x="16216" y="20921"/>
                  </a:cubicBezTo>
                  <a:cubicBezTo>
                    <a:pt x="16216" y="26447"/>
                    <a:pt x="16216" y="26447"/>
                    <a:pt x="16216" y="26447"/>
                  </a:cubicBezTo>
                  <a:cubicBezTo>
                    <a:pt x="16216" y="31578"/>
                    <a:pt x="16216" y="31578"/>
                    <a:pt x="16216" y="31578"/>
                  </a:cubicBezTo>
                  <a:cubicBezTo>
                    <a:pt x="15752" y="33157"/>
                    <a:pt x="15752" y="33157"/>
                    <a:pt x="15752" y="33157"/>
                  </a:cubicBezTo>
                  <a:cubicBezTo>
                    <a:pt x="14362" y="35131"/>
                    <a:pt x="14362" y="35131"/>
                    <a:pt x="14362" y="35131"/>
                  </a:cubicBezTo>
                  <a:cubicBezTo>
                    <a:pt x="13899" y="37105"/>
                    <a:pt x="13899" y="37105"/>
                    <a:pt x="13899" y="37105"/>
                  </a:cubicBezTo>
                  <a:cubicBezTo>
                    <a:pt x="13899" y="39868"/>
                    <a:pt x="13899" y="39868"/>
                    <a:pt x="13899" y="39868"/>
                  </a:cubicBezTo>
                  <a:cubicBezTo>
                    <a:pt x="15752" y="43421"/>
                    <a:pt x="15752" y="43421"/>
                    <a:pt x="15752" y="43421"/>
                  </a:cubicBezTo>
                  <a:cubicBezTo>
                    <a:pt x="16216" y="46973"/>
                    <a:pt x="16216" y="46973"/>
                    <a:pt x="16216" y="46973"/>
                  </a:cubicBezTo>
                  <a:cubicBezTo>
                    <a:pt x="17142" y="48157"/>
                    <a:pt x="17142" y="48157"/>
                    <a:pt x="17142" y="48157"/>
                  </a:cubicBezTo>
                  <a:cubicBezTo>
                    <a:pt x="19459" y="50526"/>
                    <a:pt x="19459" y="50526"/>
                    <a:pt x="19459" y="50526"/>
                  </a:cubicBezTo>
                  <a:cubicBezTo>
                    <a:pt x="18069" y="51315"/>
                    <a:pt x="18069" y="51315"/>
                    <a:pt x="18069" y="51315"/>
                  </a:cubicBezTo>
                  <a:cubicBezTo>
                    <a:pt x="15752" y="52894"/>
                    <a:pt x="15752" y="52894"/>
                    <a:pt x="15752" y="52894"/>
                  </a:cubicBezTo>
                  <a:cubicBezTo>
                    <a:pt x="11119" y="55657"/>
                    <a:pt x="11119" y="55657"/>
                    <a:pt x="11119" y="55657"/>
                  </a:cubicBezTo>
                  <a:cubicBezTo>
                    <a:pt x="9729" y="60789"/>
                    <a:pt x="9729" y="60789"/>
                    <a:pt x="9729" y="60789"/>
                  </a:cubicBezTo>
                  <a:cubicBezTo>
                    <a:pt x="7876" y="63947"/>
                    <a:pt x="7876" y="63947"/>
                    <a:pt x="7876" y="63947"/>
                  </a:cubicBezTo>
                  <a:cubicBezTo>
                    <a:pt x="6023" y="65526"/>
                    <a:pt x="6023" y="65526"/>
                    <a:pt x="6023" y="65526"/>
                  </a:cubicBezTo>
                  <a:cubicBezTo>
                    <a:pt x="5096" y="65921"/>
                    <a:pt x="5096" y="65921"/>
                    <a:pt x="5096" y="65921"/>
                  </a:cubicBezTo>
                  <a:cubicBezTo>
                    <a:pt x="4169" y="67500"/>
                    <a:pt x="4169" y="67500"/>
                    <a:pt x="4169" y="67500"/>
                  </a:cubicBezTo>
                  <a:cubicBezTo>
                    <a:pt x="4633" y="70263"/>
                    <a:pt x="4633" y="70263"/>
                    <a:pt x="4633" y="70263"/>
                  </a:cubicBezTo>
                  <a:cubicBezTo>
                    <a:pt x="4169" y="72236"/>
                    <a:pt x="4169" y="72236"/>
                    <a:pt x="4169" y="72236"/>
                  </a:cubicBezTo>
                  <a:cubicBezTo>
                    <a:pt x="6949" y="74210"/>
                    <a:pt x="6949" y="74210"/>
                    <a:pt x="6949" y="74210"/>
                  </a:cubicBezTo>
                  <a:cubicBezTo>
                    <a:pt x="6023" y="75789"/>
                    <a:pt x="6023" y="75789"/>
                    <a:pt x="6023" y="75789"/>
                  </a:cubicBezTo>
                  <a:cubicBezTo>
                    <a:pt x="2316" y="77368"/>
                    <a:pt x="2316" y="77368"/>
                    <a:pt x="2316" y="77368"/>
                  </a:cubicBezTo>
                  <a:cubicBezTo>
                    <a:pt x="1389" y="78947"/>
                    <a:pt x="1389" y="78947"/>
                    <a:pt x="1389" y="78947"/>
                  </a:cubicBezTo>
                  <a:cubicBezTo>
                    <a:pt x="0" y="81315"/>
                    <a:pt x="0" y="81315"/>
                    <a:pt x="0" y="81315"/>
                  </a:cubicBezTo>
                  <a:cubicBezTo>
                    <a:pt x="64401" y="114868"/>
                    <a:pt x="64401" y="114868"/>
                    <a:pt x="64401" y="114868"/>
                  </a:cubicBezTo>
                  <a:cubicBezTo>
                    <a:pt x="84324" y="118026"/>
                    <a:pt x="84324" y="118026"/>
                    <a:pt x="84324" y="118026"/>
                  </a:cubicBezTo>
                  <a:cubicBezTo>
                    <a:pt x="101003" y="120000"/>
                    <a:pt x="101003" y="120000"/>
                    <a:pt x="101003" y="120000"/>
                  </a:cubicBezTo>
                  <a:cubicBezTo>
                    <a:pt x="101467" y="120000"/>
                    <a:pt x="101467" y="120000"/>
                    <a:pt x="101467" y="120000"/>
                  </a:cubicBezTo>
                  <a:cubicBezTo>
                    <a:pt x="120000" y="13026"/>
                    <a:pt x="120000" y="13026"/>
                    <a:pt x="120000" y="13026"/>
                  </a:cubicBezTo>
                  <a:lnTo>
                    <a:pt x="33822" y="0"/>
                  </a:lnTo>
                  <a:close/>
                </a:path>
              </a:pathLst>
            </a:custGeom>
            <a:solidFill>
              <a:schemeClr val="tx2">
                <a:lumMod val="40000"/>
                <a:lumOff val="60000"/>
              </a:schemeClr>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6" name="Shape 1399">
              <a:extLst>
                <a:ext uri="{FF2B5EF4-FFF2-40B4-BE49-F238E27FC236}">
                  <a16:creationId xmlns:a16="http://schemas.microsoft.com/office/drawing/2014/main" id="{BAC8787B-0F07-F082-8A56-AF02A54BECD5}"/>
                </a:ext>
              </a:extLst>
            </p:cNvPr>
            <p:cNvSpPr/>
            <p:nvPr/>
          </p:nvSpPr>
          <p:spPr>
            <a:xfrm>
              <a:off x="7875254" y="3628984"/>
              <a:ext cx="564050" cy="528787"/>
            </a:xfrm>
            <a:custGeom>
              <a:avLst/>
              <a:gdLst/>
              <a:ahLst/>
              <a:cxnLst/>
              <a:rect l="0" t="0" r="0" b="0"/>
              <a:pathLst>
                <a:path w="120000" h="120000" extrusionOk="0">
                  <a:moveTo>
                    <a:pt x="97792" y="120000"/>
                  </a:moveTo>
                  <a:cubicBezTo>
                    <a:pt x="104805" y="83678"/>
                    <a:pt x="104805" y="83678"/>
                    <a:pt x="104805" y="83678"/>
                  </a:cubicBezTo>
                  <a:cubicBezTo>
                    <a:pt x="104805" y="81379"/>
                    <a:pt x="104805" y="81379"/>
                    <a:pt x="104805" y="81379"/>
                  </a:cubicBezTo>
                  <a:cubicBezTo>
                    <a:pt x="105194" y="80459"/>
                    <a:pt x="105194" y="80459"/>
                    <a:pt x="105194" y="80459"/>
                  </a:cubicBezTo>
                  <a:cubicBezTo>
                    <a:pt x="107142" y="79540"/>
                    <a:pt x="107142" y="79540"/>
                    <a:pt x="107142" y="79540"/>
                  </a:cubicBezTo>
                  <a:cubicBezTo>
                    <a:pt x="107142" y="78620"/>
                    <a:pt x="107142" y="78620"/>
                    <a:pt x="107142" y="78620"/>
                  </a:cubicBezTo>
                  <a:cubicBezTo>
                    <a:pt x="107532" y="76781"/>
                    <a:pt x="107532" y="76781"/>
                    <a:pt x="107532" y="76781"/>
                  </a:cubicBezTo>
                  <a:cubicBezTo>
                    <a:pt x="107532" y="73103"/>
                    <a:pt x="107532" y="73103"/>
                    <a:pt x="107532" y="73103"/>
                  </a:cubicBezTo>
                  <a:cubicBezTo>
                    <a:pt x="107922" y="72183"/>
                    <a:pt x="107922" y="72183"/>
                    <a:pt x="107922" y="72183"/>
                  </a:cubicBezTo>
                  <a:cubicBezTo>
                    <a:pt x="106753" y="70804"/>
                    <a:pt x="106753" y="70804"/>
                    <a:pt x="106753" y="70804"/>
                  </a:cubicBezTo>
                  <a:cubicBezTo>
                    <a:pt x="106363" y="70804"/>
                    <a:pt x="106363" y="70804"/>
                    <a:pt x="106363" y="70804"/>
                  </a:cubicBezTo>
                  <a:cubicBezTo>
                    <a:pt x="105584" y="70344"/>
                    <a:pt x="105584" y="70344"/>
                    <a:pt x="105584" y="70344"/>
                  </a:cubicBezTo>
                  <a:cubicBezTo>
                    <a:pt x="104805" y="68965"/>
                    <a:pt x="104805" y="68965"/>
                    <a:pt x="104805" y="68965"/>
                  </a:cubicBezTo>
                  <a:cubicBezTo>
                    <a:pt x="105194" y="66666"/>
                    <a:pt x="105194" y="66666"/>
                    <a:pt x="105194" y="66666"/>
                  </a:cubicBezTo>
                  <a:cubicBezTo>
                    <a:pt x="105584" y="65287"/>
                    <a:pt x="105584" y="65287"/>
                    <a:pt x="105584" y="65287"/>
                  </a:cubicBezTo>
                  <a:cubicBezTo>
                    <a:pt x="107922" y="62988"/>
                    <a:pt x="107922" y="62988"/>
                    <a:pt x="107922" y="62988"/>
                  </a:cubicBezTo>
                  <a:cubicBezTo>
                    <a:pt x="111038" y="59310"/>
                    <a:pt x="111038" y="59310"/>
                    <a:pt x="111038" y="59310"/>
                  </a:cubicBezTo>
                  <a:cubicBezTo>
                    <a:pt x="112207" y="57471"/>
                    <a:pt x="112207" y="57471"/>
                    <a:pt x="112207" y="57471"/>
                  </a:cubicBezTo>
                  <a:cubicBezTo>
                    <a:pt x="112597" y="55632"/>
                    <a:pt x="112597" y="55632"/>
                    <a:pt x="112597" y="55632"/>
                  </a:cubicBezTo>
                  <a:cubicBezTo>
                    <a:pt x="113376" y="55172"/>
                    <a:pt x="113376" y="55172"/>
                    <a:pt x="113376" y="55172"/>
                  </a:cubicBezTo>
                  <a:cubicBezTo>
                    <a:pt x="114155" y="52873"/>
                    <a:pt x="114155" y="52873"/>
                    <a:pt x="114155" y="52873"/>
                  </a:cubicBezTo>
                  <a:cubicBezTo>
                    <a:pt x="115714" y="51034"/>
                    <a:pt x="115714" y="51034"/>
                    <a:pt x="115714" y="51034"/>
                  </a:cubicBezTo>
                  <a:cubicBezTo>
                    <a:pt x="116883" y="49195"/>
                    <a:pt x="116883" y="49195"/>
                    <a:pt x="116883" y="49195"/>
                  </a:cubicBezTo>
                  <a:cubicBezTo>
                    <a:pt x="118441" y="47816"/>
                    <a:pt x="118441" y="47816"/>
                    <a:pt x="118441" y="47816"/>
                  </a:cubicBezTo>
                  <a:cubicBezTo>
                    <a:pt x="118831" y="45517"/>
                    <a:pt x="118831" y="45517"/>
                    <a:pt x="118831" y="45517"/>
                  </a:cubicBezTo>
                  <a:cubicBezTo>
                    <a:pt x="120000" y="45057"/>
                    <a:pt x="120000" y="45057"/>
                    <a:pt x="120000" y="45057"/>
                  </a:cubicBezTo>
                  <a:cubicBezTo>
                    <a:pt x="120000" y="43218"/>
                    <a:pt x="120000" y="43218"/>
                    <a:pt x="120000" y="43218"/>
                  </a:cubicBezTo>
                  <a:cubicBezTo>
                    <a:pt x="119610" y="41379"/>
                    <a:pt x="119610" y="41379"/>
                    <a:pt x="119610" y="41379"/>
                  </a:cubicBezTo>
                  <a:cubicBezTo>
                    <a:pt x="118831" y="40000"/>
                    <a:pt x="118831" y="40000"/>
                    <a:pt x="118831" y="40000"/>
                  </a:cubicBezTo>
                  <a:cubicBezTo>
                    <a:pt x="116883" y="38160"/>
                    <a:pt x="116883" y="38160"/>
                    <a:pt x="116883" y="38160"/>
                  </a:cubicBezTo>
                  <a:cubicBezTo>
                    <a:pt x="115714" y="35862"/>
                    <a:pt x="115714" y="35862"/>
                    <a:pt x="115714" y="35862"/>
                  </a:cubicBezTo>
                  <a:cubicBezTo>
                    <a:pt x="115714" y="34022"/>
                    <a:pt x="115714" y="34022"/>
                    <a:pt x="115714" y="34022"/>
                  </a:cubicBezTo>
                  <a:cubicBezTo>
                    <a:pt x="90000" y="26206"/>
                    <a:pt x="90000" y="26206"/>
                    <a:pt x="90000" y="26206"/>
                  </a:cubicBezTo>
                  <a:cubicBezTo>
                    <a:pt x="85714" y="25747"/>
                    <a:pt x="85714" y="25747"/>
                    <a:pt x="85714" y="25747"/>
                  </a:cubicBezTo>
                  <a:cubicBezTo>
                    <a:pt x="84155" y="26206"/>
                    <a:pt x="84155" y="26206"/>
                    <a:pt x="84155" y="26206"/>
                  </a:cubicBezTo>
                  <a:cubicBezTo>
                    <a:pt x="82207" y="25747"/>
                    <a:pt x="82207" y="25747"/>
                    <a:pt x="82207" y="25747"/>
                  </a:cubicBezTo>
                  <a:cubicBezTo>
                    <a:pt x="80649" y="26206"/>
                    <a:pt x="80649" y="26206"/>
                    <a:pt x="80649" y="26206"/>
                  </a:cubicBezTo>
                  <a:cubicBezTo>
                    <a:pt x="69350" y="26666"/>
                    <a:pt x="69350" y="26666"/>
                    <a:pt x="69350" y="26666"/>
                  </a:cubicBezTo>
                  <a:cubicBezTo>
                    <a:pt x="68181" y="25747"/>
                    <a:pt x="68181" y="25747"/>
                    <a:pt x="68181" y="25747"/>
                  </a:cubicBezTo>
                  <a:cubicBezTo>
                    <a:pt x="67012" y="26206"/>
                    <a:pt x="67012" y="26206"/>
                    <a:pt x="67012" y="26206"/>
                  </a:cubicBezTo>
                  <a:cubicBezTo>
                    <a:pt x="65844" y="26666"/>
                    <a:pt x="65844" y="26666"/>
                    <a:pt x="65844" y="26666"/>
                  </a:cubicBezTo>
                  <a:cubicBezTo>
                    <a:pt x="65064" y="26666"/>
                    <a:pt x="65064" y="26666"/>
                    <a:pt x="65064" y="26666"/>
                  </a:cubicBezTo>
                  <a:cubicBezTo>
                    <a:pt x="63896" y="26206"/>
                    <a:pt x="63896" y="26206"/>
                    <a:pt x="63896" y="26206"/>
                  </a:cubicBezTo>
                  <a:cubicBezTo>
                    <a:pt x="63896" y="25747"/>
                    <a:pt x="63896" y="25747"/>
                    <a:pt x="63896" y="25747"/>
                  </a:cubicBezTo>
                  <a:cubicBezTo>
                    <a:pt x="61948" y="25747"/>
                    <a:pt x="61948" y="25747"/>
                    <a:pt x="61948" y="25747"/>
                  </a:cubicBezTo>
                  <a:cubicBezTo>
                    <a:pt x="60779" y="25287"/>
                    <a:pt x="60779" y="25287"/>
                    <a:pt x="60779" y="25287"/>
                  </a:cubicBezTo>
                  <a:cubicBezTo>
                    <a:pt x="60389" y="24367"/>
                    <a:pt x="60389" y="24367"/>
                    <a:pt x="60389" y="24367"/>
                  </a:cubicBezTo>
                  <a:cubicBezTo>
                    <a:pt x="60389" y="23908"/>
                    <a:pt x="60389" y="23908"/>
                    <a:pt x="60389" y="23908"/>
                  </a:cubicBezTo>
                  <a:cubicBezTo>
                    <a:pt x="58831" y="23448"/>
                    <a:pt x="58831" y="23448"/>
                    <a:pt x="58831" y="23448"/>
                  </a:cubicBezTo>
                  <a:cubicBezTo>
                    <a:pt x="55714" y="22528"/>
                    <a:pt x="55714" y="22528"/>
                    <a:pt x="55714" y="22528"/>
                  </a:cubicBezTo>
                  <a:cubicBezTo>
                    <a:pt x="53766" y="21609"/>
                    <a:pt x="53766" y="21609"/>
                    <a:pt x="53766" y="21609"/>
                  </a:cubicBezTo>
                  <a:cubicBezTo>
                    <a:pt x="52987" y="21149"/>
                    <a:pt x="52987" y="21149"/>
                    <a:pt x="52987" y="21149"/>
                  </a:cubicBezTo>
                  <a:cubicBezTo>
                    <a:pt x="50649" y="21609"/>
                    <a:pt x="50649" y="21609"/>
                    <a:pt x="50649" y="21609"/>
                  </a:cubicBezTo>
                  <a:cubicBezTo>
                    <a:pt x="47142" y="22528"/>
                    <a:pt x="47142" y="22528"/>
                    <a:pt x="47142" y="22528"/>
                  </a:cubicBezTo>
                  <a:cubicBezTo>
                    <a:pt x="42857" y="21149"/>
                    <a:pt x="42857" y="21149"/>
                    <a:pt x="42857" y="21149"/>
                  </a:cubicBezTo>
                  <a:cubicBezTo>
                    <a:pt x="40129" y="18390"/>
                    <a:pt x="40129" y="18390"/>
                    <a:pt x="40129" y="18390"/>
                  </a:cubicBezTo>
                  <a:cubicBezTo>
                    <a:pt x="40129" y="18390"/>
                    <a:pt x="41298" y="15172"/>
                    <a:pt x="40909" y="11034"/>
                  </a:cubicBezTo>
                  <a:cubicBezTo>
                    <a:pt x="40519" y="6436"/>
                    <a:pt x="38571" y="5517"/>
                    <a:pt x="38571" y="5517"/>
                  </a:cubicBezTo>
                  <a:cubicBezTo>
                    <a:pt x="36623" y="5517"/>
                    <a:pt x="36623" y="5517"/>
                    <a:pt x="36623" y="5517"/>
                  </a:cubicBezTo>
                  <a:cubicBezTo>
                    <a:pt x="35064" y="4597"/>
                    <a:pt x="35064" y="4597"/>
                    <a:pt x="35064" y="4597"/>
                  </a:cubicBezTo>
                  <a:cubicBezTo>
                    <a:pt x="35064" y="4597"/>
                    <a:pt x="35064" y="1839"/>
                    <a:pt x="33116" y="1839"/>
                  </a:cubicBezTo>
                  <a:cubicBezTo>
                    <a:pt x="31168" y="1839"/>
                    <a:pt x="31168" y="1839"/>
                    <a:pt x="31168" y="1839"/>
                  </a:cubicBezTo>
                  <a:cubicBezTo>
                    <a:pt x="28831" y="1379"/>
                    <a:pt x="28831" y="1379"/>
                    <a:pt x="28831" y="1379"/>
                  </a:cubicBezTo>
                  <a:cubicBezTo>
                    <a:pt x="27272" y="0"/>
                    <a:pt x="27272" y="0"/>
                    <a:pt x="27272" y="0"/>
                  </a:cubicBezTo>
                  <a:cubicBezTo>
                    <a:pt x="27272" y="3218"/>
                    <a:pt x="27272" y="3218"/>
                    <a:pt x="27272" y="3218"/>
                  </a:cubicBezTo>
                  <a:cubicBezTo>
                    <a:pt x="26493" y="5977"/>
                    <a:pt x="26493" y="5977"/>
                    <a:pt x="26493" y="5977"/>
                  </a:cubicBezTo>
                  <a:cubicBezTo>
                    <a:pt x="24545" y="10114"/>
                    <a:pt x="24545" y="10114"/>
                    <a:pt x="24545" y="10114"/>
                  </a:cubicBezTo>
                  <a:cubicBezTo>
                    <a:pt x="24935" y="12873"/>
                    <a:pt x="24935" y="12873"/>
                    <a:pt x="24935" y="12873"/>
                  </a:cubicBezTo>
                  <a:cubicBezTo>
                    <a:pt x="24545" y="15172"/>
                    <a:pt x="24545" y="15172"/>
                    <a:pt x="24545" y="15172"/>
                  </a:cubicBezTo>
                  <a:cubicBezTo>
                    <a:pt x="23376" y="17471"/>
                    <a:pt x="23376" y="17471"/>
                    <a:pt x="23376" y="17471"/>
                  </a:cubicBezTo>
                  <a:cubicBezTo>
                    <a:pt x="22597" y="19770"/>
                    <a:pt x="22597" y="19770"/>
                    <a:pt x="22597" y="19770"/>
                  </a:cubicBezTo>
                  <a:cubicBezTo>
                    <a:pt x="21428" y="22988"/>
                    <a:pt x="21428" y="22988"/>
                    <a:pt x="21428" y="22988"/>
                  </a:cubicBezTo>
                  <a:cubicBezTo>
                    <a:pt x="20649" y="25287"/>
                    <a:pt x="20649" y="25287"/>
                    <a:pt x="20649" y="25287"/>
                  </a:cubicBezTo>
                  <a:cubicBezTo>
                    <a:pt x="18311" y="30804"/>
                    <a:pt x="18311" y="30804"/>
                    <a:pt x="18311" y="30804"/>
                  </a:cubicBezTo>
                  <a:cubicBezTo>
                    <a:pt x="15584" y="39080"/>
                    <a:pt x="15584" y="39080"/>
                    <a:pt x="15584" y="39080"/>
                  </a:cubicBezTo>
                  <a:cubicBezTo>
                    <a:pt x="13636" y="45057"/>
                    <a:pt x="13636" y="45057"/>
                    <a:pt x="13636" y="45057"/>
                  </a:cubicBezTo>
                  <a:cubicBezTo>
                    <a:pt x="11688" y="51034"/>
                    <a:pt x="11688" y="51034"/>
                    <a:pt x="11688" y="51034"/>
                  </a:cubicBezTo>
                  <a:cubicBezTo>
                    <a:pt x="9350" y="55172"/>
                    <a:pt x="9350" y="55172"/>
                    <a:pt x="9350" y="55172"/>
                  </a:cubicBezTo>
                  <a:cubicBezTo>
                    <a:pt x="8571" y="57011"/>
                    <a:pt x="8571" y="57011"/>
                    <a:pt x="8571" y="57011"/>
                  </a:cubicBezTo>
                  <a:cubicBezTo>
                    <a:pt x="7012" y="59770"/>
                    <a:pt x="7012" y="59770"/>
                    <a:pt x="7012" y="59770"/>
                  </a:cubicBezTo>
                  <a:cubicBezTo>
                    <a:pt x="5844" y="61149"/>
                    <a:pt x="5844" y="61149"/>
                    <a:pt x="5844" y="61149"/>
                  </a:cubicBezTo>
                  <a:cubicBezTo>
                    <a:pt x="5454" y="62528"/>
                    <a:pt x="5454" y="62528"/>
                    <a:pt x="5454" y="62528"/>
                  </a:cubicBezTo>
                  <a:cubicBezTo>
                    <a:pt x="4285" y="64827"/>
                    <a:pt x="4285" y="64827"/>
                    <a:pt x="4285" y="64827"/>
                  </a:cubicBezTo>
                  <a:cubicBezTo>
                    <a:pt x="1948" y="68045"/>
                    <a:pt x="1948" y="68045"/>
                    <a:pt x="1948" y="68045"/>
                  </a:cubicBezTo>
                  <a:cubicBezTo>
                    <a:pt x="1168" y="69885"/>
                    <a:pt x="1168" y="69885"/>
                    <a:pt x="1168" y="69885"/>
                  </a:cubicBezTo>
                  <a:cubicBezTo>
                    <a:pt x="1948" y="73563"/>
                    <a:pt x="1948" y="73563"/>
                    <a:pt x="1948" y="73563"/>
                  </a:cubicBezTo>
                  <a:cubicBezTo>
                    <a:pt x="1948" y="74482"/>
                    <a:pt x="1948" y="74482"/>
                    <a:pt x="1948" y="74482"/>
                  </a:cubicBezTo>
                  <a:cubicBezTo>
                    <a:pt x="1948" y="75402"/>
                    <a:pt x="1948" y="75402"/>
                    <a:pt x="1948" y="75402"/>
                  </a:cubicBezTo>
                  <a:cubicBezTo>
                    <a:pt x="1558" y="75862"/>
                    <a:pt x="1558" y="75862"/>
                    <a:pt x="1558" y="75862"/>
                  </a:cubicBezTo>
                  <a:cubicBezTo>
                    <a:pt x="1168" y="77701"/>
                    <a:pt x="1168" y="77701"/>
                    <a:pt x="1168" y="77701"/>
                  </a:cubicBezTo>
                  <a:cubicBezTo>
                    <a:pt x="389" y="78160"/>
                    <a:pt x="389" y="78160"/>
                    <a:pt x="389" y="78160"/>
                  </a:cubicBezTo>
                  <a:cubicBezTo>
                    <a:pt x="389" y="80000"/>
                    <a:pt x="389" y="80000"/>
                    <a:pt x="389" y="80000"/>
                  </a:cubicBezTo>
                  <a:cubicBezTo>
                    <a:pt x="0" y="83678"/>
                    <a:pt x="0" y="83678"/>
                    <a:pt x="0" y="83678"/>
                  </a:cubicBezTo>
                  <a:cubicBezTo>
                    <a:pt x="0" y="85977"/>
                    <a:pt x="0" y="85977"/>
                    <a:pt x="0" y="85977"/>
                  </a:cubicBezTo>
                  <a:cubicBezTo>
                    <a:pt x="779" y="87356"/>
                    <a:pt x="779" y="87356"/>
                    <a:pt x="779" y="87356"/>
                  </a:cubicBezTo>
                  <a:cubicBezTo>
                    <a:pt x="1168" y="88735"/>
                    <a:pt x="1168" y="88735"/>
                    <a:pt x="1168" y="88735"/>
                  </a:cubicBezTo>
                  <a:cubicBezTo>
                    <a:pt x="57272" y="107586"/>
                    <a:pt x="57272" y="107586"/>
                    <a:pt x="57272" y="107586"/>
                  </a:cubicBezTo>
                  <a:cubicBezTo>
                    <a:pt x="57272" y="107586"/>
                    <a:pt x="84155" y="116321"/>
                    <a:pt x="93116" y="118620"/>
                  </a:cubicBezTo>
                  <a:cubicBezTo>
                    <a:pt x="94285" y="119080"/>
                    <a:pt x="95844" y="119540"/>
                    <a:pt x="97792" y="120000"/>
                  </a:cubicBezTo>
                  <a:close/>
                </a:path>
              </a:pathLst>
            </a:custGeom>
            <a:solidFill>
              <a:srgbClr val="FF00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77" name="Freeform 48">
              <a:extLst>
                <a:ext uri="{FF2B5EF4-FFF2-40B4-BE49-F238E27FC236}">
                  <a16:creationId xmlns:a16="http://schemas.microsoft.com/office/drawing/2014/main" id="{4B3D897E-F779-847B-1892-0FEEC98BA3DB}"/>
                </a:ext>
              </a:extLst>
            </p:cNvPr>
            <p:cNvSpPr>
              <a:spLocks/>
            </p:cNvSpPr>
            <p:nvPr/>
          </p:nvSpPr>
          <p:spPr bwMode="auto">
            <a:xfrm rot="21097436">
              <a:off x="8421345" y="2373621"/>
              <a:ext cx="683985" cy="1216878"/>
            </a:xfrm>
            <a:custGeom>
              <a:avLst/>
              <a:gdLst>
                <a:gd name="T0" fmla="*/ 1894430 w 296"/>
                <a:gd name="T1" fmla="*/ 709549 h 481"/>
                <a:gd name="T2" fmla="*/ 1929906 w 296"/>
                <a:gd name="T3" fmla="*/ 696648 h 481"/>
                <a:gd name="T4" fmla="*/ 1972478 w 296"/>
                <a:gd name="T5" fmla="*/ 683748 h 481"/>
                <a:gd name="T6" fmla="*/ 2022144 w 296"/>
                <a:gd name="T7" fmla="*/ 670847 h 481"/>
                <a:gd name="T8" fmla="*/ 2036335 w 296"/>
                <a:gd name="T9" fmla="*/ 664396 h 481"/>
                <a:gd name="T10" fmla="*/ 2100192 w 296"/>
                <a:gd name="T11" fmla="*/ 490234 h 481"/>
                <a:gd name="T12" fmla="*/ 2078906 w 296"/>
                <a:gd name="T13" fmla="*/ 483784 h 481"/>
                <a:gd name="T14" fmla="*/ 851429 w 296"/>
                <a:gd name="T15" fmla="*/ 6450 h 481"/>
                <a:gd name="T16" fmla="*/ 830143 w 296"/>
                <a:gd name="T17" fmla="*/ 0 h 481"/>
                <a:gd name="T18" fmla="*/ 823048 w 296"/>
                <a:gd name="T19" fmla="*/ 19351 h 481"/>
                <a:gd name="T20" fmla="*/ 702429 w 296"/>
                <a:gd name="T21" fmla="*/ 238667 h 481"/>
                <a:gd name="T22" fmla="*/ 688239 w 296"/>
                <a:gd name="T23" fmla="*/ 258018 h 481"/>
                <a:gd name="T24" fmla="*/ 588905 w 296"/>
                <a:gd name="T25" fmla="*/ 445081 h 481"/>
                <a:gd name="T26" fmla="*/ 439905 w 296"/>
                <a:gd name="T27" fmla="*/ 709549 h 481"/>
                <a:gd name="T28" fmla="*/ 170286 w 296"/>
                <a:gd name="T29" fmla="*/ 1186883 h 481"/>
                <a:gd name="T30" fmla="*/ 141905 w 296"/>
                <a:gd name="T31" fmla="*/ 1232036 h 481"/>
                <a:gd name="T32" fmla="*/ 35476 w 296"/>
                <a:gd name="T33" fmla="*/ 1515856 h 481"/>
                <a:gd name="T34" fmla="*/ 70952 w 296"/>
                <a:gd name="T35" fmla="*/ 1541657 h 481"/>
                <a:gd name="T36" fmla="*/ 99333 w 296"/>
                <a:gd name="T37" fmla="*/ 1554558 h 481"/>
                <a:gd name="T38" fmla="*/ 156095 w 296"/>
                <a:gd name="T39" fmla="*/ 1696468 h 481"/>
                <a:gd name="T40" fmla="*/ 163191 w 296"/>
                <a:gd name="T41" fmla="*/ 1715819 h 481"/>
                <a:gd name="T42" fmla="*/ 163191 w 296"/>
                <a:gd name="T43" fmla="*/ 1754522 h 481"/>
                <a:gd name="T44" fmla="*/ 163191 w 296"/>
                <a:gd name="T45" fmla="*/ 1806126 h 481"/>
                <a:gd name="T46" fmla="*/ 177381 w 296"/>
                <a:gd name="T47" fmla="*/ 1831928 h 481"/>
                <a:gd name="T48" fmla="*/ 205762 w 296"/>
                <a:gd name="T49" fmla="*/ 1851279 h 481"/>
                <a:gd name="T50" fmla="*/ 205762 w 296"/>
                <a:gd name="T51" fmla="*/ 1838378 h 481"/>
                <a:gd name="T52" fmla="*/ 234143 w 296"/>
                <a:gd name="T53" fmla="*/ 1851279 h 481"/>
                <a:gd name="T54" fmla="*/ 269619 w 296"/>
                <a:gd name="T55" fmla="*/ 1999639 h 481"/>
                <a:gd name="T56" fmla="*/ 269619 w 296"/>
                <a:gd name="T57" fmla="*/ 2012540 h 481"/>
                <a:gd name="T58" fmla="*/ 298000 w 296"/>
                <a:gd name="T59" fmla="*/ 2096396 h 481"/>
                <a:gd name="T60" fmla="*/ 333476 w 296"/>
                <a:gd name="T61" fmla="*/ 2148000 h 481"/>
                <a:gd name="T62" fmla="*/ 376048 w 296"/>
                <a:gd name="T63" fmla="*/ 2277009 h 481"/>
                <a:gd name="T64" fmla="*/ 383143 w 296"/>
                <a:gd name="T65" fmla="*/ 2309261 h 481"/>
                <a:gd name="T66" fmla="*/ 425715 w 296"/>
                <a:gd name="T67" fmla="*/ 2399567 h 481"/>
                <a:gd name="T68" fmla="*/ 461191 w 296"/>
                <a:gd name="T69" fmla="*/ 2451171 h 481"/>
                <a:gd name="T70" fmla="*/ 439905 w 296"/>
                <a:gd name="T71" fmla="*/ 2612432 h 481"/>
                <a:gd name="T72" fmla="*/ 432810 w 296"/>
                <a:gd name="T73" fmla="*/ 2651135 h 481"/>
                <a:gd name="T74" fmla="*/ 404429 w 296"/>
                <a:gd name="T75" fmla="*/ 2818846 h 481"/>
                <a:gd name="T76" fmla="*/ 425715 w 296"/>
                <a:gd name="T77" fmla="*/ 2863999 h 481"/>
                <a:gd name="T78" fmla="*/ 425715 w 296"/>
                <a:gd name="T79" fmla="*/ 2870450 h 481"/>
                <a:gd name="T80" fmla="*/ 432810 w 296"/>
                <a:gd name="T81" fmla="*/ 2876900 h 481"/>
                <a:gd name="T82" fmla="*/ 439905 w 296"/>
                <a:gd name="T83" fmla="*/ 2883351 h 481"/>
                <a:gd name="T84" fmla="*/ 1106858 w 296"/>
                <a:gd name="T85" fmla="*/ 3096216 h 481"/>
                <a:gd name="T86" fmla="*/ 1128144 w 296"/>
                <a:gd name="T87" fmla="*/ 3102666 h 481"/>
                <a:gd name="T88" fmla="*/ 2029240 w 296"/>
                <a:gd name="T89" fmla="*/ 683748 h 481"/>
                <a:gd name="T90" fmla="*/ 1986668 w 296"/>
                <a:gd name="T91" fmla="*/ 703099 h 481"/>
                <a:gd name="T92" fmla="*/ 1958287 w 296"/>
                <a:gd name="T93" fmla="*/ 709549 h 481"/>
                <a:gd name="T94" fmla="*/ 1929906 w 296"/>
                <a:gd name="T95" fmla="*/ 728901 h 481"/>
                <a:gd name="T96" fmla="*/ 1866049 w 296"/>
                <a:gd name="T97" fmla="*/ 767603 h 481"/>
                <a:gd name="T98" fmla="*/ 1851858 w 296"/>
                <a:gd name="T99" fmla="*/ 748252 h 481"/>
                <a:gd name="T100" fmla="*/ 1894430 w 296"/>
                <a:gd name="T101" fmla="*/ 709549 h 4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96" h="481">
                  <a:moveTo>
                    <a:pt x="267" y="110"/>
                  </a:moveTo>
                  <a:cubicBezTo>
                    <a:pt x="269" y="109"/>
                    <a:pt x="270" y="109"/>
                    <a:pt x="272" y="108"/>
                  </a:cubicBezTo>
                  <a:cubicBezTo>
                    <a:pt x="274" y="107"/>
                    <a:pt x="276" y="106"/>
                    <a:pt x="278" y="106"/>
                  </a:cubicBezTo>
                  <a:cubicBezTo>
                    <a:pt x="281" y="105"/>
                    <a:pt x="283" y="105"/>
                    <a:pt x="285" y="104"/>
                  </a:cubicBezTo>
                  <a:cubicBezTo>
                    <a:pt x="287" y="103"/>
                    <a:pt x="287" y="103"/>
                    <a:pt x="287" y="103"/>
                  </a:cubicBezTo>
                  <a:cubicBezTo>
                    <a:pt x="296" y="76"/>
                    <a:pt x="296" y="76"/>
                    <a:pt x="296" y="76"/>
                  </a:cubicBezTo>
                  <a:cubicBezTo>
                    <a:pt x="293" y="75"/>
                    <a:pt x="293" y="75"/>
                    <a:pt x="293" y="75"/>
                  </a:cubicBezTo>
                  <a:cubicBezTo>
                    <a:pt x="234" y="55"/>
                    <a:pt x="176" y="31"/>
                    <a:pt x="120" y="1"/>
                  </a:cubicBezTo>
                  <a:cubicBezTo>
                    <a:pt x="117" y="0"/>
                    <a:pt x="117" y="0"/>
                    <a:pt x="117" y="0"/>
                  </a:cubicBezTo>
                  <a:cubicBezTo>
                    <a:pt x="116" y="3"/>
                    <a:pt x="116" y="3"/>
                    <a:pt x="116" y="3"/>
                  </a:cubicBezTo>
                  <a:cubicBezTo>
                    <a:pt x="110" y="14"/>
                    <a:pt x="104" y="26"/>
                    <a:pt x="99" y="37"/>
                  </a:cubicBezTo>
                  <a:cubicBezTo>
                    <a:pt x="97" y="40"/>
                    <a:pt x="97" y="40"/>
                    <a:pt x="97" y="40"/>
                  </a:cubicBezTo>
                  <a:cubicBezTo>
                    <a:pt x="92" y="50"/>
                    <a:pt x="88" y="59"/>
                    <a:pt x="83" y="69"/>
                  </a:cubicBezTo>
                  <a:cubicBezTo>
                    <a:pt x="76" y="83"/>
                    <a:pt x="69" y="97"/>
                    <a:pt x="62" y="110"/>
                  </a:cubicBezTo>
                  <a:cubicBezTo>
                    <a:pt x="50" y="135"/>
                    <a:pt x="38" y="160"/>
                    <a:pt x="24" y="184"/>
                  </a:cubicBezTo>
                  <a:cubicBezTo>
                    <a:pt x="23" y="186"/>
                    <a:pt x="22" y="188"/>
                    <a:pt x="20" y="191"/>
                  </a:cubicBezTo>
                  <a:cubicBezTo>
                    <a:pt x="10" y="207"/>
                    <a:pt x="0" y="226"/>
                    <a:pt x="5" y="235"/>
                  </a:cubicBezTo>
                  <a:cubicBezTo>
                    <a:pt x="6" y="238"/>
                    <a:pt x="8" y="238"/>
                    <a:pt x="10" y="239"/>
                  </a:cubicBezTo>
                  <a:cubicBezTo>
                    <a:pt x="11" y="240"/>
                    <a:pt x="12" y="240"/>
                    <a:pt x="14" y="241"/>
                  </a:cubicBezTo>
                  <a:cubicBezTo>
                    <a:pt x="20" y="246"/>
                    <a:pt x="21" y="255"/>
                    <a:pt x="22" y="263"/>
                  </a:cubicBezTo>
                  <a:cubicBezTo>
                    <a:pt x="23" y="266"/>
                    <a:pt x="23" y="266"/>
                    <a:pt x="23" y="266"/>
                  </a:cubicBezTo>
                  <a:cubicBezTo>
                    <a:pt x="23" y="268"/>
                    <a:pt x="23" y="270"/>
                    <a:pt x="23" y="272"/>
                  </a:cubicBezTo>
                  <a:cubicBezTo>
                    <a:pt x="23" y="275"/>
                    <a:pt x="23" y="277"/>
                    <a:pt x="23" y="280"/>
                  </a:cubicBezTo>
                  <a:cubicBezTo>
                    <a:pt x="24" y="283"/>
                    <a:pt x="25" y="284"/>
                    <a:pt x="25" y="284"/>
                  </a:cubicBezTo>
                  <a:cubicBezTo>
                    <a:pt x="29" y="287"/>
                    <a:pt x="29" y="287"/>
                    <a:pt x="29" y="287"/>
                  </a:cubicBezTo>
                  <a:cubicBezTo>
                    <a:pt x="29" y="285"/>
                    <a:pt x="29" y="285"/>
                    <a:pt x="29" y="285"/>
                  </a:cubicBezTo>
                  <a:cubicBezTo>
                    <a:pt x="30" y="286"/>
                    <a:pt x="31" y="286"/>
                    <a:pt x="33" y="287"/>
                  </a:cubicBezTo>
                  <a:cubicBezTo>
                    <a:pt x="39" y="291"/>
                    <a:pt x="38" y="302"/>
                    <a:pt x="38" y="310"/>
                  </a:cubicBezTo>
                  <a:cubicBezTo>
                    <a:pt x="38" y="312"/>
                    <a:pt x="38" y="312"/>
                    <a:pt x="38" y="312"/>
                  </a:cubicBezTo>
                  <a:cubicBezTo>
                    <a:pt x="37" y="320"/>
                    <a:pt x="39" y="322"/>
                    <a:pt x="42" y="325"/>
                  </a:cubicBezTo>
                  <a:cubicBezTo>
                    <a:pt x="44" y="327"/>
                    <a:pt x="45" y="329"/>
                    <a:pt x="47" y="333"/>
                  </a:cubicBezTo>
                  <a:cubicBezTo>
                    <a:pt x="50" y="338"/>
                    <a:pt x="52" y="346"/>
                    <a:pt x="53" y="353"/>
                  </a:cubicBezTo>
                  <a:cubicBezTo>
                    <a:pt x="53" y="355"/>
                    <a:pt x="54" y="356"/>
                    <a:pt x="54" y="358"/>
                  </a:cubicBezTo>
                  <a:cubicBezTo>
                    <a:pt x="55" y="364"/>
                    <a:pt x="58" y="368"/>
                    <a:pt x="60" y="372"/>
                  </a:cubicBezTo>
                  <a:cubicBezTo>
                    <a:pt x="62" y="374"/>
                    <a:pt x="64" y="377"/>
                    <a:pt x="65" y="380"/>
                  </a:cubicBezTo>
                  <a:cubicBezTo>
                    <a:pt x="68" y="388"/>
                    <a:pt x="65" y="398"/>
                    <a:pt x="62" y="405"/>
                  </a:cubicBezTo>
                  <a:cubicBezTo>
                    <a:pt x="62" y="407"/>
                    <a:pt x="61" y="411"/>
                    <a:pt x="61" y="411"/>
                  </a:cubicBezTo>
                  <a:cubicBezTo>
                    <a:pt x="58" y="419"/>
                    <a:pt x="55" y="427"/>
                    <a:pt x="57" y="437"/>
                  </a:cubicBezTo>
                  <a:cubicBezTo>
                    <a:pt x="58" y="439"/>
                    <a:pt x="59" y="441"/>
                    <a:pt x="60" y="444"/>
                  </a:cubicBezTo>
                  <a:cubicBezTo>
                    <a:pt x="60" y="445"/>
                    <a:pt x="60" y="445"/>
                    <a:pt x="60" y="445"/>
                  </a:cubicBezTo>
                  <a:cubicBezTo>
                    <a:pt x="61" y="446"/>
                    <a:pt x="61" y="446"/>
                    <a:pt x="61" y="446"/>
                  </a:cubicBezTo>
                  <a:cubicBezTo>
                    <a:pt x="62" y="447"/>
                    <a:pt x="62" y="447"/>
                    <a:pt x="62" y="447"/>
                  </a:cubicBezTo>
                  <a:cubicBezTo>
                    <a:pt x="91" y="458"/>
                    <a:pt x="123" y="469"/>
                    <a:pt x="156" y="480"/>
                  </a:cubicBezTo>
                  <a:cubicBezTo>
                    <a:pt x="159" y="481"/>
                    <a:pt x="159" y="481"/>
                    <a:pt x="159" y="481"/>
                  </a:cubicBezTo>
                  <a:cubicBezTo>
                    <a:pt x="286" y="106"/>
                    <a:pt x="286" y="106"/>
                    <a:pt x="286" y="106"/>
                  </a:cubicBezTo>
                  <a:cubicBezTo>
                    <a:pt x="280" y="109"/>
                    <a:pt x="280" y="109"/>
                    <a:pt x="280" y="109"/>
                  </a:cubicBezTo>
                  <a:cubicBezTo>
                    <a:pt x="278" y="109"/>
                    <a:pt x="277" y="110"/>
                    <a:pt x="276" y="110"/>
                  </a:cubicBezTo>
                  <a:cubicBezTo>
                    <a:pt x="275" y="111"/>
                    <a:pt x="273" y="112"/>
                    <a:pt x="272" y="113"/>
                  </a:cubicBezTo>
                  <a:cubicBezTo>
                    <a:pt x="269" y="116"/>
                    <a:pt x="265" y="119"/>
                    <a:pt x="263" y="119"/>
                  </a:cubicBezTo>
                  <a:cubicBezTo>
                    <a:pt x="262" y="119"/>
                    <a:pt x="261" y="117"/>
                    <a:pt x="261" y="116"/>
                  </a:cubicBezTo>
                  <a:cubicBezTo>
                    <a:pt x="260" y="113"/>
                    <a:pt x="261" y="112"/>
                    <a:pt x="267" y="110"/>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78" name="Freeform 51">
              <a:extLst>
                <a:ext uri="{FF2B5EF4-FFF2-40B4-BE49-F238E27FC236}">
                  <a16:creationId xmlns:a16="http://schemas.microsoft.com/office/drawing/2014/main" id="{7A1DAED5-C454-C42C-B968-CF16F169778A}"/>
                </a:ext>
              </a:extLst>
            </p:cNvPr>
            <p:cNvSpPr>
              <a:spLocks noEditPoints="1"/>
            </p:cNvSpPr>
            <p:nvPr/>
          </p:nvSpPr>
          <p:spPr bwMode="auto">
            <a:xfrm rot="21006289">
              <a:off x="7836325" y="1892347"/>
              <a:ext cx="823147" cy="1700324"/>
            </a:xfrm>
            <a:custGeom>
              <a:avLst/>
              <a:gdLst>
                <a:gd name="T0" fmla="*/ 1992471 w 347"/>
                <a:gd name="T1" fmla="*/ 1160933 h 664"/>
                <a:gd name="T2" fmla="*/ 340351 w 347"/>
                <a:gd name="T3" fmla="*/ 238636 h 664"/>
                <a:gd name="T4" fmla="*/ 397076 w 347"/>
                <a:gd name="T5" fmla="*/ 386978 h 664"/>
                <a:gd name="T6" fmla="*/ 666521 w 347"/>
                <a:gd name="T7" fmla="*/ 393427 h 664"/>
                <a:gd name="T8" fmla="*/ 638158 w 347"/>
                <a:gd name="T9" fmla="*/ 554668 h 664"/>
                <a:gd name="T10" fmla="*/ 588524 w 347"/>
                <a:gd name="T11" fmla="*/ 1038390 h 664"/>
                <a:gd name="T12" fmla="*/ 538889 w 347"/>
                <a:gd name="T13" fmla="*/ 1244778 h 664"/>
                <a:gd name="T14" fmla="*/ 560161 w 347"/>
                <a:gd name="T15" fmla="*/ 1335073 h 664"/>
                <a:gd name="T16" fmla="*/ 645249 w 347"/>
                <a:gd name="T17" fmla="*/ 1515663 h 664"/>
                <a:gd name="T18" fmla="*/ 545980 w 347"/>
                <a:gd name="T19" fmla="*/ 1728501 h 664"/>
                <a:gd name="T20" fmla="*/ 446711 w 347"/>
                <a:gd name="T21" fmla="*/ 1780098 h 664"/>
                <a:gd name="T22" fmla="*/ 397076 w 347"/>
                <a:gd name="T23" fmla="*/ 1818796 h 664"/>
                <a:gd name="T24" fmla="*/ 283626 w 347"/>
                <a:gd name="T25" fmla="*/ 1889741 h 664"/>
                <a:gd name="T26" fmla="*/ 219810 w 347"/>
                <a:gd name="T27" fmla="*/ 1902641 h 664"/>
                <a:gd name="T28" fmla="*/ 255263 w 347"/>
                <a:gd name="T29" fmla="*/ 2005835 h 664"/>
                <a:gd name="T30" fmla="*/ 198538 w 347"/>
                <a:gd name="T31" fmla="*/ 2109029 h 664"/>
                <a:gd name="T32" fmla="*/ 283626 w 347"/>
                <a:gd name="T33" fmla="*/ 2173525 h 664"/>
                <a:gd name="T34" fmla="*/ 425439 w 347"/>
                <a:gd name="T35" fmla="*/ 2128378 h 664"/>
                <a:gd name="T36" fmla="*/ 368714 w 347"/>
                <a:gd name="T37" fmla="*/ 2179975 h 664"/>
                <a:gd name="T38" fmla="*/ 219810 w 347"/>
                <a:gd name="T39" fmla="*/ 2270270 h 664"/>
                <a:gd name="T40" fmla="*/ 276535 w 347"/>
                <a:gd name="T41" fmla="*/ 2354115 h 664"/>
                <a:gd name="T42" fmla="*/ 326170 w 347"/>
                <a:gd name="T43" fmla="*/ 2379913 h 664"/>
                <a:gd name="T44" fmla="*/ 319079 w 347"/>
                <a:gd name="T45" fmla="*/ 2463758 h 664"/>
                <a:gd name="T46" fmla="*/ 290716 w 347"/>
                <a:gd name="T47" fmla="*/ 2515356 h 664"/>
                <a:gd name="T48" fmla="*/ 184357 w 347"/>
                <a:gd name="T49" fmla="*/ 2612100 h 664"/>
                <a:gd name="T50" fmla="*/ 241082 w 347"/>
                <a:gd name="T51" fmla="*/ 2695945 h 664"/>
                <a:gd name="T52" fmla="*/ 184357 w 347"/>
                <a:gd name="T53" fmla="*/ 2792690 h 664"/>
                <a:gd name="T54" fmla="*/ 269445 w 347"/>
                <a:gd name="T55" fmla="*/ 2902333 h 664"/>
                <a:gd name="T56" fmla="*/ 233991 w 347"/>
                <a:gd name="T57" fmla="*/ 2928132 h 664"/>
                <a:gd name="T58" fmla="*/ 63816 w 347"/>
                <a:gd name="T59" fmla="*/ 2753992 h 664"/>
                <a:gd name="T60" fmla="*/ 42544 w 347"/>
                <a:gd name="T61" fmla="*/ 2889434 h 664"/>
                <a:gd name="T62" fmla="*/ 56725 w 347"/>
                <a:gd name="T63" fmla="*/ 2999078 h 664"/>
                <a:gd name="T64" fmla="*/ 70906 w 347"/>
                <a:gd name="T65" fmla="*/ 3089373 h 664"/>
                <a:gd name="T66" fmla="*/ 99269 w 347"/>
                <a:gd name="T67" fmla="*/ 3186117 h 664"/>
                <a:gd name="T68" fmla="*/ 184357 w 347"/>
                <a:gd name="T69" fmla="*/ 3328009 h 664"/>
                <a:gd name="T70" fmla="*/ 212719 w 347"/>
                <a:gd name="T71" fmla="*/ 3457001 h 664"/>
                <a:gd name="T72" fmla="*/ 233991 w 347"/>
                <a:gd name="T73" fmla="*/ 3476350 h 664"/>
                <a:gd name="T74" fmla="*/ 326170 w 347"/>
                <a:gd name="T75" fmla="*/ 3708537 h 664"/>
                <a:gd name="T76" fmla="*/ 496345 w 347"/>
                <a:gd name="T77" fmla="*/ 3611793 h 664"/>
                <a:gd name="T78" fmla="*/ 418348 w 347"/>
                <a:gd name="T79" fmla="*/ 3134520 h 664"/>
                <a:gd name="T80" fmla="*/ 453801 w 347"/>
                <a:gd name="T81" fmla="*/ 3140970 h 664"/>
                <a:gd name="T82" fmla="*/ 418348 w 347"/>
                <a:gd name="T83" fmla="*/ 3237714 h 664"/>
                <a:gd name="T84" fmla="*/ 439620 w 347"/>
                <a:gd name="T85" fmla="*/ 3302210 h 664"/>
                <a:gd name="T86" fmla="*/ 496345 w 347"/>
                <a:gd name="T87" fmla="*/ 3444102 h 664"/>
                <a:gd name="T88" fmla="*/ 588524 w 347"/>
                <a:gd name="T89" fmla="*/ 3515048 h 664"/>
                <a:gd name="T90" fmla="*/ 2013743 w 347"/>
                <a:gd name="T91" fmla="*/ 4269655 h 664"/>
                <a:gd name="T92" fmla="*/ 2091740 w 347"/>
                <a:gd name="T93" fmla="*/ 3863328 h 664"/>
                <a:gd name="T94" fmla="*/ 1900293 w 347"/>
                <a:gd name="T95" fmla="*/ 3418304 h 664"/>
                <a:gd name="T96" fmla="*/ 1786843 w 347"/>
                <a:gd name="T97" fmla="*/ 3121621 h 664"/>
                <a:gd name="T98" fmla="*/ 1801024 w 347"/>
                <a:gd name="T99" fmla="*/ 2592751 h 664"/>
                <a:gd name="T100" fmla="*/ 2453363 w 347"/>
                <a:gd name="T101" fmla="*/ 1418918 h 664"/>
                <a:gd name="T102" fmla="*/ 496345 w 347"/>
                <a:gd name="T103" fmla="*/ 3224815 h 664"/>
                <a:gd name="T104" fmla="*/ 333260 w 347"/>
                <a:gd name="T105" fmla="*/ 2999078 h 664"/>
                <a:gd name="T106" fmla="*/ 319079 w 347"/>
                <a:gd name="T107" fmla="*/ 2999078 h 6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7" h="664">
                  <a:moveTo>
                    <a:pt x="345" y="216"/>
                  </a:moveTo>
                  <a:cubicBezTo>
                    <a:pt x="324" y="205"/>
                    <a:pt x="303" y="193"/>
                    <a:pt x="282" y="181"/>
                  </a:cubicBezTo>
                  <a:cubicBezTo>
                    <a:pt x="282" y="181"/>
                    <a:pt x="282" y="181"/>
                    <a:pt x="282" y="181"/>
                  </a:cubicBezTo>
                  <a:cubicBezTo>
                    <a:pt x="282" y="181"/>
                    <a:pt x="282" y="181"/>
                    <a:pt x="282" y="181"/>
                  </a:cubicBezTo>
                  <a:cubicBezTo>
                    <a:pt x="281" y="180"/>
                    <a:pt x="281" y="180"/>
                    <a:pt x="281" y="180"/>
                  </a:cubicBezTo>
                  <a:cubicBezTo>
                    <a:pt x="281" y="180"/>
                    <a:pt x="281" y="180"/>
                    <a:pt x="281" y="180"/>
                  </a:cubicBezTo>
                  <a:cubicBezTo>
                    <a:pt x="160" y="107"/>
                    <a:pt x="75" y="27"/>
                    <a:pt x="52" y="4"/>
                  </a:cubicBezTo>
                  <a:cubicBezTo>
                    <a:pt x="48" y="0"/>
                    <a:pt x="48" y="0"/>
                    <a:pt x="48" y="0"/>
                  </a:cubicBezTo>
                  <a:cubicBezTo>
                    <a:pt x="47" y="6"/>
                    <a:pt x="47" y="6"/>
                    <a:pt x="47" y="6"/>
                  </a:cubicBezTo>
                  <a:cubicBezTo>
                    <a:pt x="46" y="11"/>
                    <a:pt x="47" y="17"/>
                    <a:pt x="47" y="23"/>
                  </a:cubicBezTo>
                  <a:cubicBezTo>
                    <a:pt x="48" y="26"/>
                    <a:pt x="48" y="30"/>
                    <a:pt x="48" y="32"/>
                  </a:cubicBezTo>
                  <a:cubicBezTo>
                    <a:pt x="48" y="34"/>
                    <a:pt x="48" y="35"/>
                    <a:pt x="48" y="37"/>
                  </a:cubicBezTo>
                  <a:cubicBezTo>
                    <a:pt x="48" y="40"/>
                    <a:pt x="48" y="43"/>
                    <a:pt x="48" y="45"/>
                  </a:cubicBezTo>
                  <a:cubicBezTo>
                    <a:pt x="48" y="46"/>
                    <a:pt x="47" y="47"/>
                    <a:pt x="47" y="48"/>
                  </a:cubicBezTo>
                  <a:cubicBezTo>
                    <a:pt x="46" y="51"/>
                    <a:pt x="43" y="57"/>
                    <a:pt x="48" y="60"/>
                  </a:cubicBezTo>
                  <a:cubicBezTo>
                    <a:pt x="49" y="61"/>
                    <a:pt x="50" y="61"/>
                    <a:pt x="51" y="61"/>
                  </a:cubicBezTo>
                  <a:cubicBezTo>
                    <a:pt x="52" y="61"/>
                    <a:pt x="54" y="61"/>
                    <a:pt x="55" y="61"/>
                  </a:cubicBezTo>
                  <a:cubicBezTo>
                    <a:pt x="55" y="60"/>
                    <a:pt x="56" y="60"/>
                    <a:pt x="56" y="60"/>
                  </a:cubicBezTo>
                  <a:cubicBezTo>
                    <a:pt x="58" y="60"/>
                    <a:pt x="60" y="61"/>
                    <a:pt x="62" y="62"/>
                  </a:cubicBezTo>
                  <a:cubicBezTo>
                    <a:pt x="64" y="62"/>
                    <a:pt x="66" y="63"/>
                    <a:pt x="67" y="63"/>
                  </a:cubicBezTo>
                  <a:cubicBezTo>
                    <a:pt x="70" y="63"/>
                    <a:pt x="72" y="61"/>
                    <a:pt x="75" y="59"/>
                  </a:cubicBezTo>
                  <a:cubicBezTo>
                    <a:pt x="76" y="58"/>
                    <a:pt x="76" y="58"/>
                    <a:pt x="76" y="58"/>
                  </a:cubicBezTo>
                  <a:cubicBezTo>
                    <a:pt x="78" y="57"/>
                    <a:pt x="81" y="56"/>
                    <a:pt x="85" y="56"/>
                  </a:cubicBezTo>
                  <a:cubicBezTo>
                    <a:pt x="87" y="56"/>
                    <a:pt x="93" y="56"/>
                    <a:pt x="94" y="61"/>
                  </a:cubicBezTo>
                  <a:cubicBezTo>
                    <a:pt x="95" y="64"/>
                    <a:pt x="93" y="68"/>
                    <a:pt x="91" y="72"/>
                  </a:cubicBezTo>
                  <a:cubicBezTo>
                    <a:pt x="91" y="72"/>
                    <a:pt x="91" y="73"/>
                    <a:pt x="91" y="73"/>
                  </a:cubicBezTo>
                  <a:cubicBezTo>
                    <a:pt x="90" y="74"/>
                    <a:pt x="89" y="75"/>
                    <a:pt x="89" y="77"/>
                  </a:cubicBezTo>
                  <a:cubicBezTo>
                    <a:pt x="89" y="79"/>
                    <a:pt x="89" y="80"/>
                    <a:pt x="89" y="82"/>
                  </a:cubicBezTo>
                  <a:cubicBezTo>
                    <a:pt x="89" y="82"/>
                    <a:pt x="89" y="83"/>
                    <a:pt x="89" y="83"/>
                  </a:cubicBezTo>
                  <a:cubicBezTo>
                    <a:pt x="90" y="86"/>
                    <a:pt x="90" y="86"/>
                    <a:pt x="90" y="86"/>
                  </a:cubicBezTo>
                  <a:cubicBezTo>
                    <a:pt x="90" y="87"/>
                    <a:pt x="90" y="89"/>
                    <a:pt x="90" y="90"/>
                  </a:cubicBezTo>
                  <a:cubicBezTo>
                    <a:pt x="90" y="92"/>
                    <a:pt x="90" y="94"/>
                    <a:pt x="90" y="97"/>
                  </a:cubicBezTo>
                  <a:cubicBezTo>
                    <a:pt x="89" y="100"/>
                    <a:pt x="89" y="103"/>
                    <a:pt x="89" y="106"/>
                  </a:cubicBezTo>
                  <a:cubicBezTo>
                    <a:pt x="90" y="111"/>
                    <a:pt x="90" y="117"/>
                    <a:pt x="90" y="122"/>
                  </a:cubicBezTo>
                  <a:cubicBezTo>
                    <a:pt x="90" y="131"/>
                    <a:pt x="88" y="142"/>
                    <a:pt x="85" y="152"/>
                  </a:cubicBezTo>
                  <a:cubicBezTo>
                    <a:pt x="84" y="155"/>
                    <a:pt x="83" y="158"/>
                    <a:pt x="83" y="161"/>
                  </a:cubicBezTo>
                  <a:cubicBezTo>
                    <a:pt x="82" y="164"/>
                    <a:pt x="81" y="167"/>
                    <a:pt x="81" y="170"/>
                  </a:cubicBezTo>
                  <a:cubicBezTo>
                    <a:pt x="80" y="171"/>
                    <a:pt x="80" y="172"/>
                    <a:pt x="80" y="173"/>
                  </a:cubicBezTo>
                  <a:cubicBezTo>
                    <a:pt x="80" y="174"/>
                    <a:pt x="79" y="176"/>
                    <a:pt x="79" y="178"/>
                  </a:cubicBezTo>
                  <a:cubicBezTo>
                    <a:pt x="78" y="179"/>
                    <a:pt x="78" y="179"/>
                    <a:pt x="78" y="179"/>
                  </a:cubicBezTo>
                  <a:cubicBezTo>
                    <a:pt x="78" y="180"/>
                    <a:pt x="77" y="182"/>
                    <a:pt x="77" y="184"/>
                  </a:cubicBezTo>
                  <a:cubicBezTo>
                    <a:pt x="76" y="187"/>
                    <a:pt x="76" y="189"/>
                    <a:pt x="76" y="193"/>
                  </a:cubicBezTo>
                  <a:cubicBezTo>
                    <a:pt x="76" y="194"/>
                    <a:pt x="76" y="195"/>
                    <a:pt x="76" y="196"/>
                  </a:cubicBezTo>
                  <a:cubicBezTo>
                    <a:pt x="76" y="196"/>
                    <a:pt x="76" y="197"/>
                    <a:pt x="76" y="197"/>
                  </a:cubicBezTo>
                  <a:cubicBezTo>
                    <a:pt x="76" y="198"/>
                    <a:pt x="76" y="198"/>
                    <a:pt x="76" y="199"/>
                  </a:cubicBezTo>
                  <a:cubicBezTo>
                    <a:pt x="76" y="200"/>
                    <a:pt x="76" y="201"/>
                    <a:pt x="77" y="202"/>
                  </a:cubicBezTo>
                  <a:cubicBezTo>
                    <a:pt x="77" y="204"/>
                    <a:pt x="77" y="205"/>
                    <a:pt x="78" y="205"/>
                  </a:cubicBezTo>
                  <a:cubicBezTo>
                    <a:pt x="78" y="206"/>
                    <a:pt x="78" y="206"/>
                    <a:pt x="79" y="207"/>
                  </a:cubicBezTo>
                  <a:cubicBezTo>
                    <a:pt x="80" y="211"/>
                    <a:pt x="83" y="215"/>
                    <a:pt x="85" y="218"/>
                  </a:cubicBezTo>
                  <a:cubicBezTo>
                    <a:pt x="86" y="219"/>
                    <a:pt x="87" y="221"/>
                    <a:pt x="87" y="222"/>
                  </a:cubicBezTo>
                  <a:cubicBezTo>
                    <a:pt x="87" y="223"/>
                    <a:pt x="87" y="223"/>
                    <a:pt x="87" y="224"/>
                  </a:cubicBezTo>
                  <a:cubicBezTo>
                    <a:pt x="87" y="226"/>
                    <a:pt x="87" y="227"/>
                    <a:pt x="88" y="229"/>
                  </a:cubicBezTo>
                  <a:cubicBezTo>
                    <a:pt x="89" y="230"/>
                    <a:pt x="89" y="230"/>
                    <a:pt x="89" y="231"/>
                  </a:cubicBezTo>
                  <a:cubicBezTo>
                    <a:pt x="90" y="232"/>
                    <a:pt x="91" y="234"/>
                    <a:pt x="91" y="235"/>
                  </a:cubicBezTo>
                  <a:cubicBezTo>
                    <a:pt x="92" y="240"/>
                    <a:pt x="92" y="247"/>
                    <a:pt x="88" y="249"/>
                  </a:cubicBezTo>
                  <a:cubicBezTo>
                    <a:pt x="88" y="250"/>
                    <a:pt x="87" y="250"/>
                    <a:pt x="87" y="250"/>
                  </a:cubicBezTo>
                  <a:cubicBezTo>
                    <a:pt x="84" y="252"/>
                    <a:pt x="81" y="254"/>
                    <a:pt x="81" y="259"/>
                  </a:cubicBezTo>
                  <a:cubicBezTo>
                    <a:pt x="81" y="260"/>
                    <a:pt x="81" y="261"/>
                    <a:pt x="81" y="262"/>
                  </a:cubicBezTo>
                  <a:cubicBezTo>
                    <a:pt x="81" y="263"/>
                    <a:pt x="81" y="265"/>
                    <a:pt x="81" y="266"/>
                  </a:cubicBezTo>
                  <a:cubicBezTo>
                    <a:pt x="80" y="267"/>
                    <a:pt x="79" y="267"/>
                    <a:pt x="77" y="268"/>
                  </a:cubicBezTo>
                  <a:cubicBezTo>
                    <a:pt x="77" y="269"/>
                    <a:pt x="76" y="269"/>
                    <a:pt x="75" y="270"/>
                  </a:cubicBezTo>
                  <a:cubicBezTo>
                    <a:pt x="74" y="271"/>
                    <a:pt x="73" y="271"/>
                    <a:pt x="73" y="272"/>
                  </a:cubicBezTo>
                  <a:cubicBezTo>
                    <a:pt x="72" y="273"/>
                    <a:pt x="72" y="273"/>
                    <a:pt x="72" y="273"/>
                  </a:cubicBezTo>
                  <a:cubicBezTo>
                    <a:pt x="71" y="273"/>
                    <a:pt x="70" y="273"/>
                    <a:pt x="69" y="274"/>
                  </a:cubicBezTo>
                  <a:cubicBezTo>
                    <a:pt x="69" y="274"/>
                    <a:pt x="69" y="274"/>
                    <a:pt x="69" y="274"/>
                  </a:cubicBezTo>
                  <a:cubicBezTo>
                    <a:pt x="66" y="274"/>
                    <a:pt x="64" y="275"/>
                    <a:pt x="63" y="276"/>
                  </a:cubicBezTo>
                  <a:cubicBezTo>
                    <a:pt x="61" y="276"/>
                    <a:pt x="60" y="277"/>
                    <a:pt x="59" y="279"/>
                  </a:cubicBezTo>
                  <a:cubicBezTo>
                    <a:pt x="59" y="280"/>
                    <a:pt x="59" y="280"/>
                    <a:pt x="59" y="281"/>
                  </a:cubicBezTo>
                  <a:cubicBezTo>
                    <a:pt x="59" y="281"/>
                    <a:pt x="58" y="282"/>
                    <a:pt x="58" y="282"/>
                  </a:cubicBezTo>
                  <a:cubicBezTo>
                    <a:pt x="58" y="282"/>
                    <a:pt x="58" y="282"/>
                    <a:pt x="58" y="282"/>
                  </a:cubicBezTo>
                  <a:cubicBezTo>
                    <a:pt x="58" y="282"/>
                    <a:pt x="58" y="282"/>
                    <a:pt x="58" y="282"/>
                  </a:cubicBezTo>
                  <a:cubicBezTo>
                    <a:pt x="57" y="282"/>
                    <a:pt x="57" y="282"/>
                    <a:pt x="56" y="282"/>
                  </a:cubicBezTo>
                  <a:cubicBezTo>
                    <a:pt x="55" y="281"/>
                    <a:pt x="53" y="280"/>
                    <a:pt x="51" y="280"/>
                  </a:cubicBezTo>
                  <a:cubicBezTo>
                    <a:pt x="50" y="280"/>
                    <a:pt x="49" y="280"/>
                    <a:pt x="48" y="281"/>
                  </a:cubicBezTo>
                  <a:cubicBezTo>
                    <a:pt x="43" y="284"/>
                    <a:pt x="44" y="290"/>
                    <a:pt x="45" y="295"/>
                  </a:cubicBezTo>
                  <a:cubicBezTo>
                    <a:pt x="45" y="295"/>
                    <a:pt x="45" y="296"/>
                    <a:pt x="45" y="296"/>
                  </a:cubicBezTo>
                  <a:cubicBezTo>
                    <a:pt x="45" y="296"/>
                    <a:pt x="45" y="295"/>
                    <a:pt x="45" y="295"/>
                  </a:cubicBezTo>
                  <a:cubicBezTo>
                    <a:pt x="43" y="293"/>
                    <a:pt x="41" y="293"/>
                    <a:pt x="40" y="293"/>
                  </a:cubicBezTo>
                  <a:cubicBezTo>
                    <a:pt x="40" y="293"/>
                    <a:pt x="40" y="293"/>
                    <a:pt x="39" y="293"/>
                  </a:cubicBezTo>
                  <a:cubicBezTo>
                    <a:pt x="39" y="293"/>
                    <a:pt x="39" y="293"/>
                    <a:pt x="39" y="292"/>
                  </a:cubicBezTo>
                  <a:cubicBezTo>
                    <a:pt x="38" y="292"/>
                    <a:pt x="37" y="292"/>
                    <a:pt x="35" y="292"/>
                  </a:cubicBezTo>
                  <a:cubicBezTo>
                    <a:pt x="35" y="292"/>
                    <a:pt x="35" y="292"/>
                    <a:pt x="35" y="292"/>
                  </a:cubicBezTo>
                  <a:cubicBezTo>
                    <a:pt x="34" y="292"/>
                    <a:pt x="34" y="292"/>
                    <a:pt x="34" y="292"/>
                  </a:cubicBezTo>
                  <a:cubicBezTo>
                    <a:pt x="33" y="292"/>
                    <a:pt x="31" y="293"/>
                    <a:pt x="31" y="295"/>
                  </a:cubicBezTo>
                  <a:cubicBezTo>
                    <a:pt x="30" y="296"/>
                    <a:pt x="29" y="298"/>
                    <a:pt x="30" y="300"/>
                  </a:cubicBezTo>
                  <a:cubicBezTo>
                    <a:pt x="31" y="302"/>
                    <a:pt x="32" y="303"/>
                    <a:pt x="33" y="303"/>
                  </a:cubicBezTo>
                  <a:cubicBezTo>
                    <a:pt x="34" y="303"/>
                    <a:pt x="34" y="303"/>
                    <a:pt x="34" y="303"/>
                  </a:cubicBezTo>
                  <a:cubicBezTo>
                    <a:pt x="34" y="304"/>
                    <a:pt x="34" y="306"/>
                    <a:pt x="36" y="307"/>
                  </a:cubicBezTo>
                  <a:cubicBezTo>
                    <a:pt x="36" y="307"/>
                    <a:pt x="37" y="307"/>
                    <a:pt x="37" y="307"/>
                  </a:cubicBezTo>
                  <a:cubicBezTo>
                    <a:pt x="37" y="309"/>
                    <a:pt x="37" y="310"/>
                    <a:pt x="36" y="311"/>
                  </a:cubicBezTo>
                  <a:cubicBezTo>
                    <a:pt x="36" y="311"/>
                    <a:pt x="36" y="311"/>
                    <a:pt x="36" y="311"/>
                  </a:cubicBezTo>
                  <a:cubicBezTo>
                    <a:pt x="35" y="308"/>
                    <a:pt x="32" y="308"/>
                    <a:pt x="31" y="308"/>
                  </a:cubicBezTo>
                  <a:cubicBezTo>
                    <a:pt x="28" y="308"/>
                    <a:pt x="26" y="311"/>
                    <a:pt x="25" y="314"/>
                  </a:cubicBezTo>
                  <a:cubicBezTo>
                    <a:pt x="25" y="317"/>
                    <a:pt x="26" y="319"/>
                    <a:pt x="27" y="322"/>
                  </a:cubicBezTo>
                  <a:cubicBezTo>
                    <a:pt x="27" y="323"/>
                    <a:pt x="28" y="324"/>
                    <a:pt x="28" y="325"/>
                  </a:cubicBezTo>
                  <a:cubicBezTo>
                    <a:pt x="28" y="326"/>
                    <a:pt x="28" y="326"/>
                    <a:pt x="28" y="327"/>
                  </a:cubicBezTo>
                  <a:cubicBezTo>
                    <a:pt x="27" y="330"/>
                    <a:pt x="27" y="334"/>
                    <a:pt x="29" y="336"/>
                  </a:cubicBezTo>
                  <a:cubicBezTo>
                    <a:pt x="30" y="337"/>
                    <a:pt x="31" y="337"/>
                    <a:pt x="33" y="337"/>
                  </a:cubicBezTo>
                  <a:cubicBezTo>
                    <a:pt x="33" y="337"/>
                    <a:pt x="33" y="337"/>
                    <a:pt x="33" y="337"/>
                  </a:cubicBezTo>
                  <a:cubicBezTo>
                    <a:pt x="33" y="337"/>
                    <a:pt x="33" y="337"/>
                    <a:pt x="34" y="337"/>
                  </a:cubicBezTo>
                  <a:cubicBezTo>
                    <a:pt x="35" y="337"/>
                    <a:pt x="36" y="336"/>
                    <a:pt x="37" y="336"/>
                  </a:cubicBezTo>
                  <a:cubicBezTo>
                    <a:pt x="38" y="337"/>
                    <a:pt x="39" y="337"/>
                    <a:pt x="40" y="337"/>
                  </a:cubicBezTo>
                  <a:cubicBezTo>
                    <a:pt x="40" y="337"/>
                    <a:pt x="40" y="337"/>
                    <a:pt x="40" y="337"/>
                  </a:cubicBezTo>
                  <a:cubicBezTo>
                    <a:pt x="42" y="337"/>
                    <a:pt x="44" y="335"/>
                    <a:pt x="45" y="333"/>
                  </a:cubicBezTo>
                  <a:cubicBezTo>
                    <a:pt x="45" y="334"/>
                    <a:pt x="45" y="334"/>
                    <a:pt x="46" y="334"/>
                  </a:cubicBezTo>
                  <a:cubicBezTo>
                    <a:pt x="47" y="335"/>
                    <a:pt x="48" y="335"/>
                    <a:pt x="49" y="335"/>
                  </a:cubicBezTo>
                  <a:cubicBezTo>
                    <a:pt x="53" y="335"/>
                    <a:pt x="55" y="333"/>
                    <a:pt x="57" y="331"/>
                  </a:cubicBezTo>
                  <a:cubicBezTo>
                    <a:pt x="58" y="331"/>
                    <a:pt x="59" y="330"/>
                    <a:pt x="60" y="330"/>
                  </a:cubicBezTo>
                  <a:cubicBezTo>
                    <a:pt x="62" y="328"/>
                    <a:pt x="65" y="327"/>
                    <a:pt x="67" y="327"/>
                  </a:cubicBezTo>
                  <a:cubicBezTo>
                    <a:pt x="67" y="328"/>
                    <a:pt x="65" y="329"/>
                    <a:pt x="63" y="331"/>
                  </a:cubicBezTo>
                  <a:cubicBezTo>
                    <a:pt x="62" y="331"/>
                    <a:pt x="62" y="331"/>
                    <a:pt x="62" y="331"/>
                  </a:cubicBezTo>
                  <a:cubicBezTo>
                    <a:pt x="61" y="332"/>
                    <a:pt x="60" y="332"/>
                    <a:pt x="59" y="332"/>
                  </a:cubicBezTo>
                  <a:cubicBezTo>
                    <a:pt x="57" y="333"/>
                    <a:pt x="55" y="334"/>
                    <a:pt x="54" y="336"/>
                  </a:cubicBezTo>
                  <a:cubicBezTo>
                    <a:pt x="53" y="336"/>
                    <a:pt x="53" y="337"/>
                    <a:pt x="52" y="338"/>
                  </a:cubicBezTo>
                  <a:cubicBezTo>
                    <a:pt x="52" y="338"/>
                    <a:pt x="51" y="338"/>
                    <a:pt x="51" y="338"/>
                  </a:cubicBezTo>
                  <a:cubicBezTo>
                    <a:pt x="48" y="338"/>
                    <a:pt x="46" y="339"/>
                    <a:pt x="44" y="342"/>
                  </a:cubicBezTo>
                  <a:cubicBezTo>
                    <a:pt x="44" y="342"/>
                    <a:pt x="43" y="343"/>
                    <a:pt x="41" y="343"/>
                  </a:cubicBezTo>
                  <a:cubicBezTo>
                    <a:pt x="39" y="344"/>
                    <a:pt x="36" y="346"/>
                    <a:pt x="35" y="350"/>
                  </a:cubicBezTo>
                  <a:cubicBezTo>
                    <a:pt x="35" y="350"/>
                    <a:pt x="35" y="350"/>
                    <a:pt x="35" y="350"/>
                  </a:cubicBezTo>
                  <a:cubicBezTo>
                    <a:pt x="33" y="350"/>
                    <a:pt x="32" y="351"/>
                    <a:pt x="31" y="352"/>
                  </a:cubicBezTo>
                  <a:cubicBezTo>
                    <a:pt x="29" y="354"/>
                    <a:pt x="28" y="357"/>
                    <a:pt x="28" y="359"/>
                  </a:cubicBezTo>
                  <a:cubicBezTo>
                    <a:pt x="28" y="361"/>
                    <a:pt x="28" y="361"/>
                    <a:pt x="28" y="361"/>
                  </a:cubicBezTo>
                  <a:cubicBezTo>
                    <a:pt x="28" y="363"/>
                    <a:pt x="28" y="367"/>
                    <a:pt x="30" y="369"/>
                  </a:cubicBezTo>
                  <a:cubicBezTo>
                    <a:pt x="31" y="369"/>
                    <a:pt x="32" y="370"/>
                    <a:pt x="33" y="370"/>
                  </a:cubicBezTo>
                  <a:cubicBezTo>
                    <a:pt x="33" y="370"/>
                    <a:pt x="33" y="370"/>
                    <a:pt x="33" y="370"/>
                  </a:cubicBezTo>
                  <a:cubicBezTo>
                    <a:pt x="36" y="370"/>
                    <a:pt x="38" y="367"/>
                    <a:pt x="39" y="365"/>
                  </a:cubicBezTo>
                  <a:cubicBezTo>
                    <a:pt x="39" y="365"/>
                    <a:pt x="39" y="365"/>
                    <a:pt x="40" y="365"/>
                  </a:cubicBezTo>
                  <a:cubicBezTo>
                    <a:pt x="40" y="365"/>
                    <a:pt x="41" y="365"/>
                    <a:pt x="42" y="365"/>
                  </a:cubicBezTo>
                  <a:cubicBezTo>
                    <a:pt x="42" y="365"/>
                    <a:pt x="42" y="365"/>
                    <a:pt x="43" y="365"/>
                  </a:cubicBezTo>
                  <a:cubicBezTo>
                    <a:pt x="43" y="365"/>
                    <a:pt x="43" y="365"/>
                    <a:pt x="43" y="365"/>
                  </a:cubicBezTo>
                  <a:cubicBezTo>
                    <a:pt x="43" y="368"/>
                    <a:pt x="44" y="369"/>
                    <a:pt x="46" y="369"/>
                  </a:cubicBezTo>
                  <a:cubicBezTo>
                    <a:pt x="46" y="369"/>
                    <a:pt x="46" y="369"/>
                    <a:pt x="46" y="369"/>
                  </a:cubicBezTo>
                  <a:cubicBezTo>
                    <a:pt x="46" y="369"/>
                    <a:pt x="45" y="370"/>
                    <a:pt x="45" y="370"/>
                  </a:cubicBezTo>
                  <a:cubicBezTo>
                    <a:pt x="45" y="371"/>
                    <a:pt x="44" y="372"/>
                    <a:pt x="44" y="373"/>
                  </a:cubicBezTo>
                  <a:cubicBezTo>
                    <a:pt x="44" y="373"/>
                    <a:pt x="44" y="373"/>
                    <a:pt x="44" y="374"/>
                  </a:cubicBezTo>
                  <a:cubicBezTo>
                    <a:pt x="44" y="374"/>
                    <a:pt x="44" y="374"/>
                    <a:pt x="44" y="374"/>
                  </a:cubicBezTo>
                  <a:cubicBezTo>
                    <a:pt x="44" y="375"/>
                    <a:pt x="43" y="376"/>
                    <a:pt x="43" y="377"/>
                  </a:cubicBezTo>
                  <a:cubicBezTo>
                    <a:pt x="43" y="379"/>
                    <a:pt x="44" y="381"/>
                    <a:pt x="45" y="382"/>
                  </a:cubicBezTo>
                  <a:cubicBezTo>
                    <a:pt x="45" y="382"/>
                    <a:pt x="45" y="382"/>
                    <a:pt x="46" y="383"/>
                  </a:cubicBezTo>
                  <a:cubicBezTo>
                    <a:pt x="46" y="385"/>
                    <a:pt x="48" y="388"/>
                    <a:pt x="47" y="389"/>
                  </a:cubicBezTo>
                  <a:cubicBezTo>
                    <a:pt x="47" y="390"/>
                    <a:pt x="47" y="391"/>
                    <a:pt x="46" y="391"/>
                  </a:cubicBezTo>
                  <a:cubicBezTo>
                    <a:pt x="46" y="390"/>
                    <a:pt x="46" y="390"/>
                    <a:pt x="46" y="390"/>
                  </a:cubicBezTo>
                  <a:cubicBezTo>
                    <a:pt x="43" y="390"/>
                    <a:pt x="43" y="390"/>
                    <a:pt x="43" y="390"/>
                  </a:cubicBezTo>
                  <a:cubicBezTo>
                    <a:pt x="42" y="390"/>
                    <a:pt x="42" y="390"/>
                    <a:pt x="41" y="390"/>
                  </a:cubicBezTo>
                  <a:cubicBezTo>
                    <a:pt x="41" y="390"/>
                    <a:pt x="40" y="390"/>
                    <a:pt x="39" y="390"/>
                  </a:cubicBezTo>
                  <a:cubicBezTo>
                    <a:pt x="38" y="390"/>
                    <a:pt x="37" y="390"/>
                    <a:pt x="37" y="390"/>
                  </a:cubicBezTo>
                  <a:cubicBezTo>
                    <a:pt x="35" y="391"/>
                    <a:pt x="33" y="393"/>
                    <a:pt x="32" y="395"/>
                  </a:cubicBezTo>
                  <a:cubicBezTo>
                    <a:pt x="30" y="397"/>
                    <a:pt x="30" y="399"/>
                    <a:pt x="30" y="400"/>
                  </a:cubicBezTo>
                  <a:cubicBezTo>
                    <a:pt x="30" y="400"/>
                    <a:pt x="31" y="401"/>
                    <a:pt x="31" y="402"/>
                  </a:cubicBezTo>
                  <a:cubicBezTo>
                    <a:pt x="30" y="402"/>
                    <a:pt x="28" y="403"/>
                    <a:pt x="26" y="405"/>
                  </a:cubicBezTo>
                  <a:cubicBezTo>
                    <a:pt x="25" y="407"/>
                    <a:pt x="25" y="408"/>
                    <a:pt x="25" y="409"/>
                  </a:cubicBezTo>
                  <a:cubicBezTo>
                    <a:pt x="25" y="410"/>
                    <a:pt x="25" y="410"/>
                    <a:pt x="25" y="410"/>
                  </a:cubicBezTo>
                  <a:cubicBezTo>
                    <a:pt x="25" y="412"/>
                    <a:pt x="25" y="414"/>
                    <a:pt x="26" y="417"/>
                  </a:cubicBezTo>
                  <a:cubicBezTo>
                    <a:pt x="27" y="418"/>
                    <a:pt x="29" y="419"/>
                    <a:pt x="31" y="419"/>
                  </a:cubicBezTo>
                  <a:cubicBezTo>
                    <a:pt x="31" y="419"/>
                    <a:pt x="32" y="419"/>
                    <a:pt x="32" y="418"/>
                  </a:cubicBezTo>
                  <a:cubicBezTo>
                    <a:pt x="33" y="418"/>
                    <a:pt x="33" y="418"/>
                    <a:pt x="34" y="418"/>
                  </a:cubicBezTo>
                  <a:cubicBezTo>
                    <a:pt x="34" y="419"/>
                    <a:pt x="33" y="419"/>
                    <a:pt x="31" y="420"/>
                  </a:cubicBezTo>
                  <a:cubicBezTo>
                    <a:pt x="30" y="420"/>
                    <a:pt x="30" y="420"/>
                    <a:pt x="30" y="420"/>
                  </a:cubicBezTo>
                  <a:cubicBezTo>
                    <a:pt x="29" y="421"/>
                    <a:pt x="27" y="421"/>
                    <a:pt x="26" y="423"/>
                  </a:cubicBezTo>
                  <a:cubicBezTo>
                    <a:pt x="23" y="426"/>
                    <a:pt x="25" y="429"/>
                    <a:pt x="26" y="431"/>
                  </a:cubicBezTo>
                  <a:cubicBezTo>
                    <a:pt x="26" y="431"/>
                    <a:pt x="27" y="432"/>
                    <a:pt x="27" y="432"/>
                  </a:cubicBezTo>
                  <a:cubicBezTo>
                    <a:pt x="27" y="432"/>
                    <a:pt x="27" y="432"/>
                    <a:pt x="26" y="433"/>
                  </a:cubicBezTo>
                  <a:cubicBezTo>
                    <a:pt x="26" y="433"/>
                    <a:pt x="25" y="435"/>
                    <a:pt x="25" y="437"/>
                  </a:cubicBezTo>
                  <a:cubicBezTo>
                    <a:pt x="26" y="439"/>
                    <a:pt x="27" y="440"/>
                    <a:pt x="27" y="442"/>
                  </a:cubicBezTo>
                  <a:cubicBezTo>
                    <a:pt x="28" y="443"/>
                    <a:pt x="28" y="443"/>
                    <a:pt x="28" y="443"/>
                  </a:cubicBezTo>
                  <a:cubicBezTo>
                    <a:pt x="29" y="445"/>
                    <a:pt x="32" y="446"/>
                    <a:pt x="34" y="447"/>
                  </a:cubicBezTo>
                  <a:cubicBezTo>
                    <a:pt x="35" y="447"/>
                    <a:pt x="35" y="447"/>
                    <a:pt x="35" y="447"/>
                  </a:cubicBezTo>
                  <a:cubicBezTo>
                    <a:pt x="36" y="448"/>
                    <a:pt x="37" y="449"/>
                    <a:pt x="38" y="450"/>
                  </a:cubicBezTo>
                  <a:cubicBezTo>
                    <a:pt x="39" y="451"/>
                    <a:pt x="40" y="452"/>
                    <a:pt x="42" y="453"/>
                  </a:cubicBezTo>
                  <a:cubicBezTo>
                    <a:pt x="43" y="453"/>
                    <a:pt x="44" y="453"/>
                    <a:pt x="45" y="454"/>
                  </a:cubicBezTo>
                  <a:cubicBezTo>
                    <a:pt x="43" y="454"/>
                    <a:pt x="40" y="455"/>
                    <a:pt x="39" y="459"/>
                  </a:cubicBezTo>
                  <a:cubicBezTo>
                    <a:pt x="39" y="460"/>
                    <a:pt x="39" y="460"/>
                    <a:pt x="39" y="460"/>
                  </a:cubicBezTo>
                  <a:cubicBezTo>
                    <a:pt x="39" y="460"/>
                    <a:pt x="39" y="460"/>
                    <a:pt x="39" y="460"/>
                  </a:cubicBezTo>
                  <a:cubicBezTo>
                    <a:pt x="37" y="458"/>
                    <a:pt x="35" y="456"/>
                    <a:pt x="33" y="454"/>
                  </a:cubicBezTo>
                  <a:cubicBezTo>
                    <a:pt x="32" y="452"/>
                    <a:pt x="31" y="450"/>
                    <a:pt x="30" y="448"/>
                  </a:cubicBezTo>
                  <a:cubicBezTo>
                    <a:pt x="30" y="446"/>
                    <a:pt x="29" y="444"/>
                    <a:pt x="27" y="442"/>
                  </a:cubicBezTo>
                  <a:cubicBezTo>
                    <a:pt x="27" y="441"/>
                    <a:pt x="27" y="441"/>
                    <a:pt x="26" y="440"/>
                  </a:cubicBezTo>
                  <a:cubicBezTo>
                    <a:pt x="25" y="437"/>
                    <a:pt x="22" y="434"/>
                    <a:pt x="19" y="432"/>
                  </a:cubicBezTo>
                  <a:cubicBezTo>
                    <a:pt x="19" y="432"/>
                    <a:pt x="18" y="431"/>
                    <a:pt x="18" y="431"/>
                  </a:cubicBezTo>
                  <a:cubicBezTo>
                    <a:pt x="15" y="429"/>
                    <a:pt x="13" y="427"/>
                    <a:pt x="9" y="427"/>
                  </a:cubicBezTo>
                  <a:cubicBezTo>
                    <a:pt x="8" y="427"/>
                    <a:pt x="8" y="427"/>
                    <a:pt x="7" y="427"/>
                  </a:cubicBezTo>
                  <a:cubicBezTo>
                    <a:pt x="6" y="428"/>
                    <a:pt x="4" y="429"/>
                    <a:pt x="2" y="431"/>
                  </a:cubicBezTo>
                  <a:cubicBezTo>
                    <a:pt x="0" y="436"/>
                    <a:pt x="1" y="442"/>
                    <a:pt x="2" y="445"/>
                  </a:cubicBezTo>
                  <a:cubicBezTo>
                    <a:pt x="3" y="446"/>
                    <a:pt x="4" y="447"/>
                    <a:pt x="5" y="448"/>
                  </a:cubicBezTo>
                  <a:cubicBezTo>
                    <a:pt x="5" y="448"/>
                    <a:pt x="6" y="448"/>
                    <a:pt x="6" y="448"/>
                  </a:cubicBezTo>
                  <a:cubicBezTo>
                    <a:pt x="6" y="448"/>
                    <a:pt x="6" y="448"/>
                    <a:pt x="6" y="448"/>
                  </a:cubicBezTo>
                  <a:cubicBezTo>
                    <a:pt x="6" y="448"/>
                    <a:pt x="5" y="450"/>
                    <a:pt x="4" y="450"/>
                  </a:cubicBezTo>
                  <a:cubicBezTo>
                    <a:pt x="4" y="452"/>
                    <a:pt x="3" y="453"/>
                    <a:pt x="2" y="454"/>
                  </a:cubicBezTo>
                  <a:cubicBezTo>
                    <a:pt x="2" y="454"/>
                    <a:pt x="2" y="454"/>
                    <a:pt x="2" y="454"/>
                  </a:cubicBezTo>
                  <a:cubicBezTo>
                    <a:pt x="2" y="457"/>
                    <a:pt x="0" y="460"/>
                    <a:pt x="3" y="463"/>
                  </a:cubicBezTo>
                  <a:cubicBezTo>
                    <a:pt x="3" y="464"/>
                    <a:pt x="5" y="465"/>
                    <a:pt x="7" y="465"/>
                  </a:cubicBezTo>
                  <a:cubicBezTo>
                    <a:pt x="7" y="465"/>
                    <a:pt x="8" y="465"/>
                    <a:pt x="8" y="465"/>
                  </a:cubicBezTo>
                  <a:cubicBezTo>
                    <a:pt x="8" y="465"/>
                    <a:pt x="8" y="465"/>
                    <a:pt x="8" y="465"/>
                  </a:cubicBezTo>
                  <a:cubicBezTo>
                    <a:pt x="8" y="465"/>
                    <a:pt x="8" y="465"/>
                    <a:pt x="9" y="466"/>
                  </a:cubicBezTo>
                  <a:cubicBezTo>
                    <a:pt x="9" y="467"/>
                    <a:pt x="10" y="467"/>
                    <a:pt x="10" y="468"/>
                  </a:cubicBezTo>
                  <a:cubicBezTo>
                    <a:pt x="10" y="469"/>
                    <a:pt x="11" y="469"/>
                    <a:pt x="11" y="470"/>
                  </a:cubicBezTo>
                  <a:cubicBezTo>
                    <a:pt x="11" y="471"/>
                    <a:pt x="11" y="471"/>
                    <a:pt x="10" y="472"/>
                  </a:cubicBezTo>
                  <a:cubicBezTo>
                    <a:pt x="8" y="474"/>
                    <a:pt x="8" y="477"/>
                    <a:pt x="10" y="479"/>
                  </a:cubicBezTo>
                  <a:cubicBezTo>
                    <a:pt x="10" y="480"/>
                    <a:pt x="11" y="480"/>
                    <a:pt x="12" y="481"/>
                  </a:cubicBezTo>
                  <a:cubicBezTo>
                    <a:pt x="12" y="481"/>
                    <a:pt x="12" y="482"/>
                    <a:pt x="12" y="482"/>
                  </a:cubicBezTo>
                  <a:cubicBezTo>
                    <a:pt x="12" y="482"/>
                    <a:pt x="12" y="482"/>
                    <a:pt x="12" y="482"/>
                  </a:cubicBezTo>
                  <a:cubicBezTo>
                    <a:pt x="12" y="482"/>
                    <a:pt x="12" y="483"/>
                    <a:pt x="11" y="483"/>
                  </a:cubicBezTo>
                  <a:cubicBezTo>
                    <a:pt x="10" y="485"/>
                    <a:pt x="8" y="488"/>
                    <a:pt x="10" y="491"/>
                  </a:cubicBezTo>
                  <a:cubicBezTo>
                    <a:pt x="11" y="492"/>
                    <a:pt x="12" y="493"/>
                    <a:pt x="14" y="494"/>
                  </a:cubicBezTo>
                  <a:cubicBezTo>
                    <a:pt x="12" y="496"/>
                    <a:pt x="12" y="500"/>
                    <a:pt x="13" y="501"/>
                  </a:cubicBezTo>
                  <a:cubicBezTo>
                    <a:pt x="14" y="505"/>
                    <a:pt x="17" y="507"/>
                    <a:pt x="20" y="509"/>
                  </a:cubicBezTo>
                  <a:cubicBezTo>
                    <a:pt x="21" y="510"/>
                    <a:pt x="21" y="510"/>
                    <a:pt x="21" y="510"/>
                  </a:cubicBezTo>
                  <a:cubicBezTo>
                    <a:pt x="22" y="511"/>
                    <a:pt x="23" y="511"/>
                    <a:pt x="24" y="513"/>
                  </a:cubicBezTo>
                  <a:cubicBezTo>
                    <a:pt x="24" y="513"/>
                    <a:pt x="25" y="514"/>
                    <a:pt x="25" y="515"/>
                  </a:cubicBezTo>
                  <a:cubicBezTo>
                    <a:pt x="26" y="515"/>
                    <a:pt x="26" y="516"/>
                    <a:pt x="26" y="516"/>
                  </a:cubicBezTo>
                  <a:cubicBezTo>
                    <a:pt x="27" y="516"/>
                    <a:pt x="26" y="517"/>
                    <a:pt x="26" y="518"/>
                  </a:cubicBezTo>
                  <a:cubicBezTo>
                    <a:pt x="25" y="519"/>
                    <a:pt x="25" y="519"/>
                    <a:pt x="24" y="520"/>
                  </a:cubicBezTo>
                  <a:cubicBezTo>
                    <a:pt x="24" y="521"/>
                    <a:pt x="24" y="521"/>
                    <a:pt x="24" y="522"/>
                  </a:cubicBezTo>
                  <a:cubicBezTo>
                    <a:pt x="23" y="523"/>
                    <a:pt x="22" y="525"/>
                    <a:pt x="22" y="527"/>
                  </a:cubicBezTo>
                  <a:cubicBezTo>
                    <a:pt x="22" y="530"/>
                    <a:pt x="25" y="533"/>
                    <a:pt x="27" y="535"/>
                  </a:cubicBezTo>
                  <a:cubicBezTo>
                    <a:pt x="28" y="535"/>
                    <a:pt x="29" y="535"/>
                    <a:pt x="30" y="536"/>
                  </a:cubicBezTo>
                  <a:cubicBezTo>
                    <a:pt x="31" y="536"/>
                    <a:pt x="31" y="536"/>
                    <a:pt x="31" y="536"/>
                  </a:cubicBezTo>
                  <a:cubicBezTo>
                    <a:pt x="31" y="536"/>
                    <a:pt x="32" y="536"/>
                    <a:pt x="32" y="536"/>
                  </a:cubicBezTo>
                  <a:cubicBezTo>
                    <a:pt x="33" y="537"/>
                    <a:pt x="33" y="537"/>
                    <a:pt x="34" y="537"/>
                  </a:cubicBezTo>
                  <a:cubicBezTo>
                    <a:pt x="35" y="537"/>
                    <a:pt x="36" y="538"/>
                    <a:pt x="36" y="538"/>
                  </a:cubicBezTo>
                  <a:cubicBezTo>
                    <a:pt x="37" y="538"/>
                    <a:pt x="37" y="538"/>
                    <a:pt x="37" y="538"/>
                  </a:cubicBezTo>
                  <a:cubicBezTo>
                    <a:pt x="36" y="538"/>
                    <a:pt x="35" y="538"/>
                    <a:pt x="33" y="539"/>
                  </a:cubicBezTo>
                  <a:cubicBezTo>
                    <a:pt x="33" y="539"/>
                    <a:pt x="33" y="539"/>
                    <a:pt x="33" y="539"/>
                  </a:cubicBezTo>
                  <a:cubicBezTo>
                    <a:pt x="31" y="540"/>
                    <a:pt x="28" y="541"/>
                    <a:pt x="29" y="546"/>
                  </a:cubicBezTo>
                  <a:cubicBezTo>
                    <a:pt x="29" y="547"/>
                    <a:pt x="30" y="548"/>
                    <a:pt x="31" y="549"/>
                  </a:cubicBezTo>
                  <a:cubicBezTo>
                    <a:pt x="31" y="550"/>
                    <a:pt x="32" y="550"/>
                    <a:pt x="33" y="550"/>
                  </a:cubicBezTo>
                  <a:cubicBezTo>
                    <a:pt x="34" y="559"/>
                    <a:pt x="39" y="566"/>
                    <a:pt x="44" y="572"/>
                  </a:cubicBezTo>
                  <a:cubicBezTo>
                    <a:pt x="46" y="575"/>
                    <a:pt x="46" y="575"/>
                    <a:pt x="46" y="575"/>
                  </a:cubicBezTo>
                  <a:cubicBezTo>
                    <a:pt x="49" y="579"/>
                    <a:pt x="54" y="583"/>
                    <a:pt x="61" y="583"/>
                  </a:cubicBezTo>
                  <a:cubicBezTo>
                    <a:pt x="61" y="583"/>
                    <a:pt x="62" y="583"/>
                    <a:pt x="62" y="583"/>
                  </a:cubicBezTo>
                  <a:cubicBezTo>
                    <a:pt x="65" y="583"/>
                    <a:pt x="67" y="582"/>
                    <a:pt x="69" y="580"/>
                  </a:cubicBezTo>
                  <a:cubicBezTo>
                    <a:pt x="72" y="575"/>
                    <a:pt x="71" y="570"/>
                    <a:pt x="71" y="565"/>
                  </a:cubicBezTo>
                  <a:cubicBezTo>
                    <a:pt x="71" y="564"/>
                    <a:pt x="71" y="564"/>
                    <a:pt x="71" y="564"/>
                  </a:cubicBezTo>
                  <a:cubicBezTo>
                    <a:pt x="70" y="560"/>
                    <a:pt x="70" y="560"/>
                    <a:pt x="70" y="560"/>
                  </a:cubicBezTo>
                  <a:cubicBezTo>
                    <a:pt x="69" y="551"/>
                    <a:pt x="68" y="542"/>
                    <a:pt x="63" y="533"/>
                  </a:cubicBezTo>
                  <a:cubicBezTo>
                    <a:pt x="58" y="523"/>
                    <a:pt x="58" y="517"/>
                    <a:pt x="58" y="506"/>
                  </a:cubicBezTo>
                  <a:cubicBezTo>
                    <a:pt x="58" y="504"/>
                    <a:pt x="58" y="502"/>
                    <a:pt x="58" y="501"/>
                  </a:cubicBezTo>
                  <a:cubicBezTo>
                    <a:pt x="58" y="498"/>
                    <a:pt x="58" y="496"/>
                    <a:pt x="58" y="495"/>
                  </a:cubicBezTo>
                  <a:cubicBezTo>
                    <a:pt x="59" y="493"/>
                    <a:pt x="59" y="493"/>
                    <a:pt x="59" y="493"/>
                  </a:cubicBezTo>
                  <a:cubicBezTo>
                    <a:pt x="59" y="491"/>
                    <a:pt x="59" y="489"/>
                    <a:pt x="59" y="486"/>
                  </a:cubicBezTo>
                  <a:cubicBezTo>
                    <a:pt x="59" y="484"/>
                    <a:pt x="57" y="482"/>
                    <a:pt x="56" y="481"/>
                  </a:cubicBezTo>
                  <a:cubicBezTo>
                    <a:pt x="56" y="481"/>
                    <a:pt x="56" y="481"/>
                    <a:pt x="56" y="480"/>
                  </a:cubicBezTo>
                  <a:cubicBezTo>
                    <a:pt x="57" y="481"/>
                    <a:pt x="58" y="481"/>
                    <a:pt x="59" y="481"/>
                  </a:cubicBezTo>
                  <a:cubicBezTo>
                    <a:pt x="59" y="481"/>
                    <a:pt x="60" y="481"/>
                    <a:pt x="60" y="481"/>
                  </a:cubicBezTo>
                  <a:cubicBezTo>
                    <a:pt x="61" y="481"/>
                    <a:pt x="61" y="481"/>
                    <a:pt x="62" y="481"/>
                  </a:cubicBezTo>
                  <a:cubicBezTo>
                    <a:pt x="62" y="483"/>
                    <a:pt x="63" y="485"/>
                    <a:pt x="64" y="487"/>
                  </a:cubicBezTo>
                  <a:cubicBezTo>
                    <a:pt x="64" y="487"/>
                    <a:pt x="64" y="487"/>
                    <a:pt x="64" y="487"/>
                  </a:cubicBezTo>
                  <a:cubicBezTo>
                    <a:pt x="62" y="487"/>
                    <a:pt x="61" y="488"/>
                    <a:pt x="60" y="489"/>
                  </a:cubicBezTo>
                  <a:cubicBezTo>
                    <a:pt x="58" y="491"/>
                    <a:pt x="59" y="493"/>
                    <a:pt x="60" y="494"/>
                  </a:cubicBezTo>
                  <a:cubicBezTo>
                    <a:pt x="60" y="495"/>
                    <a:pt x="60" y="495"/>
                    <a:pt x="60" y="495"/>
                  </a:cubicBezTo>
                  <a:cubicBezTo>
                    <a:pt x="60" y="496"/>
                    <a:pt x="60" y="496"/>
                    <a:pt x="60" y="497"/>
                  </a:cubicBezTo>
                  <a:cubicBezTo>
                    <a:pt x="59" y="498"/>
                    <a:pt x="58" y="500"/>
                    <a:pt x="59" y="502"/>
                  </a:cubicBezTo>
                  <a:cubicBezTo>
                    <a:pt x="59" y="504"/>
                    <a:pt x="60" y="504"/>
                    <a:pt x="62" y="505"/>
                  </a:cubicBezTo>
                  <a:cubicBezTo>
                    <a:pt x="62" y="505"/>
                    <a:pt x="62" y="505"/>
                    <a:pt x="63" y="505"/>
                  </a:cubicBezTo>
                  <a:cubicBezTo>
                    <a:pt x="63" y="505"/>
                    <a:pt x="63" y="505"/>
                    <a:pt x="63" y="505"/>
                  </a:cubicBezTo>
                  <a:cubicBezTo>
                    <a:pt x="62" y="507"/>
                    <a:pt x="62" y="509"/>
                    <a:pt x="62" y="510"/>
                  </a:cubicBezTo>
                  <a:cubicBezTo>
                    <a:pt x="62" y="511"/>
                    <a:pt x="62" y="511"/>
                    <a:pt x="62" y="512"/>
                  </a:cubicBezTo>
                  <a:cubicBezTo>
                    <a:pt x="62" y="512"/>
                    <a:pt x="62" y="512"/>
                    <a:pt x="62" y="512"/>
                  </a:cubicBezTo>
                  <a:cubicBezTo>
                    <a:pt x="62" y="515"/>
                    <a:pt x="62" y="516"/>
                    <a:pt x="64" y="519"/>
                  </a:cubicBezTo>
                  <a:cubicBezTo>
                    <a:pt x="64" y="519"/>
                    <a:pt x="64" y="519"/>
                    <a:pt x="64" y="520"/>
                  </a:cubicBezTo>
                  <a:cubicBezTo>
                    <a:pt x="65" y="521"/>
                    <a:pt x="65" y="522"/>
                    <a:pt x="66" y="522"/>
                  </a:cubicBezTo>
                  <a:cubicBezTo>
                    <a:pt x="68" y="524"/>
                    <a:pt x="70" y="524"/>
                    <a:pt x="71" y="524"/>
                  </a:cubicBezTo>
                  <a:cubicBezTo>
                    <a:pt x="71" y="524"/>
                    <a:pt x="71" y="524"/>
                    <a:pt x="72" y="524"/>
                  </a:cubicBezTo>
                  <a:cubicBezTo>
                    <a:pt x="70" y="526"/>
                    <a:pt x="69" y="530"/>
                    <a:pt x="70" y="534"/>
                  </a:cubicBezTo>
                  <a:cubicBezTo>
                    <a:pt x="71" y="536"/>
                    <a:pt x="72" y="537"/>
                    <a:pt x="73" y="538"/>
                  </a:cubicBezTo>
                  <a:cubicBezTo>
                    <a:pt x="74" y="539"/>
                    <a:pt x="74" y="539"/>
                    <a:pt x="74" y="539"/>
                  </a:cubicBezTo>
                  <a:cubicBezTo>
                    <a:pt x="74" y="539"/>
                    <a:pt x="74" y="540"/>
                    <a:pt x="75" y="540"/>
                  </a:cubicBezTo>
                  <a:cubicBezTo>
                    <a:pt x="75" y="541"/>
                    <a:pt x="76" y="542"/>
                    <a:pt x="77" y="543"/>
                  </a:cubicBezTo>
                  <a:cubicBezTo>
                    <a:pt x="77" y="543"/>
                    <a:pt x="80" y="545"/>
                    <a:pt x="82" y="545"/>
                  </a:cubicBezTo>
                  <a:cubicBezTo>
                    <a:pt x="83" y="545"/>
                    <a:pt x="83" y="545"/>
                    <a:pt x="83" y="545"/>
                  </a:cubicBezTo>
                  <a:cubicBezTo>
                    <a:pt x="83" y="545"/>
                    <a:pt x="83" y="546"/>
                    <a:pt x="83" y="546"/>
                  </a:cubicBezTo>
                  <a:cubicBezTo>
                    <a:pt x="82" y="549"/>
                    <a:pt x="82" y="551"/>
                    <a:pt x="82" y="553"/>
                  </a:cubicBezTo>
                  <a:cubicBezTo>
                    <a:pt x="82" y="556"/>
                    <a:pt x="82" y="556"/>
                    <a:pt x="82" y="556"/>
                  </a:cubicBezTo>
                  <a:cubicBezTo>
                    <a:pt x="83" y="559"/>
                    <a:pt x="83" y="559"/>
                    <a:pt x="83" y="559"/>
                  </a:cubicBezTo>
                  <a:cubicBezTo>
                    <a:pt x="84" y="559"/>
                    <a:pt x="84" y="559"/>
                    <a:pt x="84" y="559"/>
                  </a:cubicBezTo>
                  <a:cubicBezTo>
                    <a:pt x="85" y="561"/>
                    <a:pt x="125" y="602"/>
                    <a:pt x="284" y="662"/>
                  </a:cubicBezTo>
                  <a:cubicBezTo>
                    <a:pt x="290" y="664"/>
                    <a:pt x="290" y="664"/>
                    <a:pt x="290" y="664"/>
                  </a:cubicBezTo>
                  <a:cubicBezTo>
                    <a:pt x="288" y="658"/>
                    <a:pt x="288" y="658"/>
                    <a:pt x="288" y="658"/>
                  </a:cubicBezTo>
                  <a:cubicBezTo>
                    <a:pt x="288" y="657"/>
                    <a:pt x="287" y="656"/>
                    <a:pt x="287" y="655"/>
                  </a:cubicBezTo>
                  <a:cubicBezTo>
                    <a:pt x="285" y="645"/>
                    <a:pt x="287" y="638"/>
                    <a:pt x="290" y="629"/>
                  </a:cubicBezTo>
                  <a:cubicBezTo>
                    <a:pt x="291" y="627"/>
                    <a:pt x="292" y="625"/>
                    <a:pt x="292" y="623"/>
                  </a:cubicBezTo>
                  <a:cubicBezTo>
                    <a:pt x="294" y="616"/>
                    <a:pt x="298" y="606"/>
                    <a:pt x="295" y="599"/>
                  </a:cubicBezTo>
                  <a:cubicBezTo>
                    <a:pt x="293" y="595"/>
                    <a:pt x="292" y="593"/>
                    <a:pt x="290" y="590"/>
                  </a:cubicBezTo>
                  <a:cubicBezTo>
                    <a:pt x="287" y="586"/>
                    <a:pt x="285" y="582"/>
                    <a:pt x="284" y="576"/>
                  </a:cubicBezTo>
                  <a:cubicBezTo>
                    <a:pt x="284" y="574"/>
                    <a:pt x="283" y="573"/>
                    <a:pt x="283" y="571"/>
                  </a:cubicBezTo>
                  <a:cubicBezTo>
                    <a:pt x="282" y="564"/>
                    <a:pt x="280" y="556"/>
                    <a:pt x="277" y="551"/>
                  </a:cubicBezTo>
                  <a:cubicBezTo>
                    <a:pt x="275" y="547"/>
                    <a:pt x="273" y="545"/>
                    <a:pt x="272" y="543"/>
                  </a:cubicBezTo>
                  <a:cubicBezTo>
                    <a:pt x="269" y="540"/>
                    <a:pt x="267" y="538"/>
                    <a:pt x="268" y="530"/>
                  </a:cubicBezTo>
                  <a:cubicBezTo>
                    <a:pt x="268" y="528"/>
                    <a:pt x="268" y="528"/>
                    <a:pt x="268" y="528"/>
                  </a:cubicBezTo>
                  <a:cubicBezTo>
                    <a:pt x="268" y="520"/>
                    <a:pt x="269" y="509"/>
                    <a:pt x="262" y="505"/>
                  </a:cubicBezTo>
                  <a:cubicBezTo>
                    <a:pt x="260" y="504"/>
                    <a:pt x="259" y="503"/>
                    <a:pt x="258" y="503"/>
                  </a:cubicBezTo>
                  <a:cubicBezTo>
                    <a:pt x="255" y="503"/>
                    <a:pt x="254" y="503"/>
                    <a:pt x="253" y="498"/>
                  </a:cubicBezTo>
                  <a:cubicBezTo>
                    <a:pt x="253" y="495"/>
                    <a:pt x="253" y="493"/>
                    <a:pt x="253" y="490"/>
                  </a:cubicBezTo>
                  <a:cubicBezTo>
                    <a:pt x="253" y="488"/>
                    <a:pt x="253" y="486"/>
                    <a:pt x="252" y="484"/>
                  </a:cubicBezTo>
                  <a:cubicBezTo>
                    <a:pt x="252" y="481"/>
                    <a:pt x="252" y="481"/>
                    <a:pt x="252" y="481"/>
                  </a:cubicBezTo>
                  <a:cubicBezTo>
                    <a:pt x="251" y="473"/>
                    <a:pt x="250" y="464"/>
                    <a:pt x="244" y="460"/>
                  </a:cubicBezTo>
                  <a:cubicBezTo>
                    <a:pt x="242" y="458"/>
                    <a:pt x="241" y="458"/>
                    <a:pt x="240" y="457"/>
                  </a:cubicBezTo>
                  <a:cubicBezTo>
                    <a:pt x="238" y="456"/>
                    <a:pt x="236" y="456"/>
                    <a:pt x="235" y="453"/>
                  </a:cubicBezTo>
                  <a:cubicBezTo>
                    <a:pt x="230" y="444"/>
                    <a:pt x="240" y="425"/>
                    <a:pt x="250" y="408"/>
                  </a:cubicBezTo>
                  <a:cubicBezTo>
                    <a:pt x="252" y="406"/>
                    <a:pt x="253" y="404"/>
                    <a:pt x="254" y="402"/>
                  </a:cubicBezTo>
                  <a:cubicBezTo>
                    <a:pt x="267" y="378"/>
                    <a:pt x="280" y="353"/>
                    <a:pt x="291" y="329"/>
                  </a:cubicBezTo>
                  <a:cubicBezTo>
                    <a:pt x="292" y="328"/>
                    <a:pt x="292" y="328"/>
                    <a:pt x="292" y="328"/>
                  </a:cubicBezTo>
                  <a:cubicBezTo>
                    <a:pt x="299" y="313"/>
                    <a:pt x="306" y="300"/>
                    <a:pt x="312" y="287"/>
                  </a:cubicBezTo>
                  <a:cubicBezTo>
                    <a:pt x="318" y="277"/>
                    <a:pt x="322" y="267"/>
                    <a:pt x="327" y="257"/>
                  </a:cubicBezTo>
                  <a:cubicBezTo>
                    <a:pt x="328" y="255"/>
                    <a:pt x="328" y="255"/>
                    <a:pt x="328" y="255"/>
                  </a:cubicBezTo>
                  <a:cubicBezTo>
                    <a:pt x="334" y="244"/>
                    <a:pt x="340" y="232"/>
                    <a:pt x="346" y="220"/>
                  </a:cubicBezTo>
                  <a:cubicBezTo>
                    <a:pt x="347" y="218"/>
                    <a:pt x="347" y="218"/>
                    <a:pt x="347" y="218"/>
                  </a:cubicBezTo>
                  <a:lnTo>
                    <a:pt x="345" y="216"/>
                  </a:lnTo>
                  <a:close/>
                  <a:moveTo>
                    <a:pt x="69" y="498"/>
                  </a:moveTo>
                  <a:cubicBezTo>
                    <a:pt x="69" y="497"/>
                    <a:pt x="69" y="496"/>
                    <a:pt x="70" y="495"/>
                  </a:cubicBezTo>
                  <a:cubicBezTo>
                    <a:pt x="71" y="496"/>
                    <a:pt x="71" y="496"/>
                    <a:pt x="71" y="497"/>
                  </a:cubicBezTo>
                  <a:cubicBezTo>
                    <a:pt x="71" y="499"/>
                    <a:pt x="71" y="499"/>
                    <a:pt x="70" y="500"/>
                  </a:cubicBezTo>
                  <a:cubicBezTo>
                    <a:pt x="70" y="500"/>
                    <a:pt x="69" y="500"/>
                    <a:pt x="68" y="501"/>
                  </a:cubicBezTo>
                  <a:cubicBezTo>
                    <a:pt x="68" y="501"/>
                    <a:pt x="68" y="501"/>
                    <a:pt x="68" y="501"/>
                  </a:cubicBezTo>
                  <a:cubicBezTo>
                    <a:pt x="69" y="500"/>
                    <a:pt x="69" y="499"/>
                    <a:pt x="69" y="498"/>
                  </a:cubicBezTo>
                  <a:close/>
                  <a:moveTo>
                    <a:pt x="45" y="465"/>
                  </a:moveTo>
                  <a:cubicBezTo>
                    <a:pt x="46" y="465"/>
                    <a:pt x="46" y="465"/>
                    <a:pt x="47" y="465"/>
                  </a:cubicBezTo>
                  <a:cubicBezTo>
                    <a:pt x="47" y="465"/>
                    <a:pt x="47" y="465"/>
                    <a:pt x="47" y="465"/>
                  </a:cubicBezTo>
                  <a:cubicBezTo>
                    <a:pt x="48" y="465"/>
                    <a:pt x="48" y="465"/>
                    <a:pt x="48" y="465"/>
                  </a:cubicBezTo>
                  <a:cubicBezTo>
                    <a:pt x="48" y="465"/>
                    <a:pt x="49" y="465"/>
                    <a:pt x="49" y="465"/>
                  </a:cubicBezTo>
                  <a:cubicBezTo>
                    <a:pt x="49" y="466"/>
                    <a:pt x="48" y="467"/>
                    <a:pt x="48" y="469"/>
                  </a:cubicBezTo>
                  <a:cubicBezTo>
                    <a:pt x="48" y="469"/>
                    <a:pt x="48" y="469"/>
                    <a:pt x="48" y="469"/>
                  </a:cubicBezTo>
                  <a:cubicBezTo>
                    <a:pt x="46" y="468"/>
                    <a:pt x="45" y="467"/>
                    <a:pt x="44" y="465"/>
                  </a:cubicBezTo>
                  <a:cubicBezTo>
                    <a:pt x="44" y="465"/>
                    <a:pt x="44" y="465"/>
                    <a:pt x="45" y="465"/>
                  </a:cubicBezTo>
                  <a:cubicBezTo>
                    <a:pt x="45" y="465"/>
                    <a:pt x="45" y="465"/>
                    <a:pt x="45" y="465"/>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79" name="Freeform 27">
              <a:extLst>
                <a:ext uri="{FF2B5EF4-FFF2-40B4-BE49-F238E27FC236}">
                  <a16:creationId xmlns:a16="http://schemas.microsoft.com/office/drawing/2014/main" id="{5B011B34-4975-7712-1994-456BA918FFD7}"/>
                </a:ext>
              </a:extLst>
            </p:cNvPr>
            <p:cNvSpPr>
              <a:spLocks noEditPoints="1"/>
            </p:cNvSpPr>
            <p:nvPr/>
          </p:nvSpPr>
          <p:spPr bwMode="auto">
            <a:xfrm rot="21097436">
              <a:off x="10933146" y="2062341"/>
              <a:ext cx="738738" cy="815061"/>
            </a:xfrm>
            <a:custGeom>
              <a:avLst/>
              <a:gdLst>
                <a:gd name="T0" fmla="*/ 2176164 w 320"/>
                <a:gd name="T1" fmla="*/ 1277872 h 322"/>
                <a:gd name="T2" fmla="*/ 2147810 w 320"/>
                <a:gd name="T3" fmla="*/ 1213333 h 322"/>
                <a:gd name="T4" fmla="*/ 2098190 w 320"/>
                <a:gd name="T5" fmla="*/ 1097163 h 322"/>
                <a:gd name="T6" fmla="*/ 1942244 w 320"/>
                <a:gd name="T7" fmla="*/ 1039078 h 322"/>
                <a:gd name="T8" fmla="*/ 1828828 w 320"/>
                <a:gd name="T9" fmla="*/ 1071347 h 322"/>
                <a:gd name="T10" fmla="*/ 1750855 w 320"/>
                <a:gd name="T11" fmla="*/ 1006808 h 322"/>
                <a:gd name="T12" fmla="*/ 1623262 w 320"/>
                <a:gd name="T13" fmla="*/ 1071347 h 322"/>
                <a:gd name="T14" fmla="*/ 1566554 w 320"/>
                <a:gd name="T15" fmla="*/ 1129432 h 322"/>
                <a:gd name="T16" fmla="*/ 1545289 w 320"/>
                <a:gd name="T17" fmla="*/ 1129432 h 322"/>
                <a:gd name="T18" fmla="*/ 1609085 w 320"/>
                <a:gd name="T19" fmla="*/ 1045531 h 322"/>
                <a:gd name="T20" fmla="*/ 1701236 w 320"/>
                <a:gd name="T21" fmla="*/ 929361 h 322"/>
                <a:gd name="T22" fmla="*/ 1594908 w 320"/>
                <a:gd name="T23" fmla="*/ 903546 h 322"/>
                <a:gd name="T24" fmla="*/ 1474404 w 320"/>
                <a:gd name="T25" fmla="*/ 948723 h 322"/>
                <a:gd name="T26" fmla="*/ 1382254 w 320"/>
                <a:gd name="T27" fmla="*/ 903546 h 322"/>
                <a:gd name="T28" fmla="*/ 1233396 w 320"/>
                <a:gd name="T29" fmla="*/ 922907 h 322"/>
                <a:gd name="T30" fmla="*/ 1169599 w 320"/>
                <a:gd name="T31" fmla="*/ 955177 h 322"/>
                <a:gd name="T32" fmla="*/ 1098715 w 320"/>
                <a:gd name="T33" fmla="*/ 851914 h 322"/>
                <a:gd name="T34" fmla="*/ 1006564 w 320"/>
                <a:gd name="T35" fmla="*/ 851914 h 322"/>
                <a:gd name="T36" fmla="*/ 935680 w 320"/>
                <a:gd name="T37" fmla="*/ 851914 h 322"/>
                <a:gd name="T38" fmla="*/ 793910 w 320"/>
                <a:gd name="T39" fmla="*/ 768014 h 322"/>
                <a:gd name="T40" fmla="*/ 829352 w 320"/>
                <a:gd name="T41" fmla="*/ 690567 h 322"/>
                <a:gd name="T42" fmla="*/ 779733 w 320"/>
                <a:gd name="T43" fmla="*/ 600212 h 322"/>
                <a:gd name="T44" fmla="*/ 737202 w 320"/>
                <a:gd name="T45" fmla="*/ 593759 h 322"/>
                <a:gd name="T46" fmla="*/ 673406 w 320"/>
                <a:gd name="T47" fmla="*/ 490496 h 322"/>
                <a:gd name="T48" fmla="*/ 517459 w 320"/>
                <a:gd name="T49" fmla="*/ 438865 h 322"/>
                <a:gd name="T50" fmla="*/ 439486 w 320"/>
                <a:gd name="T51" fmla="*/ 387234 h 322"/>
                <a:gd name="T52" fmla="*/ 269362 w 320"/>
                <a:gd name="T53" fmla="*/ 232340 h 322"/>
                <a:gd name="T54" fmla="*/ 92150 w 320"/>
                <a:gd name="T55" fmla="*/ 90355 h 322"/>
                <a:gd name="T56" fmla="*/ 21265 w 320"/>
                <a:gd name="T57" fmla="*/ 70993 h 322"/>
                <a:gd name="T58" fmla="*/ 77973 w 320"/>
                <a:gd name="T59" fmla="*/ 271064 h 322"/>
                <a:gd name="T60" fmla="*/ 148858 w 320"/>
                <a:gd name="T61" fmla="*/ 322695 h 322"/>
                <a:gd name="T62" fmla="*/ 269362 w 320"/>
                <a:gd name="T63" fmla="*/ 374326 h 322"/>
                <a:gd name="T64" fmla="*/ 460751 w 320"/>
                <a:gd name="T65" fmla="*/ 735744 h 322"/>
                <a:gd name="T66" fmla="*/ 588344 w 320"/>
                <a:gd name="T67" fmla="*/ 1006808 h 322"/>
                <a:gd name="T68" fmla="*/ 737202 w 320"/>
                <a:gd name="T69" fmla="*/ 1168155 h 322"/>
                <a:gd name="T70" fmla="*/ 666317 w 320"/>
                <a:gd name="T71" fmla="*/ 1335957 h 322"/>
                <a:gd name="T72" fmla="*/ 304805 w 320"/>
                <a:gd name="T73" fmla="*/ 1355318 h 322"/>
                <a:gd name="T74" fmla="*/ 241008 w 320"/>
                <a:gd name="T75" fmla="*/ 1439219 h 322"/>
                <a:gd name="T76" fmla="*/ 170124 w 320"/>
                <a:gd name="T77" fmla="*/ 1561843 h 322"/>
                <a:gd name="T78" fmla="*/ 269362 w 320"/>
                <a:gd name="T79" fmla="*/ 1755460 h 322"/>
                <a:gd name="T80" fmla="*/ 418220 w 320"/>
                <a:gd name="T81" fmla="*/ 1871630 h 322"/>
                <a:gd name="T82" fmla="*/ 510371 w 320"/>
                <a:gd name="T83" fmla="*/ 1884538 h 322"/>
                <a:gd name="T84" fmla="*/ 574167 w 320"/>
                <a:gd name="T85" fmla="*/ 2007162 h 322"/>
                <a:gd name="T86" fmla="*/ 758467 w 320"/>
                <a:gd name="T87" fmla="*/ 2013616 h 322"/>
                <a:gd name="T88" fmla="*/ 956945 w 320"/>
                <a:gd name="T89" fmla="*/ 2078155 h 322"/>
                <a:gd name="T90" fmla="*/ 914414 w 320"/>
                <a:gd name="T91" fmla="*/ 1697375 h 322"/>
                <a:gd name="T92" fmla="*/ 1091626 w 320"/>
                <a:gd name="T93" fmla="*/ 1916808 h 322"/>
                <a:gd name="T94" fmla="*/ 2140721 w 320"/>
                <a:gd name="T95" fmla="*/ 1607020 h 322"/>
                <a:gd name="T96" fmla="*/ 1424785 w 320"/>
                <a:gd name="T97" fmla="*/ 1368226 h 322"/>
                <a:gd name="T98" fmla="*/ 1516935 w 320"/>
                <a:gd name="T99" fmla="*/ 1219787 h 322"/>
                <a:gd name="T100" fmla="*/ 1424785 w 320"/>
                <a:gd name="T101" fmla="*/ 1394042 h 3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0" h="322">
                  <a:moveTo>
                    <a:pt x="320" y="207"/>
                  </a:moveTo>
                  <a:cubicBezTo>
                    <a:pt x="319" y="206"/>
                    <a:pt x="319" y="206"/>
                    <a:pt x="319" y="206"/>
                  </a:cubicBezTo>
                  <a:cubicBezTo>
                    <a:pt x="319" y="204"/>
                    <a:pt x="319" y="202"/>
                    <a:pt x="316" y="200"/>
                  </a:cubicBezTo>
                  <a:cubicBezTo>
                    <a:pt x="314" y="198"/>
                    <a:pt x="311" y="198"/>
                    <a:pt x="310" y="198"/>
                  </a:cubicBezTo>
                  <a:cubicBezTo>
                    <a:pt x="309" y="198"/>
                    <a:pt x="308" y="198"/>
                    <a:pt x="307" y="198"/>
                  </a:cubicBezTo>
                  <a:cubicBezTo>
                    <a:pt x="306" y="198"/>
                    <a:pt x="306" y="198"/>
                    <a:pt x="305" y="198"/>
                  </a:cubicBezTo>
                  <a:cubicBezTo>
                    <a:pt x="304" y="198"/>
                    <a:pt x="304" y="198"/>
                    <a:pt x="303" y="198"/>
                  </a:cubicBezTo>
                  <a:cubicBezTo>
                    <a:pt x="303" y="197"/>
                    <a:pt x="303" y="197"/>
                    <a:pt x="302" y="195"/>
                  </a:cubicBezTo>
                  <a:cubicBezTo>
                    <a:pt x="302" y="193"/>
                    <a:pt x="302" y="192"/>
                    <a:pt x="303" y="190"/>
                  </a:cubicBezTo>
                  <a:cubicBezTo>
                    <a:pt x="303" y="189"/>
                    <a:pt x="303" y="189"/>
                    <a:pt x="303" y="188"/>
                  </a:cubicBezTo>
                  <a:cubicBezTo>
                    <a:pt x="303" y="186"/>
                    <a:pt x="303" y="183"/>
                    <a:pt x="301" y="181"/>
                  </a:cubicBezTo>
                  <a:cubicBezTo>
                    <a:pt x="300" y="180"/>
                    <a:pt x="299" y="180"/>
                    <a:pt x="298" y="180"/>
                  </a:cubicBezTo>
                  <a:cubicBezTo>
                    <a:pt x="298" y="180"/>
                    <a:pt x="298" y="180"/>
                    <a:pt x="298" y="180"/>
                  </a:cubicBezTo>
                  <a:cubicBezTo>
                    <a:pt x="298" y="179"/>
                    <a:pt x="298" y="179"/>
                    <a:pt x="298" y="179"/>
                  </a:cubicBezTo>
                  <a:cubicBezTo>
                    <a:pt x="299" y="177"/>
                    <a:pt x="300" y="174"/>
                    <a:pt x="296" y="170"/>
                  </a:cubicBezTo>
                  <a:cubicBezTo>
                    <a:pt x="293" y="167"/>
                    <a:pt x="290" y="166"/>
                    <a:pt x="286" y="164"/>
                  </a:cubicBezTo>
                  <a:cubicBezTo>
                    <a:pt x="284" y="164"/>
                    <a:pt x="283" y="163"/>
                    <a:pt x="281" y="163"/>
                  </a:cubicBezTo>
                  <a:cubicBezTo>
                    <a:pt x="281" y="163"/>
                    <a:pt x="281" y="163"/>
                    <a:pt x="280" y="163"/>
                  </a:cubicBezTo>
                  <a:cubicBezTo>
                    <a:pt x="279" y="163"/>
                    <a:pt x="279" y="163"/>
                    <a:pt x="278" y="162"/>
                  </a:cubicBezTo>
                  <a:cubicBezTo>
                    <a:pt x="277" y="162"/>
                    <a:pt x="275" y="162"/>
                    <a:pt x="274" y="161"/>
                  </a:cubicBezTo>
                  <a:cubicBezTo>
                    <a:pt x="273" y="161"/>
                    <a:pt x="272" y="161"/>
                    <a:pt x="272" y="161"/>
                  </a:cubicBezTo>
                  <a:cubicBezTo>
                    <a:pt x="271" y="161"/>
                    <a:pt x="269" y="161"/>
                    <a:pt x="268" y="161"/>
                  </a:cubicBezTo>
                  <a:cubicBezTo>
                    <a:pt x="268" y="161"/>
                    <a:pt x="267" y="161"/>
                    <a:pt x="267" y="161"/>
                  </a:cubicBezTo>
                  <a:cubicBezTo>
                    <a:pt x="264" y="161"/>
                    <a:pt x="261" y="163"/>
                    <a:pt x="261" y="163"/>
                  </a:cubicBezTo>
                  <a:cubicBezTo>
                    <a:pt x="260" y="164"/>
                    <a:pt x="259" y="165"/>
                    <a:pt x="258" y="166"/>
                  </a:cubicBezTo>
                  <a:cubicBezTo>
                    <a:pt x="258" y="165"/>
                    <a:pt x="257" y="164"/>
                    <a:pt x="257" y="163"/>
                  </a:cubicBezTo>
                  <a:cubicBezTo>
                    <a:pt x="256" y="161"/>
                    <a:pt x="254" y="161"/>
                    <a:pt x="253" y="160"/>
                  </a:cubicBezTo>
                  <a:cubicBezTo>
                    <a:pt x="253" y="160"/>
                    <a:pt x="252" y="160"/>
                    <a:pt x="252" y="159"/>
                  </a:cubicBezTo>
                  <a:cubicBezTo>
                    <a:pt x="252" y="159"/>
                    <a:pt x="251" y="159"/>
                    <a:pt x="251" y="158"/>
                  </a:cubicBezTo>
                  <a:cubicBezTo>
                    <a:pt x="250" y="158"/>
                    <a:pt x="249" y="157"/>
                    <a:pt x="247" y="156"/>
                  </a:cubicBezTo>
                  <a:cubicBezTo>
                    <a:pt x="246" y="156"/>
                    <a:pt x="244" y="155"/>
                    <a:pt x="242" y="155"/>
                  </a:cubicBezTo>
                  <a:cubicBezTo>
                    <a:pt x="241" y="155"/>
                    <a:pt x="240" y="155"/>
                    <a:pt x="239" y="155"/>
                  </a:cubicBezTo>
                  <a:cubicBezTo>
                    <a:pt x="234" y="156"/>
                    <a:pt x="233" y="158"/>
                    <a:pt x="231" y="162"/>
                  </a:cubicBezTo>
                  <a:cubicBezTo>
                    <a:pt x="231" y="163"/>
                    <a:pt x="231" y="163"/>
                    <a:pt x="231" y="163"/>
                  </a:cubicBezTo>
                  <a:cubicBezTo>
                    <a:pt x="230" y="164"/>
                    <a:pt x="230" y="165"/>
                    <a:pt x="229" y="166"/>
                  </a:cubicBezTo>
                  <a:cubicBezTo>
                    <a:pt x="229" y="166"/>
                    <a:pt x="229" y="166"/>
                    <a:pt x="229" y="167"/>
                  </a:cubicBezTo>
                  <a:cubicBezTo>
                    <a:pt x="228" y="167"/>
                    <a:pt x="228" y="167"/>
                    <a:pt x="227" y="167"/>
                  </a:cubicBezTo>
                  <a:cubicBezTo>
                    <a:pt x="226" y="168"/>
                    <a:pt x="225" y="170"/>
                    <a:pt x="224" y="171"/>
                  </a:cubicBezTo>
                  <a:cubicBezTo>
                    <a:pt x="224" y="172"/>
                    <a:pt x="223" y="173"/>
                    <a:pt x="223" y="173"/>
                  </a:cubicBezTo>
                  <a:cubicBezTo>
                    <a:pt x="222" y="174"/>
                    <a:pt x="222" y="175"/>
                    <a:pt x="221" y="175"/>
                  </a:cubicBezTo>
                  <a:cubicBezTo>
                    <a:pt x="220" y="176"/>
                    <a:pt x="219" y="177"/>
                    <a:pt x="218" y="178"/>
                  </a:cubicBezTo>
                  <a:cubicBezTo>
                    <a:pt x="218" y="178"/>
                    <a:pt x="218" y="178"/>
                    <a:pt x="218" y="178"/>
                  </a:cubicBezTo>
                  <a:cubicBezTo>
                    <a:pt x="218" y="178"/>
                    <a:pt x="218" y="177"/>
                    <a:pt x="218" y="177"/>
                  </a:cubicBezTo>
                  <a:cubicBezTo>
                    <a:pt x="218" y="176"/>
                    <a:pt x="218" y="176"/>
                    <a:pt x="218" y="175"/>
                  </a:cubicBezTo>
                  <a:cubicBezTo>
                    <a:pt x="218" y="175"/>
                    <a:pt x="218" y="175"/>
                    <a:pt x="218" y="175"/>
                  </a:cubicBezTo>
                  <a:cubicBezTo>
                    <a:pt x="219" y="174"/>
                    <a:pt x="219" y="172"/>
                    <a:pt x="219" y="172"/>
                  </a:cubicBezTo>
                  <a:cubicBezTo>
                    <a:pt x="220" y="172"/>
                    <a:pt x="220" y="171"/>
                    <a:pt x="221" y="171"/>
                  </a:cubicBezTo>
                  <a:cubicBezTo>
                    <a:pt x="222" y="171"/>
                    <a:pt x="223" y="170"/>
                    <a:pt x="224" y="169"/>
                  </a:cubicBezTo>
                  <a:cubicBezTo>
                    <a:pt x="226" y="168"/>
                    <a:pt x="226" y="166"/>
                    <a:pt x="227" y="164"/>
                  </a:cubicBezTo>
                  <a:cubicBezTo>
                    <a:pt x="227" y="163"/>
                    <a:pt x="227" y="163"/>
                    <a:pt x="227" y="162"/>
                  </a:cubicBezTo>
                  <a:cubicBezTo>
                    <a:pt x="228" y="161"/>
                    <a:pt x="230" y="160"/>
                    <a:pt x="231" y="159"/>
                  </a:cubicBezTo>
                  <a:cubicBezTo>
                    <a:pt x="232" y="158"/>
                    <a:pt x="232" y="158"/>
                    <a:pt x="232" y="158"/>
                  </a:cubicBezTo>
                  <a:cubicBezTo>
                    <a:pt x="232" y="157"/>
                    <a:pt x="233" y="157"/>
                    <a:pt x="234" y="156"/>
                  </a:cubicBezTo>
                  <a:cubicBezTo>
                    <a:pt x="235" y="155"/>
                    <a:pt x="237" y="154"/>
                    <a:pt x="239" y="152"/>
                  </a:cubicBezTo>
                  <a:cubicBezTo>
                    <a:pt x="241" y="149"/>
                    <a:pt x="241" y="146"/>
                    <a:pt x="240" y="144"/>
                  </a:cubicBezTo>
                  <a:cubicBezTo>
                    <a:pt x="240" y="142"/>
                    <a:pt x="238" y="141"/>
                    <a:pt x="236" y="140"/>
                  </a:cubicBezTo>
                  <a:cubicBezTo>
                    <a:pt x="235" y="140"/>
                    <a:pt x="234" y="139"/>
                    <a:pt x="233" y="139"/>
                  </a:cubicBezTo>
                  <a:cubicBezTo>
                    <a:pt x="231" y="139"/>
                    <a:pt x="229" y="140"/>
                    <a:pt x="228" y="141"/>
                  </a:cubicBezTo>
                  <a:cubicBezTo>
                    <a:pt x="227" y="141"/>
                    <a:pt x="227" y="141"/>
                    <a:pt x="227" y="141"/>
                  </a:cubicBezTo>
                  <a:cubicBezTo>
                    <a:pt x="227" y="141"/>
                    <a:pt x="226" y="140"/>
                    <a:pt x="225" y="140"/>
                  </a:cubicBezTo>
                  <a:cubicBezTo>
                    <a:pt x="225" y="140"/>
                    <a:pt x="223" y="139"/>
                    <a:pt x="222" y="139"/>
                  </a:cubicBezTo>
                  <a:cubicBezTo>
                    <a:pt x="221" y="138"/>
                    <a:pt x="221" y="138"/>
                    <a:pt x="220" y="138"/>
                  </a:cubicBezTo>
                  <a:cubicBezTo>
                    <a:pt x="217" y="138"/>
                    <a:pt x="213" y="140"/>
                    <a:pt x="211" y="143"/>
                  </a:cubicBezTo>
                  <a:cubicBezTo>
                    <a:pt x="211" y="144"/>
                    <a:pt x="211" y="144"/>
                    <a:pt x="211" y="144"/>
                  </a:cubicBezTo>
                  <a:cubicBezTo>
                    <a:pt x="210" y="146"/>
                    <a:pt x="209" y="147"/>
                    <a:pt x="208" y="147"/>
                  </a:cubicBezTo>
                  <a:cubicBezTo>
                    <a:pt x="207" y="147"/>
                    <a:pt x="207" y="147"/>
                    <a:pt x="207" y="147"/>
                  </a:cubicBezTo>
                  <a:cubicBezTo>
                    <a:pt x="206" y="147"/>
                    <a:pt x="204" y="147"/>
                    <a:pt x="204" y="146"/>
                  </a:cubicBezTo>
                  <a:cubicBezTo>
                    <a:pt x="203" y="146"/>
                    <a:pt x="203" y="145"/>
                    <a:pt x="203" y="145"/>
                  </a:cubicBezTo>
                  <a:cubicBezTo>
                    <a:pt x="202" y="144"/>
                    <a:pt x="201" y="142"/>
                    <a:pt x="199" y="141"/>
                  </a:cubicBezTo>
                  <a:cubicBezTo>
                    <a:pt x="198" y="140"/>
                    <a:pt x="196" y="140"/>
                    <a:pt x="195" y="140"/>
                  </a:cubicBezTo>
                  <a:cubicBezTo>
                    <a:pt x="192" y="140"/>
                    <a:pt x="189" y="141"/>
                    <a:pt x="187" y="143"/>
                  </a:cubicBezTo>
                  <a:cubicBezTo>
                    <a:pt x="186" y="143"/>
                    <a:pt x="185" y="144"/>
                    <a:pt x="184" y="144"/>
                  </a:cubicBezTo>
                  <a:cubicBezTo>
                    <a:pt x="183" y="144"/>
                    <a:pt x="182" y="144"/>
                    <a:pt x="182" y="143"/>
                  </a:cubicBezTo>
                  <a:cubicBezTo>
                    <a:pt x="181" y="143"/>
                    <a:pt x="179" y="142"/>
                    <a:pt x="177" y="142"/>
                  </a:cubicBezTo>
                  <a:cubicBezTo>
                    <a:pt x="176" y="142"/>
                    <a:pt x="175" y="142"/>
                    <a:pt x="174" y="143"/>
                  </a:cubicBezTo>
                  <a:cubicBezTo>
                    <a:pt x="172" y="144"/>
                    <a:pt x="171" y="145"/>
                    <a:pt x="170" y="147"/>
                  </a:cubicBezTo>
                  <a:cubicBezTo>
                    <a:pt x="169" y="148"/>
                    <a:pt x="169" y="149"/>
                    <a:pt x="168" y="149"/>
                  </a:cubicBezTo>
                  <a:cubicBezTo>
                    <a:pt x="168" y="149"/>
                    <a:pt x="167" y="149"/>
                    <a:pt x="166" y="149"/>
                  </a:cubicBezTo>
                  <a:cubicBezTo>
                    <a:pt x="165" y="149"/>
                    <a:pt x="165" y="149"/>
                    <a:pt x="165" y="149"/>
                  </a:cubicBezTo>
                  <a:cubicBezTo>
                    <a:pt x="165" y="148"/>
                    <a:pt x="165" y="148"/>
                    <a:pt x="165" y="148"/>
                  </a:cubicBezTo>
                  <a:cubicBezTo>
                    <a:pt x="165" y="146"/>
                    <a:pt x="166" y="141"/>
                    <a:pt x="162" y="139"/>
                  </a:cubicBezTo>
                  <a:cubicBezTo>
                    <a:pt x="162" y="138"/>
                    <a:pt x="161" y="138"/>
                    <a:pt x="160" y="138"/>
                  </a:cubicBezTo>
                  <a:cubicBezTo>
                    <a:pt x="160" y="138"/>
                    <a:pt x="160" y="137"/>
                    <a:pt x="160" y="137"/>
                  </a:cubicBezTo>
                  <a:cubicBezTo>
                    <a:pt x="160" y="136"/>
                    <a:pt x="160" y="134"/>
                    <a:pt x="158" y="133"/>
                  </a:cubicBezTo>
                  <a:cubicBezTo>
                    <a:pt x="157" y="132"/>
                    <a:pt x="156" y="132"/>
                    <a:pt x="155" y="132"/>
                  </a:cubicBezTo>
                  <a:cubicBezTo>
                    <a:pt x="153" y="132"/>
                    <a:pt x="152" y="132"/>
                    <a:pt x="151" y="133"/>
                  </a:cubicBezTo>
                  <a:cubicBezTo>
                    <a:pt x="151" y="133"/>
                    <a:pt x="151" y="133"/>
                    <a:pt x="151" y="133"/>
                  </a:cubicBezTo>
                  <a:cubicBezTo>
                    <a:pt x="151" y="133"/>
                    <a:pt x="150" y="133"/>
                    <a:pt x="150" y="133"/>
                  </a:cubicBezTo>
                  <a:cubicBezTo>
                    <a:pt x="149" y="133"/>
                    <a:pt x="148" y="133"/>
                    <a:pt x="148" y="132"/>
                  </a:cubicBezTo>
                  <a:cubicBezTo>
                    <a:pt x="146" y="132"/>
                    <a:pt x="144" y="132"/>
                    <a:pt x="142" y="132"/>
                  </a:cubicBezTo>
                  <a:cubicBezTo>
                    <a:pt x="141" y="132"/>
                    <a:pt x="140" y="132"/>
                    <a:pt x="139" y="132"/>
                  </a:cubicBezTo>
                  <a:cubicBezTo>
                    <a:pt x="138" y="132"/>
                    <a:pt x="138" y="132"/>
                    <a:pt x="138" y="132"/>
                  </a:cubicBezTo>
                  <a:cubicBezTo>
                    <a:pt x="137" y="132"/>
                    <a:pt x="137" y="131"/>
                    <a:pt x="136" y="131"/>
                  </a:cubicBezTo>
                  <a:cubicBezTo>
                    <a:pt x="134" y="131"/>
                    <a:pt x="134" y="132"/>
                    <a:pt x="133" y="132"/>
                  </a:cubicBezTo>
                  <a:cubicBezTo>
                    <a:pt x="132" y="132"/>
                    <a:pt x="132" y="132"/>
                    <a:pt x="132" y="132"/>
                  </a:cubicBezTo>
                  <a:cubicBezTo>
                    <a:pt x="131" y="132"/>
                    <a:pt x="129" y="131"/>
                    <a:pt x="128" y="129"/>
                  </a:cubicBezTo>
                  <a:cubicBezTo>
                    <a:pt x="126" y="127"/>
                    <a:pt x="124" y="126"/>
                    <a:pt x="121" y="124"/>
                  </a:cubicBezTo>
                  <a:cubicBezTo>
                    <a:pt x="120" y="124"/>
                    <a:pt x="119" y="123"/>
                    <a:pt x="118" y="123"/>
                  </a:cubicBezTo>
                  <a:cubicBezTo>
                    <a:pt x="117" y="123"/>
                    <a:pt x="116" y="123"/>
                    <a:pt x="116" y="122"/>
                  </a:cubicBezTo>
                  <a:cubicBezTo>
                    <a:pt x="115" y="121"/>
                    <a:pt x="114" y="120"/>
                    <a:pt x="112" y="119"/>
                  </a:cubicBezTo>
                  <a:cubicBezTo>
                    <a:pt x="111" y="119"/>
                    <a:pt x="111" y="118"/>
                    <a:pt x="111" y="118"/>
                  </a:cubicBezTo>
                  <a:cubicBezTo>
                    <a:pt x="110" y="118"/>
                    <a:pt x="110" y="118"/>
                    <a:pt x="110" y="118"/>
                  </a:cubicBezTo>
                  <a:cubicBezTo>
                    <a:pt x="111" y="117"/>
                    <a:pt x="111" y="117"/>
                    <a:pt x="111" y="117"/>
                  </a:cubicBezTo>
                  <a:cubicBezTo>
                    <a:pt x="112" y="117"/>
                    <a:pt x="112" y="117"/>
                    <a:pt x="112" y="117"/>
                  </a:cubicBezTo>
                  <a:cubicBezTo>
                    <a:pt x="115" y="115"/>
                    <a:pt x="117" y="109"/>
                    <a:pt x="117" y="107"/>
                  </a:cubicBezTo>
                  <a:cubicBezTo>
                    <a:pt x="117" y="107"/>
                    <a:pt x="118" y="106"/>
                    <a:pt x="118" y="105"/>
                  </a:cubicBezTo>
                  <a:cubicBezTo>
                    <a:pt x="118" y="105"/>
                    <a:pt x="118" y="105"/>
                    <a:pt x="118" y="105"/>
                  </a:cubicBezTo>
                  <a:cubicBezTo>
                    <a:pt x="119" y="105"/>
                    <a:pt x="119" y="104"/>
                    <a:pt x="119" y="102"/>
                  </a:cubicBezTo>
                  <a:cubicBezTo>
                    <a:pt x="120" y="99"/>
                    <a:pt x="118" y="97"/>
                    <a:pt x="116" y="95"/>
                  </a:cubicBezTo>
                  <a:cubicBezTo>
                    <a:pt x="114" y="94"/>
                    <a:pt x="112" y="93"/>
                    <a:pt x="110" y="93"/>
                  </a:cubicBezTo>
                  <a:cubicBezTo>
                    <a:pt x="109" y="93"/>
                    <a:pt x="108" y="93"/>
                    <a:pt x="107" y="94"/>
                  </a:cubicBezTo>
                  <a:cubicBezTo>
                    <a:pt x="107" y="94"/>
                    <a:pt x="106" y="94"/>
                    <a:pt x="105" y="94"/>
                  </a:cubicBezTo>
                  <a:cubicBezTo>
                    <a:pt x="105" y="94"/>
                    <a:pt x="105" y="94"/>
                    <a:pt x="105" y="94"/>
                  </a:cubicBezTo>
                  <a:cubicBezTo>
                    <a:pt x="105" y="94"/>
                    <a:pt x="105" y="94"/>
                    <a:pt x="105" y="94"/>
                  </a:cubicBezTo>
                  <a:cubicBezTo>
                    <a:pt x="104" y="94"/>
                    <a:pt x="104" y="93"/>
                    <a:pt x="104" y="92"/>
                  </a:cubicBezTo>
                  <a:cubicBezTo>
                    <a:pt x="104" y="92"/>
                    <a:pt x="104" y="92"/>
                    <a:pt x="104" y="92"/>
                  </a:cubicBezTo>
                  <a:cubicBezTo>
                    <a:pt x="102" y="89"/>
                    <a:pt x="100" y="88"/>
                    <a:pt x="98" y="88"/>
                  </a:cubicBezTo>
                  <a:cubicBezTo>
                    <a:pt x="98" y="88"/>
                    <a:pt x="97" y="88"/>
                    <a:pt x="97" y="88"/>
                  </a:cubicBezTo>
                  <a:cubicBezTo>
                    <a:pt x="97" y="87"/>
                    <a:pt x="97" y="86"/>
                    <a:pt x="97" y="84"/>
                  </a:cubicBezTo>
                  <a:cubicBezTo>
                    <a:pt x="97" y="82"/>
                    <a:pt x="97" y="79"/>
                    <a:pt x="95" y="76"/>
                  </a:cubicBezTo>
                  <a:cubicBezTo>
                    <a:pt x="91" y="73"/>
                    <a:pt x="87" y="73"/>
                    <a:pt x="84" y="73"/>
                  </a:cubicBezTo>
                  <a:cubicBezTo>
                    <a:pt x="84" y="73"/>
                    <a:pt x="82" y="73"/>
                    <a:pt x="82" y="73"/>
                  </a:cubicBezTo>
                  <a:cubicBezTo>
                    <a:pt x="82" y="71"/>
                    <a:pt x="82" y="71"/>
                    <a:pt x="81" y="70"/>
                  </a:cubicBezTo>
                  <a:cubicBezTo>
                    <a:pt x="80" y="69"/>
                    <a:pt x="78" y="68"/>
                    <a:pt x="75" y="68"/>
                  </a:cubicBezTo>
                  <a:cubicBezTo>
                    <a:pt x="74" y="68"/>
                    <a:pt x="74" y="68"/>
                    <a:pt x="73" y="68"/>
                  </a:cubicBezTo>
                  <a:cubicBezTo>
                    <a:pt x="73" y="67"/>
                    <a:pt x="73" y="66"/>
                    <a:pt x="73" y="65"/>
                  </a:cubicBezTo>
                  <a:cubicBezTo>
                    <a:pt x="74" y="64"/>
                    <a:pt x="73" y="63"/>
                    <a:pt x="73" y="62"/>
                  </a:cubicBezTo>
                  <a:cubicBezTo>
                    <a:pt x="71" y="60"/>
                    <a:pt x="67" y="59"/>
                    <a:pt x="64" y="59"/>
                  </a:cubicBezTo>
                  <a:cubicBezTo>
                    <a:pt x="63" y="59"/>
                    <a:pt x="63" y="59"/>
                    <a:pt x="62" y="60"/>
                  </a:cubicBezTo>
                  <a:cubicBezTo>
                    <a:pt x="62" y="60"/>
                    <a:pt x="62" y="60"/>
                    <a:pt x="62" y="60"/>
                  </a:cubicBezTo>
                  <a:cubicBezTo>
                    <a:pt x="63" y="58"/>
                    <a:pt x="64" y="55"/>
                    <a:pt x="63" y="52"/>
                  </a:cubicBezTo>
                  <a:cubicBezTo>
                    <a:pt x="61" y="48"/>
                    <a:pt x="56" y="46"/>
                    <a:pt x="52" y="45"/>
                  </a:cubicBezTo>
                  <a:cubicBezTo>
                    <a:pt x="51" y="44"/>
                    <a:pt x="51" y="43"/>
                    <a:pt x="51" y="43"/>
                  </a:cubicBezTo>
                  <a:cubicBezTo>
                    <a:pt x="50" y="40"/>
                    <a:pt x="46" y="39"/>
                    <a:pt x="44" y="38"/>
                  </a:cubicBezTo>
                  <a:cubicBezTo>
                    <a:pt x="42" y="38"/>
                    <a:pt x="40" y="37"/>
                    <a:pt x="38" y="36"/>
                  </a:cubicBezTo>
                  <a:cubicBezTo>
                    <a:pt x="35" y="35"/>
                    <a:pt x="31" y="32"/>
                    <a:pt x="28" y="30"/>
                  </a:cubicBezTo>
                  <a:cubicBezTo>
                    <a:pt x="26" y="29"/>
                    <a:pt x="25" y="27"/>
                    <a:pt x="23" y="25"/>
                  </a:cubicBezTo>
                  <a:cubicBezTo>
                    <a:pt x="22" y="25"/>
                    <a:pt x="22" y="24"/>
                    <a:pt x="21" y="23"/>
                  </a:cubicBezTo>
                  <a:cubicBezTo>
                    <a:pt x="20" y="22"/>
                    <a:pt x="19" y="20"/>
                    <a:pt x="18" y="19"/>
                  </a:cubicBezTo>
                  <a:cubicBezTo>
                    <a:pt x="16" y="18"/>
                    <a:pt x="14" y="16"/>
                    <a:pt x="13" y="14"/>
                  </a:cubicBezTo>
                  <a:cubicBezTo>
                    <a:pt x="12" y="13"/>
                    <a:pt x="12" y="12"/>
                    <a:pt x="12" y="12"/>
                  </a:cubicBezTo>
                  <a:cubicBezTo>
                    <a:pt x="11" y="9"/>
                    <a:pt x="9" y="6"/>
                    <a:pt x="6" y="4"/>
                  </a:cubicBezTo>
                  <a:cubicBezTo>
                    <a:pt x="0" y="0"/>
                    <a:pt x="0" y="0"/>
                    <a:pt x="0" y="0"/>
                  </a:cubicBezTo>
                  <a:cubicBezTo>
                    <a:pt x="2" y="7"/>
                    <a:pt x="2" y="7"/>
                    <a:pt x="2" y="7"/>
                  </a:cubicBezTo>
                  <a:cubicBezTo>
                    <a:pt x="2" y="8"/>
                    <a:pt x="3" y="11"/>
                    <a:pt x="3" y="11"/>
                  </a:cubicBezTo>
                  <a:cubicBezTo>
                    <a:pt x="3" y="14"/>
                    <a:pt x="4" y="17"/>
                    <a:pt x="5" y="20"/>
                  </a:cubicBezTo>
                  <a:cubicBezTo>
                    <a:pt x="6" y="22"/>
                    <a:pt x="6" y="24"/>
                    <a:pt x="7" y="28"/>
                  </a:cubicBezTo>
                  <a:cubicBezTo>
                    <a:pt x="10" y="27"/>
                    <a:pt x="10" y="27"/>
                    <a:pt x="10" y="27"/>
                  </a:cubicBezTo>
                  <a:cubicBezTo>
                    <a:pt x="7" y="28"/>
                    <a:pt x="7" y="28"/>
                    <a:pt x="7" y="28"/>
                  </a:cubicBezTo>
                  <a:cubicBezTo>
                    <a:pt x="9" y="37"/>
                    <a:pt x="10" y="40"/>
                    <a:pt x="11" y="42"/>
                  </a:cubicBezTo>
                  <a:cubicBezTo>
                    <a:pt x="13" y="43"/>
                    <a:pt x="14" y="43"/>
                    <a:pt x="14" y="43"/>
                  </a:cubicBezTo>
                  <a:cubicBezTo>
                    <a:pt x="15" y="43"/>
                    <a:pt x="15" y="43"/>
                    <a:pt x="16" y="43"/>
                  </a:cubicBezTo>
                  <a:cubicBezTo>
                    <a:pt x="16" y="43"/>
                    <a:pt x="17" y="43"/>
                    <a:pt x="17" y="43"/>
                  </a:cubicBezTo>
                  <a:cubicBezTo>
                    <a:pt x="19" y="43"/>
                    <a:pt x="20" y="43"/>
                    <a:pt x="21" y="45"/>
                  </a:cubicBezTo>
                  <a:cubicBezTo>
                    <a:pt x="22" y="46"/>
                    <a:pt x="22" y="48"/>
                    <a:pt x="21" y="50"/>
                  </a:cubicBezTo>
                  <a:cubicBezTo>
                    <a:pt x="21" y="52"/>
                    <a:pt x="20" y="54"/>
                    <a:pt x="21" y="55"/>
                  </a:cubicBezTo>
                  <a:cubicBezTo>
                    <a:pt x="21" y="57"/>
                    <a:pt x="22" y="60"/>
                    <a:pt x="25" y="60"/>
                  </a:cubicBezTo>
                  <a:cubicBezTo>
                    <a:pt x="26" y="60"/>
                    <a:pt x="28" y="59"/>
                    <a:pt x="29" y="59"/>
                  </a:cubicBezTo>
                  <a:cubicBezTo>
                    <a:pt x="31" y="58"/>
                    <a:pt x="33" y="58"/>
                    <a:pt x="35" y="58"/>
                  </a:cubicBezTo>
                  <a:cubicBezTo>
                    <a:pt x="36" y="58"/>
                    <a:pt x="37" y="58"/>
                    <a:pt x="38" y="58"/>
                  </a:cubicBezTo>
                  <a:cubicBezTo>
                    <a:pt x="45" y="61"/>
                    <a:pt x="45" y="67"/>
                    <a:pt x="44" y="76"/>
                  </a:cubicBezTo>
                  <a:cubicBezTo>
                    <a:pt x="43" y="83"/>
                    <a:pt x="42" y="90"/>
                    <a:pt x="49" y="93"/>
                  </a:cubicBezTo>
                  <a:cubicBezTo>
                    <a:pt x="52" y="95"/>
                    <a:pt x="54" y="95"/>
                    <a:pt x="56" y="96"/>
                  </a:cubicBezTo>
                  <a:cubicBezTo>
                    <a:pt x="61" y="96"/>
                    <a:pt x="63" y="97"/>
                    <a:pt x="65" y="105"/>
                  </a:cubicBezTo>
                  <a:cubicBezTo>
                    <a:pt x="65" y="108"/>
                    <a:pt x="65" y="111"/>
                    <a:pt x="65" y="114"/>
                  </a:cubicBezTo>
                  <a:cubicBezTo>
                    <a:pt x="65" y="118"/>
                    <a:pt x="65" y="122"/>
                    <a:pt x="66" y="127"/>
                  </a:cubicBezTo>
                  <a:cubicBezTo>
                    <a:pt x="67" y="129"/>
                    <a:pt x="67" y="132"/>
                    <a:pt x="67" y="136"/>
                  </a:cubicBezTo>
                  <a:cubicBezTo>
                    <a:pt x="68" y="141"/>
                    <a:pt x="68" y="146"/>
                    <a:pt x="70" y="150"/>
                  </a:cubicBezTo>
                  <a:cubicBezTo>
                    <a:pt x="72" y="154"/>
                    <a:pt x="75" y="154"/>
                    <a:pt x="78" y="154"/>
                  </a:cubicBezTo>
                  <a:cubicBezTo>
                    <a:pt x="79" y="155"/>
                    <a:pt x="81" y="155"/>
                    <a:pt x="83" y="156"/>
                  </a:cubicBezTo>
                  <a:cubicBezTo>
                    <a:pt x="85" y="157"/>
                    <a:pt x="86" y="158"/>
                    <a:pt x="87" y="160"/>
                  </a:cubicBezTo>
                  <a:cubicBezTo>
                    <a:pt x="88" y="161"/>
                    <a:pt x="89" y="162"/>
                    <a:pt x="90" y="163"/>
                  </a:cubicBezTo>
                  <a:cubicBezTo>
                    <a:pt x="92" y="165"/>
                    <a:pt x="94" y="166"/>
                    <a:pt x="96" y="167"/>
                  </a:cubicBezTo>
                  <a:cubicBezTo>
                    <a:pt x="100" y="169"/>
                    <a:pt x="104" y="170"/>
                    <a:pt x="104" y="176"/>
                  </a:cubicBezTo>
                  <a:cubicBezTo>
                    <a:pt x="104" y="178"/>
                    <a:pt x="104" y="179"/>
                    <a:pt x="104" y="181"/>
                  </a:cubicBezTo>
                  <a:cubicBezTo>
                    <a:pt x="103" y="183"/>
                    <a:pt x="103" y="185"/>
                    <a:pt x="104" y="188"/>
                  </a:cubicBezTo>
                  <a:cubicBezTo>
                    <a:pt x="105" y="190"/>
                    <a:pt x="106" y="191"/>
                    <a:pt x="107" y="192"/>
                  </a:cubicBezTo>
                  <a:cubicBezTo>
                    <a:pt x="108" y="194"/>
                    <a:pt x="110" y="196"/>
                    <a:pt x="110" y="199"/>
                  </a:cubicBezTo>
                  <a:cubicBezTo>
                    <a:pt x="110" y="205"/>
                    <a:pt x="106" y="207"/>
                    <a:pt x="98" y="207"/>
                  </a:cubicBezTo>
                  <a:cubicBezTo>
                    <a:pt x="94" y="207"/>
                    <a:pt x="94" y="207"/>
                    <a:pt x="94" y="207"/>
                  </a:cubicBezTo>
                  <a:cubicBezTo>
                    <a:pt x="92" y="207"/>
                    <a:pt x="90" y="207"/>
                    <a:pt x="88" y="208"/>
                  </a:cubicBezTo>
                  <a:cubicBezTo>
                    <a:pt x="85" y="209"/>
                    <a:pt x="82" y="210"/>
                    <a:pt x="78" y="211"/>
                  </a:cubicBezTo>
                  <a:cubicBezTo>
                    <a:pt x="73" y="213"/>
                    <a:pt x="68" y="216"/>
                    <a:pt x="62" y="216"/>
                  </a:cubicBezTo>
                  <a:cubicBezTo>
                    <a:pt x="56" y="216"/>
                    <a:pt x="52" y="214"/>
                    <a:pt x="47" y="211"/>
                  </a:cubicBezTo>
                  <a:cubicBezTo>
                    <a:pt x="46" y="211"/>
                    <a:pt x="44" y="210"/>
                    <a:pt x="43" y="210"/>
                  </a:cubicBezTo>
                  <a:cubicBezTo>
                    <a:pt x="38" y="208"/>
                    <a:pt x="38" y="208"/>
                    <a:pt x="38" y="208"/>
                  </a:cubicBezTo>
                  <a:cubicBezTo>
                    <a:pt x="39" y="213"/>
                    <a:pt x="39" y="213"/>
                    <a:pt x="39" y="213"/>
                  </a:cubicBezTo>
                  <a:cubicBezTo>
                    <a:pt x="39" y="215"/>
                    <a:pt x="40" y="221"/>
                    <a:pt x="39" y="222"/>
                  </a:cubicBezTo>
                  <a:cubicBezTo>
                    <a:pt x="38" y="223"/>
                    <a:pt x="37" y="223"/>
                    <a:pt x="36" y="223"/>
                  </a:cubicBezTo>
                  <a:cubicBezTo>
                    <a:pt x="36" y="223"/>
                    <a:pt x="35" y="223"/>
                    <a:pt x="34" y="223"/>
                  </a:cubicBezTo>
                  <a:cubicBezTo>
                    <a:pt x="31" y="228"/>
                    <a:pt x="31" y="228"/>
                    <a:pt x="31" y="228"/>
                  </a:cubicBezTo>
                  <a:cubicBezTo>
                    <a:pt x="33" y="230"/>
                    <a:pt x="34" y="231"/>
                    <a:pt x="34" y="234"/>
                  </a:cubicBezTo>
                  <a:cubicBezTo>
                    <a:pt x="30" y="235"/>
                    <a:pt x="27" y="237"/>
                    <a:pt x="25" y="240"/>
                  </a:cubicBezTo>
                  <a:cubicBezTo>
                    <a:pt x="24" y="241"/>
                    <a:pt x="24" y="241"/>
                    <a:pt x="24" y="241"/>
                  </a:cubicBezTo>
                  <a:cubicBezTo>
                    <a:pt x="24" y="242"/>
                    <a:pt x="24" y="242"/>
                    <a:pt x="24" y="242"/>
                  </a:cubicBezTo>
                  <a:cubicBezTo>
                    <a:pt x="26" y="255"/>
                    <a:pt x="27" y="258"/>
                    <a:pt x="28" y="259"/>
                  </a:cubicBezTo>
                  <a:cubicBezTo>
                    <a:pt x="29" y="260"/>
                    <a:pt x="31" y="261"/>
                    <a:pt x="32" y="261"/>
                  </a:cubicBezTo>
                  <a:cubicBezTo>
                    <a:pt x="34" y="262"/>
                    <a:pt x="35" y="262"/>
                    <a:pt x="36" y="263"/>
                  </a:cubicBezTo>
                  <a:cubicBezTo>
                    <a:pt x="37" y="265"/>
                    <a:pt x="37" y="266"/>
                    <a:pt x="37" y="268"/>
                  </a:cubicBezTo>
                  <a:cubicBezTo>
                    <a:pt x="37" y="269"/>
                    <a:pt x="38" y="271"/>
                    <a:pt x="38" y="272"/>
                  </a:cubicBezTo>
                  <a:cubicBezTo>
                    <a:pt x="41" y="275"/>
                    <a:pt x="44" y="275"/>
                    <a:pt x="47" y="275"/>
                  </a:cubicBezTo>
                  <a:cubicBezTo>
                    <a:pt x="49" y="275"/>
                    <a:pt x="51" y="276"/>
                    <a:pt x="53" y="277"/>
                  </a:cubicBezTo>
                  <a:cubicBezTo>
                    <a:pt x="57" y="279"/>
                    <a:pt x="58" y="282"/>
                    <a:pt x="58" y="286"/>
                  </a:cubicBezTo>
                  <a:cubicBezTo>
                    <a:pt x="59" y="287"/>
                    <a:pt x="59" y="289"/>
                    <a:pt x="59" y="290"/>
                  </a:cubicBezTo>
                  <a:cubicBezTo>
                    <a:pt x="59" y="290"/>
                    <a:pt x="59" y="290"/>
                    <a:pt x="59" y="290"/>
                  </a:cubicBezTo>
                  <a:cubicBezTo>
                    <a:pt x="61" y="298"/>
                    <a:pt x="63" y="300"/>
                    <a:pt x="64" y="301"/>
                  </a:cubicBezTo>
                  <a:cubicBezTo>
                    <a:pt x="67" y="303"/>
                    <a:pt x="67" y="303"/>
                    <a:pt x="67" y="303"/>
                  </a:cubicBezTo>
                  <a:cubicBezTo>
                    <a:pt x="68" y="299"/>
                    <a:pt x="68" y="299"/>
                    <a:pt x="68" y="299"/>
                  </a:cubicBezTo>
                  <a:cubicBezTo>
                    <a:pt x="69" y="299"/>
                    <a:pt x="69" y="298"/>
                    <a:pt x="69" y="297"/>
                  </a:cubicBezTo>
                  <a:cubicBezTo>
                    <a:pt x="70" y="294"/>
                    <a:pt x="71" y="293"/>
                    <a:pt x="72" y="292"/>
                  </a:cubicBezTo>
                  <a:cubicBezTo>
                    <a:pt x="72" y="292"/>
                    <a:pt x="72" y="292"/>
                    <a:pt x="72" y="292"/>
                  </a:cubicBezTo>
                  <a:cubicBezTo>
                    <a:pt x="74" y="292"/>
                    <a:pt x="75" y="294"/>
                    <a:pt x="76" y="294"/>
                  </a:cubicBezTo>
                  <a:cubicBezTo>
                    <a:pt x="77" y="295"/>
                    <a:pt x="78" y="299"/>
                    <a:pt x="79" y="303"/>
                  </a:cubicBezTo>
                  <a:cubicBezTo>
                    <a:pt x="79" y="306"/>
                    <a:pt x="80" y="309"/>
                    <a:pt x="81" y="310"/>
                  </a:cubicBezTo>
                  <a:cubicBezTo>
                    <a:pt x="81" y="311"/>
                    <a:pt x="81" y="311"/>
                    <a:pt x="81" y="311"/>
                  </a:cubicBezTo>
                  <a:cubicBezTo>
                    <a:pt x="84" y="316"/>
                    <a:pt x="85" y="316"/>
                    <a:pt x="90" y="316"/>
                  </a:cubicBezTo>
                  <a:cubicBezTo>
                    <a:pt x="92" y="316"/>
                    <a:pt x="92" y="316"/>
                    <a:pt x="92" y="316"/>
                  </a:cubicBezTo>
                  <a:cubicBezTo>
                    <a:pt x="93" y="316"/>
                    <a:pt x="94" y="316"/>
                    <a:pt x="95" y="316"/>
                  </a:cubicBezTo>
                  <a:cubicBezTo>
                    <a:pt x="99" y="316"/>
                    <a:pt x="101" y="315"/>
                    <a:pt x="105" y="313"/>
                  </a:cubicBezTo>
                  <a:cubicBezTo>
                    <a:pt x="107" y="312"/>
                    <a:pt x="107" y="312"/>
                    <a:pt x="107" y="312"/>
                  </a:cubicBezTo>
                  <a:cubicBezTo>
                    <a:pt x="109" y="310"/>
                    <a:pt x="111" y="309"/>
                    <a:pt x="113" y="309"/>
                  </a:cubicBezTo>
                  <a:cubicBezTo>
                    <a:pt x="114" y="309"/>
                    <a:pt x="116" y="310"/>
                    <a:pt x="119" y="311"/>
                  </a:cubicBezTo>
                  <a:cubicBezTo>
                    <a:pt x="119" y="312"/>
                    <a:pt x="119" y="312"/>
                    <a:pt x="119" y="312"/>
                  </a:cubicBezTo>
                  <a:cubicBezTo>
                    <a:pt x="124" y="316"/>
                    <a:pt x="128" y="319"/>
                    <a:pt x="130" y="320"/>
                  </a:cubicBezTo>
                  <a:cubicBezTo>
                    <a:pt x="135" y="322"/>
                    <a:pt x="135" y="322"/>
                    <a:pt x="135" y="322"/>
                  </a:cubicBezTo>
                  <a:cubicBezTo>
                    <a:pt x="135" y="315"/>
                    <a:pt x="135" y="315"/>
                    <a:pt x="135" y="315"/>
                  </a:cubicBezTo>
                  <a:cubicBezTo>
                    <a:pt x="136" y="308"/>
                    <a:pt x="136" y="300"/>
                    <a:pt x="134" y="294"/>
                  </a:cubicBezTo>
                  <a:cubicBezTo>
                    <a:pt x="132" y="291"/>
                    <a:pt x="130" y="289"/>
                    <a:pt x="128" y="286"/>
                  </a:cubicBezTo>
                  <a:cubicBezTo>
                    <a:pt x="126" y="283"/>
                    <a:pt x="123" y="280"/>
                    <a:pt x="123" y="275"/>
                  </a:cubicBezTo>
                  <a:cubicBezTo>
                    <a:pt x="123" y="270"/>
                    <a:pt x="125" y="264"/>
                    <a:pt x="129" y="263"/>
                  </a:cubicBezTo>
                  <a:cubicBezTo>
                    <a:pt x="130" y="263"/>
                    <a:pt x="130" y="263"/>
                    <a:pt x="131" y="263"/>
                  </a:cubicBezTo>
                  <a:cubicBezTo>
                    <a:pt x="133" y="263"/>
                    <a:pt x="135" y="264"/>
                    <a:pt x="137" y="267"/>
                  </a:cubicBezTo>
                  <a:cubicBezTo>
                    <a:pt x="140" y="271"/>
                    <a:pt x="139" y="274"/>
                    <a:pt x="139" y="278"/>
                  </a:cubicBezTo>
                  <a:cubicBezTo>
                    <a:pt x="138" y="282"/>
                    <a:pt x="138" y="286"/>
                    <a:pt x="142" y="291"/>
                  </a:cubicBezTo>
                  <a:cubicBezTo>
                    <a:pt x="146" y="295"/>
                    <a:pt x="149" y="297"/>
                    <a:pt x="154" y="297"/>
                  </a:cubicBezTo>
                  <a:cubicBezTo>
                    <a:pt x="156" y="297"/>
                    <a:pt x="158" y="297"/>
                    <a:pt x="161" y="296"/>
                  </a:cubicBezTo>
                  <a:cubicBezTo>
                    <a:pt x="165" y="293"/>
                    <a:pt x="170" y="291"/>
                    <a:pt x="174" y="289"/>
                  </a:cubicBezTo>
                  <a:cubicBezTo>
                    <a:pt x="201" y="275"/>
                    <a:pt x="228" y="262"/>
                    <a:pt x="253" y="249"/>
                  </a:cubicBezTo>
                  <a:cubicBezTo>
                    <a:pt x="266" y="242"/>
                    <a:pt x="279" y="236"/>
                    <a:pt x="292" y="229"/>
                  </a:cubicBezTo>
                  <a:cubicBezTo>
                    <a:pt x="302" y="249"/>
                    <a:pt x="302" y="249"/>
                    <a:pt x="302" y="249"/>
                  </a:cubicBezTo>
                  <a:cubicBezTo>
                    <a:pt x="305" y="246"/>
                    <a:pt x="305" y="246"/>
                    <a:pt x="305" y="246"/>
                  </a:cubicBezTo>
                  <a:cubicBezTo>
                    <a:pt x="307" y="244"/>
                    <a:pt x="309" y="242"/>
                    <a:pt x="310" y="240"/>
                  </a:cubicBezTo>
                  <a:cubicBezTo>
                    <a:pt x="313" y="232"/>
                    <a:pt x="316" y="225"/>
                    <a:pt x="318" y="219"/>
                  </a:cubicBezTo>
                  <a:cubicBezTo>
                    <a:pt x="319" y="215"/>
                    <a:pt x="320" y="211"/>
                    <a:pt x="320" y="207"/>
                  </a:cubicBezTo>
                  <a:close/>
                  <a:moveTo>
                    <a:pt x="201" y="212"/>
                  </a:moveTo>
                  <a:cubicBezTo>
                    <a:pt x="201" y="206"/>
                    <a:pt x="201" y="202"/>
                    <a:pt x="204" y="198"/>
                  </a:cubicBezTo>
                  <a:cubicBezTo>
                    <a:pt x="205" y="197"/>
                    <a:pt x="207" y="196"/>
                    <a:pt x="208" y="195"/>
                  </a:cubicBezTo>
                  <a:cubicBezTo>
                    <a:pt x="208" y="194"/>
                    <a:pt x="209" y="193"/>
                    <a:pt x="210" y="192"/>
                  </a:cubicBezTo>
                  <a:cubicBezTo>
                    <a:pt x="211" y="191"/>
                    <a:pt x="213" y="189"/>
                    <a:pt x="214" y="187"/>
                  </a:cubicBezTo>
                  <a:cubicBezTo>
                    <a:pt x="214" y="188"/>
                    <a:pt x="214" y="188"/>
                    <a:pt x="214" y="189"/>
                  </a:cubicBezTo>
                  <a:cubicBezTo>
                    <a:pt x="214" y="190"/>
                    <a:pt x="214" y="191"/>
                    <a:pt x="214" y="192"/>
                  </a:cubicBezTo>
                  <a:cubicBezTo>
                    <a:pt x="213" y="195"/>
                    <a:pt x="212" y="197"/>
                    <a:pt x="209" y="199"/>
                  </a:cubicBezTo>
                  <a:cubicBezTo>
                    <a:pt x="208" y="200"/>
                    <a:pt x="207" y="200"/>
                    <a:pt x="206" y="202"/>
                  </a:cubicBezTo>
                  <a:cubicBezTo>
                    <a:pt x="203" y="205"/>
                    <a:pt x="203" y="209"/>
                    <a:pt x="202" y="212"/>
                  </a:cubicBezTo>
                  <a:cubicBezTo>
                    <a:pt x="202" y="214"/>
                    <a:pt x="202" y="215"/>
                    <a:pt x="201" y="216"/>
                  </a:cubicBezTo>
                  <a:cubicBezTo>
                    <a:pt x="201" y="216"/>
                    <a:pt x="201" y="215"/>
                    <a:pt x="201" y="214"/>
                  </a:cubicBezTo>
                  <a:cubicBezTo>
                    <a:pt x="201" y="213"/>
                    <a:pt x="201" y="213"/>
                    <a:pt x="201" y="212"/>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80" name="Freeform 63">
              <a:extLst>
                <a:ext uri="{FF2B5EF4-FFF2-40B4-BE49-F238E27FC236}">
                  <a16:creationId xmlns:a16="http://schemas.microsoft.com/office/drawing/2014/main" id="{D70188B4-53D1-5953-ED8B-301ED6AB1292}"/>
                </a:ext>
              </a:extLst>
            </p:cNvPr>
            <p:cNvSpPr>
              <a:spLocks/>
            </p:cNvSpPr>
            <p:nvPr/>
          </p:nvSpPr>
          <p:spPr bwMode="auto">
            <a:xfrm rot="21097436">
              <a:off x="10390068" y="2065950"/>
              <a:ext cx="1296704" cy="1692965"/>
            </a:xfrm>
            <a:custGeom>
              <a:avLst/>
              <a:gdLst>
                <a:gd name="T0" fmla="*/ 2826765 w 562"/>
                <a:gd name="T1" fmla="*/ 1903408 h 669"/>
                <a:gd name="T2" fmla="*/ 2791342 w 562"/>
                <a:gd name="T3" fmla="*/ 2180854 h 669"/>
                <a:gd name="T4" fmla="*/ 2479619 w 562"/>
                <a:gd name="T5" fmla="*/ 2148593 h 669"/>
                <a:gd name="T6" fmla="*/ 2330841 w 562"/>
                <a:gd name="T7" fmla="*/ 2026000 h 669"/>
                <a:gd name="T8" fmla="*/ 2111218 w 562"/>
                <a:gd name="T9" fmla="*/ 1864695 h 669"/>
                <a:gd name="T10" fmla="*/ 2075795 w 562"/>
                <a:gd name="T11" fmla="*/ 1600153 h 669"/>
                <a:gd name="T12" fmla="*/ 2111218 w 562"/>
                <a:gd name="T13" fmla="*/ 1471108 h 669"/>
                <a:gd name="T14" fmla="*/ 2600057 w 562"/>
                <a:gd name="T15" fmla="*/ 1348516 h 669"/>
                <a:gd name="T16" fmla="*/ 2330841 w 562"/>
                <a:gd name="T17" fmla="*/ 1077522 h 669"/>
                <a:gd name="T18" fmla="*/ 2089964 w 562"/>
                <a:gd name="T19" fmla="*/ 483917 h 669"/>
                <a:gd name="T20" fmla="*/ 1955356 w 562"/>
                <a:gd name="T21" fmla="*/ 387134 h 669"/>
                <a:gd name="T22" fmla="*/ 1820749 w 562"/>
                <a:gd name="T23" fmla="*/ 212924 h 669"/>
                <a:gd name="T24" fmla="*/ 1834918 w 562"/>
                <a:gd name="T25" fmla="*/ 419395 h 669"/>
                <a:gd name="T26" fmla="*/ 1820749 w 562"/>
                <a:gd name="T27" fmla="*/ 580701 h 669"/>
                <a:gd name="T28" fmla="*/ 1749902 w 562"/>
                <a:gd name="T29" fmla="*/ 703293 h 669"/>
                <a:gd name="T30" fmla="*/ 1608210 w 562"/>
                <a:gd name="T31" fmla="*/ 729102 h 669"/>
                <a:gd name="T32" fmla="*/ 1416925 w 562"/>
                <a:gd name="T33" fmla="*/ 683936 h 669"/>
                <a:gd name="T34" fmla="*/ 1317740 w 562"/>
                <a:gd name="T35" fmla="*/ 561344 h 669"/>
                <a:gd name="T36" fmla="*/ 1225640 w 562"/>
                <a:gd name="T37" fmla="*/ 341968 h 669"/>
                <a:gd name="T38" fmla="*/ 1091032 w 562"/>
                <a:gd name="T39" fmla="*/ 206471 h 669"/>
                <a:gd name="T40" fmla="*/ 956424 w 562"/>
                <a:gd name="T41" fmla="*/ 225828 h 669"/>
                <a:gd name="T42" fmla="*/ 765139 w 562"/>
                <a:gd name="T43" fmla="*/ 90331 h 669"/>
                <a:gd name="T44" fmla="*/ 538431 w 562"/>
                <a:gd name="T45" fmla="*/ 6452 h 669"/>
                <a:gd name="T46" fmla="*/ 410908 w 562"/>
                <a:gd name="T47" fmla="*/ 96783 h 669"/>
                <a:gd name="T48" fmla="*/ 276300 w 562"/>
                <a:gd name="T49" fmla="*/ 83879 h 669"/>
                <a:gd name="T50" fmla="*/ 77931 w 562"/>
                <a:gd name="T51" fmla="*/ 316159 h 669"/>
                <a:gd name="T52" fmla="*/ 85015 w 562"/>
                <a:gd name="T53" fmla="*/ 509726 h 669"/>
                <a:gd name="T54" fmla="*/ 184200 w 562"/>
                <a:gd name="T55" fmla="*/ 658127 h 669"/>
                <a:gd name="T56" fmla="*/ 212539 w 562"/>
                <a:gd name="T57" fmla="*/ 767815 h 669"/>
                <a:gd name="T58" fmla="*/ 340062 w 562"/>
                <a:gd name="T59" fmla="*/ 1187210 h 669"/>
                <a:gd name="T60" fmla="*/ 517178 w 562"/>
                <a:gd name="T61" fmla="*/ 1490465 h 669"/>
                <a:gd name="T62" fmla="*/ 609278 w 562"/>
                <a:gd name="T63" fmla="*/ 1613058 h 669"/>
                <a:gd name="T64" fmla="*/ 432162 w 562"/>
                <a:gd name="T65" fmla="*/ 1825981 h 669"/>
                <a:gd name="T66" fmla="*/ 177116 w 562"/>
                <a:gd name="T67" fmla="*/ 2122784 h 669"/>
                <a:gd name="T68" fmla="*/ 283385 w 562"/>
                <a:gd name="T69" fmla="*/ 2238924 h 669"/>
                <a:gd name="T70" fmla="*/ 417993 w 562"/>
                <a:gd name="T71" fmla="*/ 2600249 h 669"/>
                <a:gd name="T72" fmla="*/ 325893 w 562"/>
                <a:gd name="T73" fmla="*/ 2787363 h 669"/>
                <a:gd name="T74" fmla="*/ 701378 w 562"/>
                <a:gd name="T75" fmla="*/ 4122975 h 669"/>
                <a:gd name="T76" fmla="*/ 1296486 w 562"/>
                <a:gd name="T77" fmla="*/ 4245567 h 669"/>
                <a:gd name="T78" fmla="*/ 1601125 w 562"/>
                <a:gd name="T79" fmla="*/ 4264924 h 669"/>
                <a:gd name="T80" fmla="*/ 2026203 w 562"/>
                <a:gd name="T81" fmla="*/ 4226211 h 669"/>
                <a:gd name="T82" fmla="*/ 2337926 w 562"/>
                <a:gd name="T83" fmla="*/ 3955217 h 669"/>
                <a:gd name="T84" fmla="*/ 2401688 w 562"/>
                <a:gd name="T85" fmla="*/ 3522918 h 669"/>
                <a:gd name="T86" fmla="*/ 2543380 w 562"/>
                <a:gd name="T87" fmla="*/ 3284185 h 669"/>
                <a:gd name="T88" fmla="*/ 2933035 w 562"/>
                <a:gd name="T89" fmla="*/ 3122879 h 669"/>
                <a:gd name="T90" fmla="*/ 3131404 w 562"/>
                <a:gd name="T91" fmla="*/ 3019644 h 669"/>
                <a:gd name="T92" fmla="*/ 3159743 w 562"/>
                <a:gd name="T93" fmla="*/ 2813172 h 669"/>
                <a:gd name="T94" fmla="*/ 2189149 w 562"/>
                <a:gd name="T95" fmla="*/ 3626153 h 669"/>
                <a:gd name="T96" fmla="*/ 2182064 w 562"/>
                <a:gd name="T97" fmla="*/ 3574536 h 669"/>
                <a:gd name="T98" fmla="*/ 2252911 w 562"/>
                <a:gd name="T99" fmla="*/ 3432586 h 669"/>
                <a:gd name="T100" fmla="*/ 2479619 w 562"/>
                <a:gd name="T101" fmla="*/ 2948669 h 669"/>
                <a:gd name="T102" fmla="*/ 2635480 w 562"/>
                <a:gd name="T103" fmla="*/ 2651867 h 669"/>
                <a:gd name="T104" fmla="*/ 2918865 w 562"/>
                <a:gd name="T105" fmla="*/ 2516370 h 669"/>
                <a:gd name="T106" fmla="*/ 3081812 w 562"/>
                <a:gd name="T107" fmla="*/ 2471204 h 669"/>
                <a:gd name="T108" fmla="*/ 3251843 w 562"/>
                <a:gd name="T109" fmla="*/ 2406682 h 669"/>
                <a:gd name="T110" fmla="*/ 3379366 w 562"/>
                <a:gd name="T111" fmla="*/ 2355064 h 669"/>
                <a:gd name="T112" fmla="*/ 3591905 w 562"/>
                <a:gd name="T113" fmla="*/ 2264733 h 669"/>
                <a:gd name="T114" fmla="*/ 3769020 w 562"/>
                <a:gd name="T115" fmla="*/ 2006644 h 669"/>
                <a:gd name="T116" fmla="*/ 3875290 w 562"/>
                <a:gd name="T117" fmla="*/ 1813077 h 6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62" h="669">
                  <a:moveTo>
                    <a:pt x="551" y="246"/>
                  </a:moveTo>
                  <a:cubicBezTo>
                    <a:pt x="549" y="248"/>
                    <a:pt x="549" y="248"/>
                    <a:pt x="549" y="248"/>
                  </a:cubicBezTo>
                  <a:cubicBezTo>
                    <a:pt x="538" y="253"/>
                    <a:pt x="526" y="259"/>
                    <a:pt x="515" y="265"/>
                  </a:cubicBezTo>
                  <a:cubicBezTo>
                    <a:pt x="513" y="266"/>
                    <a:pt x="513" y="266"/>
                    <a:pt x="513" y="266"/>
                  </a:cubicBezTo>
                  <a:cubicBezTo>
                    <a:pt x="488" y="279"/>
                    <a:pt x="461" y="292"/>
                    <a:pt x="435" y="306"/>
                  </a:cubicBezTo>
                  <a:cubicBezTo>
                    <a:pt x="430" y="308"/>
                    <a:pt x="425" y="310"/>
                    <a:pt x="421" y="313"/>
                  </a:cubicBezTo>
                  <a:cubicBezTo>
                    <a:pt x="418" y="314"/>
                    <a:pt x="416" y="314"/>
                    <a:pt x="414" y="314"/>
                  </a:cubicBezTo>
                  <a:cubicBezTo>
                    <a:pt x="409" y="314"/>
                    <a:pt x="406" y="312"/>
                    <a:pt x="401" y="308"/>
                  </a:cubicBezTo>
                  <a:cubicBezTo>
                    <a:pt x="397" y="303"/>
                    <a:pt x="398" y="299"/>
                    <a:pt x="399" y="295"/>
                  </a:cubicBezTo>
                  <a:cubicBezTo>
                    <a:pt x="399" y="291"/>
                    <a:pt x="400" y="288"/>
                    <a:pt x="397" y="284"/>
                  </a:cubicBezTo>
                  <a:cubicBezTo>
                    <a:pt x="395" y="281"/>
                    <a:pt x="393" y="280"/>
                    <a:pt x="391" y="280"/>
                  </a:cubicBezTo>
                  <a:cubicBezTo>
                    <a:pt x="390" y="280"/>
                    <a:pt x="390" y="280"/>
                    <a:pt x="389" y="280"/>
                  </a:cubicBezTo>
                  <a:cubicBezTo>
                    <a:pt x="386" y="281"/>
                    <a:pt x="383" y="287"/>
                    <a:pt x="383" y="292"/>
                  </a:cubicBezTo>
                  <a:cubicBezTo>
                    <a:pt x="383" y="297"/>
                    <a:pt x="386" y="300"/>
                    <a:pt x="389" y="303"/>
                  </a:cubicBezTo>
                  <a:cubicBezTo>
                    <a:pt x="391" y="306"/>
                    <a:pt x="392" y="308"/>
                    <a:pt x="394" y="311"/>
                  </a:cubicBezTo>
                  <a:cubicBezTo>
                    <a:pt x="396" y="317"/>
                    <a:pt x="396" y="325"/>
                    <a:pt x="395" y="333"/>
                  </a:cubicBezTo>
                  <a:cubicBezTo>
                    <a:pt x="395" y="334"/>
                    <a:pt x="395" y="336"/>
                    <a:pt x="395" y="337"/>
                  </a:cubicBezTo>
                  <a:cubicBezTo>
                    <a:pt x="395" y="338"/>
                    <a:pt x="395" y="338"/>
                    <a:pt x="394" y="338"/>
                  </a:cubicBezTo>
                  <a:cubicBezTo>
                    <a:pt x="394" y="338"/>
                    <a:pt x="394" y="338"/>
                    <a:pt x="394" y="338"/>
                  </a:cubicBezTo>
                  <a:cubicBezTo>
                    <a:pt x="392" y="338"/>
                    <a:pt x="387" y="335"/>
                    <a:pt x="379" y="329"/>
                  </a:cubicBezTo>
                  <a:cubicBezTo>
                    <a:pt x="378" y="328"/>
                    <a:pt x="378" y="328"/>
                    <a:pt x="378" y="328"/>
                  </a:cubicBezTo>
                  <a:cubicBezTo>
                    <a:pt x="376" y="327"/>
                    <a:pt x="375" y="326"/>
                    <a:pt x="373" y="326"/>
                  </a:cubicBezTo>
                  <a:cubicBezTo>
                    <a:pt x="371" y="326"/>
                    <a:pt x="369" y="327"/>
                    <a:pt x="367" y="329"/>
                  </a:cubicBezTo>
                  <a:cubicBezTo>
                    <a:pt x="365" y="330"/>
                    <a:pt x="365" y="330"/>
                    <a:pt x="365" y="330"/>
                  </a:cubicBezTo>
                  <a:cubicBezTo>
                    <a:pt x="360" y="333"/>
                    <a:pt x="358" y="333"/>
                    <a:pt x="355" y="333"/>
                  </a:cubicBezTo>
                  <a:cubicBezTo>
                    <a:pt x="354" y="333"/>
                    <a:pt x="353" y="333"/>
                    <a:pt x="352" y="333"/>
                  </a:cubicBezTo>
                  <a:cubicBezTo>
                    <a:pt x="350" y="333"/>
                    <a:pt x="350" y="333"/>
                    <a:pt x="350" y="333"/>
                  </a:cubicBezTo>
                  <a:cubicBezTo>
                    <a:pt x="344" y="333"/>
                    <a:pt x="344" y="333"/>
                    <a:pt x="341" y="328"/>
                  </a:cubicBezTo>
                  <a:cubicBezTo>
                    <a:pt x="341" y="327"/>
                    <a:pt x="341" y="327"/>
                    <a:pt x="341" y="327"/>
                  </a:cubicBezTo>
                  <a:cubicBezTo>
                    <a:pt x="340" y="325"/>
                    <a:pt x="339" y="323"/>
                    <a:pt x="339" y="320"/>
                  </a:cubicBezTo>
                  <a:cubicBezTo>
                    <a:pt x="338" y="315"/>
                    <a:pt x="337" y="313"/>
                    <a:pt x="336" y="311"/>
                  </a:cubicBezTo>
                  <a:cubicBezTo>
                    <a:pt x="335" y="311"/>
                    <a:pt x="335" y="310"/>
                    <a:pt x="335" y="310"/>
                  </a:cubicBezTo>
                  <a:cubicBezTo>
                    <a:pt x="332" y="308"/>
                    <a:pt x="332" y="308"/>
                    <a:pt x="332" y="308"/>
                  </a:cubicBezTo>
                  <a:cubicBezTo>
                    <a:pt x="330" y="312"/>
                    <a:pt x="330" y="312"/>
                    <a:pt x="330" y="312"/>
                  </a:cubicBezTo>
                  <a:cubicBezTo>
                    <a:pt x="330" y="312"/>
                    <a:pt x="330" y="313"/>
                    <a:pt x="330" y="313"/>
                  </a:cubicBezTo>
                  <a:cubicBezTo>
                    <a:pt x="329" y="314"/>
                    <a:pt x="329" y="314"/>
                    <a:pt x="329" y="314"/>
                  </a:cubicBezTo>
                  <a:cubicBezTo>
                    <a:pt x="329" y="316"/>
                    <a:pt x="328" y="318"/>
                    <a:pt x="327" y="318"/>
                  </a:cubicBezTo>
                  <a:cubicBezTo>
                    <a:pt x="327" y="318"/>
                    <a:pt x="326" y="318"/>
                    <a:pt x="326" y="318"/>
                  </a:cubicBezTo>
                  <a:cubicBezTo>
                    <a:pt x="325" y="318"/>
                    <a:pt x="325" y="318"/>
                    <a:pt x="324" y="318"/>
                  </a:cubicBezTo>
                  <a:cubicBezTo>
                    <a:pt x="321" y="316"/>
                    <a:pt x="320" y="310"/>
                    <a:pt x="319" y="307"/>
                  </a:cubicBezTo>
                  <a:cubicBezTo>
                    <a:pt x="319" y="307"/>
                    <a:pt x="319" y="307"/>
                    <a:pt x="319" y="307"/>
                  </a:cubicBezTo>
                  <a:cubicBezTo>
                    <a:pt x="319" y="305"/>
                    <a:pt x="318" y="304"/>
                    <a:pt x="318" y="303"/>
                  </a:cubicBezTo>
                  <a:cubicBezTo>
                    <a:pt x="317" y="299"/>
                    <a:pt x="317" y="296"/>
                    <a:pt x="313" y="294"/>
                  </a:cubicBezTo>
                  <a:cubicBezTo>
                    <a:pt x="311" y="293"/>
                    <a:pt x="309" y="293"/>
                    <a:pt x="307" y="292"/>
                  </a:cubicBezTo>
                  <a:cubicBezTo>
                    <a:pt x="304" y="292"/>
                    <a:pt x="301" y="292"/>
                    <a:pt x="298" y="289"/>
                  </a:cubicBezTo>
                  <a:cubicBezTo>
                    <a:pt x="297" y="288"/>
                    <a:pt x="297" y="286"/>
                    <a:pt x="297" y="285"/>
                  </a:cubicBezTo>
                  <a:cubicBezTo>
                    <a:pt x="297" y="283"/>
                    <a:pt x="297" y="282"/>
                    <a:pt x="296" y="281"/>
                  </a:cubicBezTo>
                  <a:cubicBezTo>
                    <a:pt x="295" y="279"/>
                    <a:pt x="294" y="279"/>
                    <a:pt x="292" y="278"/>
                  </a:cubicBezTo>
                  <a:cubicBezTo>
                    <a:pt x="291" y="278"/>
                    <a:pt x="289" y="277"/>
                    <a:pt x="288" y="276"/>
                  </a:cubicBezTo>
                  <a:cubicBezTo>
                    <a:pt x="287" y="274"/>
                    <a:pt x="285" y="266"/>
                    <a:pt x="284" y="258"/>
                  </a:cubicBezTo>
                  <a:cubicBezTo>
                    <a:pt x="284" y="258"/>
                    <a:pt x="284" y="258"/>
                    <a:pt x="284" y="258"/>
                  </a:cubicBezTo>
                  <a:cubicBezTo>
                    <a:pt x="286" y="255"/>
                    <a:pt x="288" y="253"/>
                    <a:pt x="292" y="252"/>
                  </a:cubicBezTo>
                  <a:cubicBezTo>
                    <a:pt x="294" y="251"/>
                    <a:pt x="294" y="251"/>
                    <a:pt x="294" y="251"/>
                  </a:cubicBezTo>
                  <a:cubicBezTo>
                    <a:pt x="293" y="248"/>
                    <a:pt x="293" y="248"/>
                    <a:pt x="293" y="248"/>
                  </a:cubicBezTo>
                  <a:cubicBezTo>
                    <a:pt x="293" y="247"/>
                    <a:pt x="292" y="246"/>
                    <a:pt x="290" y="244"/>
                  </a:cubicBezTo>
                  <a:cubicBezTo>
                    <a:pt x="287" y="242"/>
                    <a:pt x="285" y="240"/>
                    <a:pt x="286" y="237"/>
                  </a:cubicBezTo>
                  <a:cubicBezTo>
                    <a:pt x="286" y="237"/>
                    <a:pt x="287" y="237"/>
                    <a:pt x="287" y="237"/>
                  </a:cubicBezTo>
                  <a:cubicBezTo>
                    <a:pt x="289" y="237"/>
                    <a:pt x="290" y="238"/>
                    <a:pt x="292" y="239"/>
                  </a:cubicBezTo>
                  <a:cubicBezTo>
                    <a:pt x="294" y="240"/>
                    <a:pt x="295" y="240"/>
                    <a:pt x="296" y="240"/>
                  </a:cubicBezTo>
                  <a:cubicBezTo>
                    <a:pt x="297" y="240"/>
                    <a:pt x="297" y="240"/>
                    <a:pt x="297" y="240"/>
                  </a:cubicBezTo>
                  <a:cubicBezTo>
                    <a:pt x="299" y="240"/>
                    <a:pt x="299" y="240"/>
                    <a:pt x="299" y="240"/>
                  </a:cubicBezTo>
                  <a:cubicBezTo>
                    <a:pt x="299" y="238"/>
                    <a:pt x="299" y="238"/>
                    <a:pt x="299" y="238"/>
                  </a:cubicBezTo>
                  <a:cubicBezTo>
                    <a:pt x="300" y="236"/>
                    <a:pt x="299" y="233"/>
                    <a:pt x="298" y="228"/>
                  </a:cubicBezTo>
                  <a:cubicBezTo>
                    <a:pt x="298" y="227"/>
                    <a:pt x="298" y="226"/>
                    <a:pt x="298" y="225"/>
                  </a:cubicBezTo>
                  <a:cubicBezTo>
                    <a:pt x="301" y="226"/>
                    <a:pt x="304" y="227"/>
                    <a:pt x="307" y="228"/>
                  </a:cubicBezTo>
                  <a:cubicBezTo>
                    <a:pt x="312" y="230"/>
                    <a:pt x="316" y="233"/>
                    <a:pt x="322" y="233"/>
                  </a:cubicBezTo>
                  <a:cubicBezTo>
                    <a:pt x="328" y="233"/>
                    <a:pt x="333" y="230"/>
                    <a:pt x="338" y="228"/>
                  </a:cubicBezTo>
                  <a:cubicBezTo>
                    <a:pt x="342" y="227"/>
                    <a:pt x="345" y="225"/>
                    <a:pt x="348" y="225"/>
                  </a:cubicBezTo>
                  <a:cubicBezTo>
                    <a:pt x="350" y="224"/>
                    <a:pt x="352" y="224"/>
                    <a:pt x="354" y="224"/>
                  </a:cubicBezTo>
                  <a:cubicBezTo>
                    <a:pt x="358" y="224"/>
                    <a:pt x="358" y="224"/>
                    <a:pt x="358" y="224"/>
                  </a:cubicBezTo>
                  <a:cubicBezTo>
                    <a:pt x="363" y="224"/>
                    <a:pt x="369" y="224"/>
                    <a:pt x="370" y="216"/>
                  </a:cubicBezTo>
                  <a:cubicBezTo>
                    <a:pt x="370" y="213"/>
                    <a:pt x="368" y="211"/>
                    <a:pt x="367" y="209"/>
                  </a:cubicBezTo>
                  <a:cubicBezTo>
                    <a:pt x="366" y="208"/>
                    <a:pt x="365" y="207"/>
                    <a:pt x="364" y="205"/>
                  </a:cubicBezTo>
                  <a:cubicBezTo>
                    <a:pt x="363" y="202"/>
                    <a:pt x="363" y="200"/>
                    <a:pt x="364" y="198"/>
                  </a:cubicBezTo>
                  <a:cubicBezTo>
                    <a:pt x="364" y="196"/>
                    <a:pt x="364" y="195"/>
                    <a:pt x="364" y="193"/>
                  </a:cubicBezTo>
                  <a:cubicBezTo>
                    <a:pt x="364" y="187"/>
                    <a:pt x="360" y="186"/>
                    <a:pt x="356" y="184"/>
                  </a:cubicBezTo>
                  <a:cubicBezTo>
                    <a:pt x="354" y="183"/>
                    <a:pt x="352" y="182"/>
                    <a:pt x="350" y="181"/>
                  </a:cubicBezTo>
                  <a:cubicBezTo>
                    <a:pt x="349" y="179"/>
                    <a:pt x="348" y="178"/>
                    <a:pt x="347" y="177"/>
                  </a:cubicBezTo>
                  <a:cubicBezTo>
                    <a:pt x="346" y="175"/>
                    <a:pt x="345" y="174"/>
                    <a:pt x="343" y="173"/>
                  </a:cubicBezTo>
                  <a:cubicBezTo>
                    <a:pt x="341" y="172"/>
                    <a:pt x="339" y="172"/>
                    <a:pt x="338" y="172"/>
                  </a:cubicBezTo>
                  <a:cubicBezTo>
                    <a:pt x="335" y="171"/>
                    <a:pt x="332" y="171"/>
                    <a:pt x="329" y="167"/>
                  </a:cubicBezTo>
                  <a:cubicBezTo>
                    <a:pt x="328" y="163"/>
                    <a:pt x="327" y="158"/>
                    <a:pt x="327" y="153"/>
                  </a:cubicBezTo>
                  <a:cubicBezTo>
                    <a:pt x="327" y="149"/>
                    <a:pt x="327" y="146"/>
                    <a:pt x="326" y="144"/>
                  </a:cubicBezTo>
                  <a:cubicBezTo>
                    <a:pt x="325" y="139"/>
                    <a:pt x="325" y="135"/>
                    <a:pt x="325" y="131"/>
                  </a:cubicBezTo>
                  <a:cubicBezTo>
                    <a:pt x="325" y="128"/>
                    <a:pt x="325" y="125"/>
                    <a:pt x="324" y="122"/>
                  </a:cubicBezTo>
                  <a:cubicBezTo>
                    <a:pt x="323" y="115"/>
                    <a:pt x="322" y="114"/>
                    <a:pt x="316" y="113"/>
                  </a:cubicBezTo>
                  <a:cubicBezTo>
                    <a:pt x="314" y="112"/>
                    <a:pt x="312" y="112"/>
                    <a:pt x="309" y="110"/>
                  </a:cubicBezTo>
                  <a:cubicBezTo>
                    <a:pt x="303" y="107"/>
                    <a:pt x="303" y="101"/>
                    <a:pt x="304" y="93"/>
                  </a:cubicBezTo>
                  <a:cubicBezTo>
                    <a:pt x="305" y="85"/>
                    <a:pt x="306" y="78"/>
                    <a:pt x="298" y="76"/>
                  </a:cubicBezTo>
                  <a:cubicBezTo>
                    <a:pt x="297" y="75"/>
                    <a:pt x="296" y="75"/>
                    <a:pt x="295" y="75"/>
                  </a:cubicBezTo>
                  <a:cubicBezTo>
                    <a:pt x="293" y="75"/>
                    <a:pt x="291" y="76"/>
                    <a:pt x="289" y="76"/>
                  </a:cubicBezTo>
                  <a:cubicBezTo>
                    <a:pt x="288" y="76"/>
                    <a:pt x="287" y="77"/>
                    <a:pt x="285" y="77"/>
                  </a:cubicBezTo>
                  <a:cubicBezTo>
                    <a:pt x="284" y="77"/>
                    <a:pt x="282" y="76"/>
                    <a:pt x="280" y="72"/>
                  </a:cubicBezTo>
                  <a:cubicBezTo>
                    <a:pt x="280" y="71"/>
                    <a:pt x="280" y="69"/>
                    <a:pt x="281" y="67"/>
                  </a:cubicBezTo>
                  <a:cubicBezTo>
                    <a:pt x="282" y="65"/>
                    <a:pt x="282" y="64"/>
                    <a:pt x="282" y="63"/>
                  </a:cubicBezTo>
                  <a:cubicBezTo>
                    <a:pt x="281" y="63"/>
                    <a:pt x="281" y="63"/>
                    <a:pt x="281" y="63"/>
                  </a:cubicBezTo>
                  <a:cubicBezTo>
                    <a:pt x="281" y="62"/>
                    <a:pt x="281" y="62"/>
                    <a:pt x="281" y="62"/>
                  </a:cubicBezTo>
                  <a:cubicBezTo>
                    <a:pt x="281" y="61"/>
                    <a:pt x="280" y="60"/>
                    <a:pt x="277" y="60"/>
                  </a:cubicBezTo>
                  <a:cubicBezTo>
                    <a:pt x="277" y="60"/>
                    <a:pt x="276" y="60"/>
                    <a:pt x="276" y="60"/>
                  </a:cubicBezTo>
                  <a:cubicBezTo>
                    <a:pt x="275" y="60"/>
                    <a:pt x="275" y="60"/>
                    <a:pt x="274" y="60"/>
                  </a:cubicBezTo>
                  <a:cubicBezTo>
                    <a:pt x="273" y="60"/>
                    <a:pt x="272" y="60"/>
                    <a:pt x="271" y="59"/>
                  </a:cubicBezTo>
                  <a:cubicBezTo>
                    <a:pt x="269" y="57"/>
                    <a:pt x="268" y="50"/>
                    <a:pt x="267" y="45"/>
                  </a:cubicBezTo>
                  <a:cubicBezTo>
                    <a:pt x="266" y="42"/>
                    <a:pt x="266" y="39"/>
                    <a:pt x="265" y="37"/>
                  </a:cubicBezTo>
                  <a:cubicBezTo>
                    <a:pt x="264" y="34"/>
                    <a:pt x="263" y="31"/>
                    <a:pt x="263" y="28"/>
                  </a:cubicBezTo>
                  <a:cubicBezTo>
                    <a:pt x="262" y="24"/>
                    <a:pt x="262" y="24"/>
                    <a:pt x="262" y="24"/>
                  </a:cubicBezTo>
                  <a:cubicBezTo>
                    <a:pt x="256" y="25"/>
                    <a:pt x="256" y="25"/>
                    <a:pt x="256" y="25"/>
                  </a:cubicBezTo>
                  <a:cubicBezTo>
                    <a:pt x="256" y="25"/>
                    <a:pt x="256" y="25"/>
                    <a:pt x="256" y="26"/>
                  </a:cubicBezTo>
                  <a:cubicBezTo>
                    <a:pt x="255" y="28"/>
                    <a:pt x="256" y="30"/>
                    <a:pt x="257" y="33"/>
                  </a:cubicBezTo>
                  <a:cubicBezTo>
                    <a:pt x="257" y="33"/>
                    <a:pt x="257" y="34"/>
                    <a:pt x="258" y="36"/>
                  </a:cubicBezTo>
                  <a:cubicBezTo>
                    <a:pt x="258" y="36"/>
                    <a:pt x="258" y="37"/>
                    <a:pt x="258" y="38"/>
                  </a:cubicBezTo>
                  <a:cubicBezTo>
                    <a:pt x="258" y="39"/>
                    <a:pt x="259" y="40"/>
                    <a:pt x="259" y="41"/>
                  </a:cubicBezTo>
                  <a:cubicBezTo>
                    <a:pt x="259" y="43"/>
                    <a:pt x="259" y="44"/>
                    <a:pt x="259" y="46"/>
                  </a:cubicBezTo>
                  <a:cubicBezTo>
                    <a:pt x="259" y="47"/>
                    <a:pt x="258" y="47"/>
                    <a:pt x="257" y="48"/>
                  </a:cubicBezTo>
                  <a:cubicBezTo>
                    <a:pt x="257" y="49"/>
                    <a:pt x="256" y="49"/>
                    <a:pt x="256" y="50"/>
                  </a:cubicBezTo>
                  <a:cubicBezTo>
                    <a:pt x="254" y="52"/>
                    <a:pt x="253" y="55"/>
                    <a:pt x="254" y="59"/>
                  </a:cubicBezTo>
                  <a:cubicBezTo>
                    <a:pt x="254" y="62"/>
                    <a:pt x="257" y="63"/>
                    <a:pt x="258" y="65"/>
                  </a:cubicBezTo>
                  <a:cubicBezTo>
                    <a:pt x="259" y="65"/>
                    <a:pt x="259" y="65"/>
                    <a:pt x="259" y="65"/>
                  </a:cubicBezTo>
                  <a:cubicBezTo>
                    <a:pt x="260" y="66"/>
                    <a:pt x="260" y="67"/>
                    <a:pt x="260" y="70"/>
                  </a:cubicBezTo>
                  <a:cubicBezTo>
                    <a:pt x="260" y="71"/>
                    <a:pt x="260" y="72"/>
                    <a:pt x="260" y="73"/>
                  </a:cubicBezTo>
                  <a:cubicBezTo>
                    <a:pt x="260" y="74"/>
                    <a:pt x="260" y="74"/>
                    <a:pt x="260" y="74"/>
                  </a:cubicBezTo>
                  <a:cubicBezTo>
                    <a:pt x="260" y="76"/>
                    <a:pt x="260" y="78"/>
                    <a:pt x="262" y="80"/>
                  </a:cubicBezTo>
                  <a:cubicBezTo>
                    <a:pt x="262" y="80"/>
                    <a:pt x="262" y="80"/>
                    <a:pt x="262" y="80"/>
                  </a:cubicBezTo>
                  <a:cubicBezTo>
                    <a:pt x="262" y="81"/>
                    <a:pt x="262" y="82"/>
                    <a:pt x="261" y="83"/>
                  </a:cubicBezTo>
                  <a:cubicBezTo>
                    <a:pt x="260" y="84"/>
                    <a:pt x="259" y="85"/>
                    <a:pt x="259" y="86"/>
                  </a:cubicBezTo>
                  <a:cubicBezTo>
                    <a:pt x="259" y="86"/>
                    <a:pt x="259" y="87"/>
                    <a:pt x="258" y="87"/>
                  </a:cubicBezTo>
                  <a:cubicBezTo>
                    <a:pt x="258" y="88"/>
                    <a:pt x="257" y="89"/>
                    <a:pt x="257" y="90"/>
                  </a:cubicBezTo>
                  <a:cubicBezTo>
                    <a:pt x="257" y="90"/>
                    <a:pt x="257" y="91"/>
                    <a:pt x="257" y="91"/>
                  </a:cubicBezTo>
                  <a:cubicBezTo>
                    <a:pt x="257" y="91"/>
                    <a:pt x="256" y="91"/>
                    <a:pt x="256" y="91"/>
                  </a:cubicBezTo>
                  <a:cubicBezTo>
                    <a:pt x="256" y="91"/>
                    <a:pt x="255" y="91"/>
                    <a:pt x="255" y="91"/>
                  </a:cubicBezTo>
                  <a:cubicBezTo>
                    <a:pt x="253" y="91"/>
                    <a:pt x="251" y="91"/>
                    <a:pt x="250" y="92"/>
                  </a:cubicBezTo>
                  <a:cubicBezTo>
                    <a:pt x="248" y="95"/>
                    <a:pt x="248" y="100"/>
                    <a:pt x="248" y="103"/>
                  </a:cubicBezTo>
                  <a:cubicBezTo>
                    <a:pt x="248" y="104"/>
                    <a:pt x="248" y="104"/>
                    <a:pt x="248" y="104"/>
                  </a:cubicBezTo>
                  <a:cubicBezTo>
                    <a:pt x="249" y="105"/>
                    <a:pt x="249" y="106"/>
                    <a:pt x="249" y="108"/>
                  </a:cubicBezTo>
                  <a:cubicBezTo>
                    <a:pt x="248" y="108"/>
                    <a:pt x="248" y="108"/>
                    <a:pt x="248" y="108"/>
                  </a:cubicBezTo>
                  <a:cubicBezTo>
                    <a:pt x="248" y="108"/>
                    <a:pt x="248" y="109"/>
                    <a:pt x="247" y="109"/>
                  </a:cubicBezTo>
                  <a:cubicBezTo>
                    <a:pt x="245" y="109"/>
                    <a:pt x="244" y="110"/>
                    <a:pt x="243" y="111"/>
                  </a:cubicBezTo>
                  <a:cubicBezTo>
                    <a:pt x="241" y="113"/>
                    <a:pt x="240" y="115"/>
                    <a:pt x="239" y="117"/>
                  </a:cubicBezTo>
                  <a:cubicBezTo>
                    <a:pt x="239" y="118"/>
                    <a:pt x="239" y="118"/>
                    <a:pt x="239" y="119"/>
                  </a:cubicBezTo>
                  <a:cubicBezTo>
                    <a:pt x="239" y="119"/>
                    <a:pt x="239" y="120"/>
                    <a:pt x="239" y="120"/>
                  </a:cubicBezTo>
                  <a:cubicBezTo>
                    <a:pt x="238" y="120"/>
                    <a:pt x="238" y="120"/>
                    <a:pt x="237" y="120"/>
                  </a:cubicBezTo>
                  <a:cubicBezTo>
                    <a:pt x="237" y="120"/>
                    <a:pt x="237" y="120"/>
                    <a:pt x="236" y="120"/>
                  </a:cubicBezTo>
                  <a:cubicBezTo>
                    <a:pt x="236" y="120"/>
                    <a:pt x="235" y="119"/>
                    <a:pt x="234" y="118"/>
                  </a:cubicBezTo>
                  <a:cubicBezTo>
                    <a:pt x="234" y="117"/>
                    <a:pt x="234" y="117"/>
                    <a:pt x="234" y="117"/>
                  </a:cubicBezTo>
                  <a:cubicBezTo>
                    <a:pt x="232" y="115"/>
                    <a:pt x="230" y="113"/>
                    <a:pt x="227" y="113"/>
                  </a:cubicBezTo>
                  <a:cubicBezTo>
                    <a:pt x="226" y="112"/>
                    <a:pt x="225" y="112"/>
                    <a:pt x="224" y="112"/>
                  </a:cubicBezTo>
                  <a:cubicBezTo>
                    <a:pt x="223" y="112"/>
                    <a:pt x="223" y="112"/>
                    <a:pt x="223" y="112"/>
                  </a:cubicBezTo>
                  <a:cubicBezTo>
                    <a:pt x="222" y="112"/>
                    <a:pt x="221" y="112"/>
                    <a:pt x="220" y="111"/>
                  </a:cubicBezTo>
                  <a:cubicBezTo>
                    <a:pt x="220" y="111"/>
                    <a:pt x="220" y="110"/>
                    <a:pt x="219" y="110"/>
                  </a:cubicBezTo>
                  <a:cubicBezTo>
                    <a:pt x="219" y="108"/>
                    <a:pt x="218" y="107"/>
                    <a:pt x="216" y="106"/>
                  </a:cubicBezTo>
                  <a:cubicBezTo>
                    <a:pt x="214" y="104"/>
                    <a:pt x="212" y="104"/>
                    <a:pt x="210" y="104"/>
                  </a:cubicBezTo>
                  <a:cubicBezTo>
                    <a:pt x="210" y="104"/>
                    <a:pt x="209" y="104"/>
                    <a:pt x="208" y="104"/>
                  </a:cubicBezTo>
                  <a:cubicBezTo>
                    <a:pt x="208" y="104"/>
                    <a:pt x="207" y="104"/>
                    <a:pt x="206" y="104"/>
                  </a:cubicBezTo>
                  <a:cubicBezTo>
                    <a:pt x="204" y="104"/>
                    <a:pt x="202" y="104"/>
                    <a:pt x="200" y="106"/>
                  </a:cubicBezTo>
                  <a:cubicBezTo>
                    <a:pt x="199" y="106"/>
                    <a:pt x="197" y="107"/>
                    <a:pt x="196" y="108"/>
                  </a:cubicBezTo>
                  <a:cubicBezTo>
                    <a:pt x="197" y="106"/>
                    <a:pt x="197" y="105"/>
                    <a:pt x="197" y="103"/>
                  </a:cubicBezTo>
                  <a:cubicBezTo>
                    <a:pt x="197" y="103"/>
                    <a:pt x="197" y="102"/>
                    <a:pt x="198" y="101"/>
                  </a:cubicBezTo>
                  <a:cubicBezTo>
                    <a:pt x="198" y="101"/>
                    <a:pt x="198" y="101"/>
                    <a:pt x="198" y="101"/>
                  </a:cubicBezTo>
                  <a:cubicBezTo>
                    <a:pt x="198" y="99"/>
                    <a:pt x="199" y="95"/>
                    <a:pt x="196" y="93"/>
                  </a:cubicBezTo>
                  <a:cubicBezTo>
                    <a:pt x="195" y="92"/>
                    <a:pt x="194" y="91"/>
                    <a:pt x="192" y="91"/>
                  </a:cubicBezTo>
                  <a:cubicBezTo>
                    <a:pt x="191" y="91"/>
                    <a:pt x="190" y="92"/>
                    <a:pt x="189" y="92"/>
                  </a:cubicBezTo>
                  <a:cubicBezTo>
                    <a:pt x="188" y="92"/>
                    <a:pt x="187" y="93"/>
                    <a:pt x="187" y="93"/>
                  </a:cubicBezTo>
                  <a:cubicBezTo>
                    <a:pt x="187" y="92"/>
                    <a:pt x="186" y="91"/>
                    <a:pt x="186" y="87"/>
                  </a:cubicBezTo>
                  <a:cubicBezTo>
                    <a:pt x="186" y="81"/>
                    <a:pt x="184" y="79"/>
                    <a:pt x="182" y="75"/>
                  </a:cubicBezTo>
                  <a:cubicBezTo>
                    <a:pt x="181" y="73"/>
                    <a:pt x="181" y="72"/>
                    <a:pt x="181" y="70"/>
                  </a:cubicBezTo>
                  <a:cubicBezTo>
                    <a:pt x="181" y="66"/>
                    <a:pt x="180" y="63"/>
                    <a:pt x="177" y="61"/>
                  </a:cubicBezTo>
                  <a:cubicBezTo>
                    <a:pt x="176" y="59"/>
                    <a:pt x="176" y="59"/>
                    <a:pt x="176" y="59"/>
                  </a:cubicBezTo>
                  <a:cubicBezTo>
                    <a:pt x="175" y="59"/>
                    <a:pt x="175" y="58"/>
                    <a:pt x="174" y="57"/>
                  </a:cubicBezTo>
                  <a:cubicBezTo>
                    <a:pt x="173" y="57"/>
                    <a:pt x="173" y="57"/>
                    <a:pt x="173" y="57"/>
                  </a:cubicBezTo>
                  <a:cubicBezTo>
                    <a:pt x="173" y="56"/>
                    <a:pt x="172" y="56"/>
                    <a:pt x="172" y="56"/>
                  </a:cubicBezTo>
                  <a:cubicBezTo>
                    <a:pt x="172" y="55"/>
                    <a:pt x="172" y="55"/>
                    <a:pt x="172" y="55"/>
                  </a:cubicBezTo>
                  <a:cubicBezTo>
                    <a:pt x="172" y="54"/>
                    <a:pt x="173" y="54"/>
                    <a:pt x="173" y="53"/>
                  </a:cubicBezTo>
                  <a:cubicBezTo>
                    <a:pt x="173" y="53"/>
                    <a:pt x="172" y="52"/>
                    <a:pt x="172" y="51"/>
                  </a:cubicBezTo>
                  <a:cubicBezTo>
                    <a:pt x="172" y="49"/>
                    <a:pt x="172" y="48"/>
                    <a:pt x="173" y="46"/>
                  </a:cubicBezTo>
                  <a:cubicBezTo>
                    <a:pt x="173" y="45"/>
                    <a:pt x="173" y="45"/>
                    <a:pt x="174" y="44"/>
                  </a:cubicBezTo>
                  <a:cubicBezTo>
                    <a:pt x="175" y="41"/>
                    <a:pt x="177" y="35"/>
                    <a:pt x="172" y="33"/>
                  </a:cubicBezTo>
                  <a:cubicBezTo>
                    <a:pt x="170" y="32"/>
                    <a:pt x="169" y="32"/>
                    <a:pt x="168" y="32"/>
                  </a:cubicBezTo>
                  <a:cubicBezTo>
                    <a:pt x="165" y="32"/>
                    <a:pt x="164" y="35"/>
                    <a:pt x="163" y="36"/>
                  </a:cubicBezTo>
                  <a:cubicBezTo>
                    <a:pt x="163" y="37"/>
                    <a:pt x="162" y="38"/>
                    <a:pt x="162" y="38"/>
                  </a:cubicBezTo>
                  <a:cubicBezTo>
                    <a:pt x="162" y="38"/>
                    <a:pt x="161" y="37"/>
                    <a:pt x="160" y="36"/>
                  </a:cubicBezTo>
                  <a:cubicBezTo>
                    <a:pt x="159" y="34"/>
                    <a:pt x="157" y="32"/>
                    <a:pt x="154" y="32"/>
                  </a:cubicBezTo>
                  <a:cubicBezTo>
                    <a:pt x="153" y="32"/>
                    <a:pt x="153" y="32"/>
                    <a:pt x="152" y="32"/>
                  </a:cubicBezTo>
                  <a:cubicBezTo>
                    <a:pt x="150" y="32"/>
                    <a:pt x="149" y="34"/>
                    <a:pt x="148" y="34"/>
                  </a:cubicBezTo>
                  <a:cubicBezTo>
                    <a:pt x="148" y="35"/>
                    <a:pt x="148" y="35"/>
                    <a:pt x="148" y="35"/>
                  </a:cubicBezTo>
                  <a:cubicBezTo>
                    <a:pt x="147" y="35"/>
                    <a:pt x="147" y="35"/>
                    <a:pt x="145" y="35"/>
                  </a:cubicBezTo>
                  <a:cubicBezTo>
                    <a:pt x="145" y="35"/>
                    <a:pt x="144" y="35"/>
                    <a:pt x="144" y="35"/>
                  </a:cubicBezTo>
                  <a:cubicBezTo>
                    <a:pt x="143" y="35"/>
                    <a:pt x="142" y="35"/>
                    <a:pt x="142" y="35"/>
                  </a:cubicBezTo>
                  <a:cubicBezTo>
                    <a:pt x="138" y="35"/>
                    <a:pt x="138" y="35"/>
                    <a:pt x="138" y="35"/>
                  </a:cubicBezTo>
                  <a:cubicBezTo>
                    <a:pt x="137" y="35"/>
                    <a:pt x="137" y="35"/>
                    <a:pt x="136" y="35"/>
                  </a:cubicBezTo>
                  <a:cubicBezTo>
                    <a:pt x="135" y="35"/>
                    <a:pt x="135" y="35"/>
                    <a:pt x="135" y="35"/>
                  </a:cubicBezTo>
                  <a:cubicBezTo>
                    <a:pt x="133" y="35"/>
                    <a:pt x="132" y="35"/>
                    <a:pt x="131" y="34"/>
                  </a:cubicBezTo>
                  <a:cubicBezTo>
                    <a:pt x="129" y="34"/>
                    <a:pt x="126" y="31"/>
                    <a:pt x="126" y="28"/>
                  </a:cubicBezTo>
                  <a:cubicBezTo>
                    <a:pt x="126" y="27"/>
                    <a:pt x="126" y="27"/>
                    <a:pt x="126" y="27"/>
                  </a:cubicBezTo>
                  <a:cubicBezTo>
                    <a:pt x="126" y="25"/>
                    <a:pt x="126" y="23"/>
                    <a:pt x="124" y="21"/>
                  </a:cubicBezTo>
                  <a:cubicBezTo>
                    <a:pt x="122" y="19"/>
                    <a:pt x="119" y="18"/>
                    <a:pt x="116" y="18"/>
                  </a:cubicBezTo>
                  <a:cubicBezTo>
                    <a:pt x="116" y="17"/>
                    <a:pt x="116" y="17"/>
                    <a:pt x="116" y="17"/>
                  </a:cubicBezTo>
                  <a:cubicBezTo>
                    <a:pt x="115" y="17"/>
                    <a:pt x="115" y="17"/>
                    <a:pt x="114" y="17"/>
                  </a:cubicBezTo>
                  <a:cubicBezTo>
                    <a:pt x="114" y="16"/>
                    <a:pt x="114" y="16"/>
                    <a:pt x="114" y="16"/>
                  </a:cubicBezTo>
                  <a:cubicBezTo>
                    <a:pt x="112" y="14"/>
                    <a:pt x="110" y="14"/>
                    <a:pt x="108" y="14"/>
                  </a:cubicBezTo>
                  <a:cubicBezTo>
                    <a:pt x="108" y="14"/>
                    <a:pt x="107" y="14"/>
                    <a:pt x="107" y="14"/>
                  </a:cubicBezTo>
                  <a:cubicBezTo>
                    <a:pt x="107" y="14"/>
                    <a:pt x="106" y="14"/>
                    <a:pt x="106" y="13"/>
                  </a:cubicBezTo>
                  <a:cubicBezTo>
                    <a:pt x="105" y="12"/>
                    <a:pt x="104" y="11"/>
                    <a:pt x="103" y="10"/>
                  </a:cubicBezTo>
                  <a:cubicBezTo>
                    <a:pt x="101" y="9"/>
                    <a:pt x="100" y="9"/>
                    <a:pt x="98" y="8"/>
                  </a:cubicBezTo>
                  <a:cubicBezTo>
                    <a:pt x="98" y="8"/>
                    <a:pt x="97" y="8"/>
                    <a:pt x="96" y="7"/>
                  </a:cubicBezTo>
                  <a:cubicBezTo>
                    <a:pt x="96" y="7"/>
                    <a:pt x="95" y="6"/>
                    <a:pt x="94" y="6"/>
                  </a:cubicBezTo>
                  <a:cubicBezTo>
                    <a:pt x="94" y="5"/>
                    <a:pt x="93" y="5"/>
                    <a:pt x="93" y="5"/>
                  </a:cubicBezTo>
                  <a:cubicBezTo>
                    <a:pt x="88" y="2"/>
                    <a:pt x="85" y="0"/>
                    <a:pt x="81" y="0"/>
                  </a:cubicBezTo>
                  <a:cubicBezTo>
                    <a:pt x="80" y="0"/>
                    <a:pt x="78" y="1"/>
                    <a:pt x="76" y="1"/>
                  </a:cubicBezTo>
                  <a:cubicBezTo>
                    <a:pt x="74" y="3"/>
                    <a:pt x="72" y="4"/>
                    <a:pt x="70" y="6"/>
                  </a:cubicBezTo>
                  <a:cubicBezTo>
                    <a:pt x="69" y="7"/>
                    <a:pt x="68" y="8"/>
                    <a:pt x="67" y="9"/>
                  </a:cubicBezTo>
                  <a:cubicBezTo>
                    <a:pt x="66" y="9"/>
                    <a:pt x="66" y="9"/>
                    <a:pt x="66" y="9"/>
                  </a:cubicBezTo>
                  <a:cubicBezTo>
                    <a:pt x="65" y="10"/>
                    <a:pt x="64" y="10"/>
                    <a:pt x="63" y="12"/>
                  </a:cubicBezTo>
                  <a:cubicBezTo>
                    <a:pt x="63" y="12"/>
                    <a:pt x="62" y="13"/>
                    <a:pt x="62" y="13"/>
                  </a:cubicBezTo>
                  <a:cubicBezTo>
                    <a:pt x="62" y="14"/>
                    <a:pt x="61" y="15"/>
                    <a:pt x="61" y="15"/>
                  </a:cubicBezTo>
                  <a:cubicBezTo>
                    <a:pt x="61" y="15"/>
                    <a:pt x="60" y="15"/>
                    <a:pt x="60" y="15"/>
                  </a:cubicBezTo>
                  <a:cubicBezTo>
                    <a:pt x="59" y="15"/>
                    <a:pt x="59" y="15"/>
                    <a:pt x="58" y="15"/>
                  </a:cubicBezTo>
                  <a:cubicBezTo>
                    <a:pt x="58" y="15"/>
                    <a:pt x="58" y="15"/>
                    <a:pt x="58" y="15"/>
                  </a:cubicBezTo>
                  <a:cubicBezTo>
                    <a:pt x="57" y="15"/>
                    <a:pt x="57" y="15"/>
                    <a:pt x="56" y="16"/>
                  </a:cubicBezTo>
                  <a:cubicBezTo>
                    <a:pt x="56" y="15"/>
                    <a:pt x="56" y="15"/>
                    <a:pt x="56" y="15"/>
                  </a:cubicBezTo>
                  <a:cubicBezTo>
                    <a:pt x="55" y="15"/>
                    <a:pt x="55" y="15"/>
                    <a:pt x="54" y="15"/>
                  </a:cubicBezTo>
                  <a:cubicBezTo>
                    <a:pt x="53" y="14"/>
                    <a:pt x="51" y="14"/>
                    <a:pt x="49" y="14"/>
                  </a:cubicBezTo>
                  <a:cubicBezTo>
                    <a:pt x="49" y="14"/>
                    <a:pt x="49" y="14"/>
                    <a:pt x="49" y="14"/>
                  </a:cubicBezTo>
                  <a:cubicBezTo>
                    <a:pt x="48" y="14"/>
                    <a:pt x="48" y="14"/>
                    <a:pt x="47" y="14"/>
                  </a:cubicBezTo>
                  <a:cubicBezTo>
                    <a:pt x="46" y="14"/>
                    <a:pt x="45" y="14"/>
                    <a:pt x="45" y="14"/>
                  </a:cubicBezTo>
                  <a:cubicBezTo>
                    <a:pt x="44" y="14"/>
                    <a:pt x="43" y="14"/>
                    <a:pt x="42" y="14"/>
                  </a:cubicBezTo>
                  <a:cubicBezTo>
                    <a:pt x="41" y="14"/>
                    <a:pt x="40" y="13"/>
                    <a:pt x="39" y="13"/>
                  </a:cubicBezTo>
                  <a:cubicBezTo>
                    <a:pt x="38" y="12"/>
                    <a:pt x="36" y="12"/>
                    <a:pt x="35" y="11"/>
                  </a:cubicBezTo>
                  <a:cubicBezTo>
                    <a:pt x="31" y="10"/>
                    <a:pt x="27" y="9"/>
                    <a:pt x="22" y="9"/>
                  </a:cubicBezTo>
                  <a:cubicBezTo>
                    <a:pt x="20" y="9"/>
                    <a:pt x="19" y="9"/>
                    <a:pt x="17" y="9"/>
                  </a:cubicBezTo>
                  <a:cubicBezTo>
                    <a:pt x="12" y="10"/>
                    <a:pt x="8" y="12"/>
                    <a:pt x="5" y="16"/>
                  </a:cubicBezTo>
                  <a:cubicBezTo>
                    <a:pt x="3" y="18"/>
                    <a:pt x="2" y="20"/>
                    <a:pt x="2" y="23"/>
                  </a:cubicBezTo>
                  <a:cubicBezTo>
                    <a:pt x="2" y="23"/>
                    <a:pt x="1" y="24"/>
                    <a:pt x="1" y="24"/>
                  </a:cubicBezTo>
                  <a:cubicBezTo>
                    <a:pt x="1" y="26"/>
                    <a:pt x="0" y="28"/>
                    <a:pt x="0" y="30"/>
                  </a:cubicBezTo>
                  <a:cubicBezTo>
                    <a:pt x="1" y="34"/>
                    <a:pt x="3" y="39"/>
                    <a:pt x="4" y="42"/>
                  </a:cubicBezTo>
                  <a:cubicBezTo>
                    <a:pt x="6" y="45"/>
                    <a:pt x="9" y="48"/>
                    <a:pt x="11" y="49"/>
                  </a:cubicBezTo>
                  <a:cubicBezTo>
                    <a:pt x="12" y="49"/>
                    <a:pt x="12" y="49"/>
                    <a:pt x="12" y="49"/>
                  </a:cubicBezTo>
                  <a:cubicBezTo>
                    <a:pt x="14" y="51"/>
                    <a:pt x="15" y="52"/>
                    <a:pt x="15" y="53"/>
                  </a:cubicBezTo>
                  <a:cubicBezTo>
                    <a:pt x="15" y="54"/>
                    <a:pt x="14" y="54"/>
                    <a:pt x="14" y="55"/>
                  </a:cubicBezTo>
                  <a:cubicBezTo>
                    <a:pt x="14" y="56"/>
                    <a:pt x="13" y="57"/>
                    <a:pt x="13" y="58"/>
                  </a:cubicBezTo>
                  <a:cubicBezTo>
                    <a:pt x="13" y="60"/>
                    <a:pt x="14" y="63"/>
                    <a:pt x="15" y="65"/>
                  </a:cubicBezTo>
                  <a:cubicBezTo>
                    <a:pt x="16" y="65"/>
                    <a:pt x="16" y="65"/>
                    <a:pt x="16" y="65"/>
                  </a:cubicBezTo>
                  <a:cubicBezTo>
                    <a:pt x="16" y="66"/>
                    <a:pt x="15" y="66"/>
                    <a:pt x="15" y="67"/>
                  </a:cubicBezTo>
                  <a:cubicBezTo>
                    <a:pt x="15" y="67"/>
                    <a:pt x="14" y="68"/>
                    <a:pt x="14" y="69"/>
                  </a:cubicBezTo>
                  <a:cubicBezTo>
                    <a:pt x="12" y="71"/>
                    <a:pt x="9" y="75"/>
                    <a:pt x="12" y="79"/>
                  </a:cubicBezTo>
                  <a:cubicBezTo>
                    <a:pt x="13" y="81"/>
                    <a:pt x="14" y="83"/>
                    <a:pt x="17" y="84"/>
                  </a:cubicBezTo>
                  <a:cubicBezTo>
                    <a:pt x="18" y="84"/>
                    <a:pt x="18" y="84"/>
                    <a:pt x="19" y="84"/>
                  </a:cubicBezTo>
                  <a:cubicBezTo>
                    <a:pt x="19" y="84"/>
                    <a:pt x="19" y="84"/>
                    <a:pt x="19" y="84"/>
                  </a:cubicBezTo>
                  <a:cubicBezTo>
                    <a:pt x="19" y="85"/>
                    <a:pt x="19" y="85"/>
                    <a:pt x="19" y="85"/>
                  </a:cubicBezTo>
                  <a:cubicBezTo>
                    <a:pt x="19" y="86"/>
                    <a:pt x="19" y="87"/>
                    <a:pt x="20" y="88"/>
                  </a:cubicBezTo>
                  <a:cubicBezTo>
                    <a:pt x="20" y="89"/>
                    <a:pt x="20" y="90"/>
                    <a:pt x="20" y="92"/>
                  </a:cubicBezTo>
                  <a:cubicBezTo>
                    <a:pt x="20" y="93"/>
                    <a:pt x="20" y="95"/>
                    <a:pt x="21" y="97"/>
                  </a:cubicBezTo>
                  <a:cubicBezTo>
                    <a:pt x="22" y="99"/>
                    <a:pt x="23" y="100"/>
                    <a:pt x="25" y="101"/>
                  </a:cubicBezTo>
                  <a:cubicBezTo>
                    <a:pt x="25" y="101"/>
                    <a:pt x="26" y="102"/>
                    <a:pt x="26" y="102"/>
                  </a:cubicBezTo>
                  <a:cubicBezTo>
                    <a:pt x="26" y="102"/>
                    <a:pt x="26" y="103"/>
                    <a:pt x="26" y="104"/>
                  </a:cubicBezTo>
                  <a:cubicBezTo>
                    <a:pt x="26" y="105"/>
                    <a:pt x="26" y="105"/>
                    <a:pt x="26" y="105"/>
                  </a:cubicBezTo>
                  <a:cubicBezTo>
                    <a:pt x="26" y="106"/>
                    <a:pt x="27" y="109"/>
                    <a:pt x="29" y="110"/>
                  </a:cubicBezTo>
                  <a:cubicBezTo>
                    <a:pt x="29" y="110"/>
                    <a:pt x="30" y="111"/>
                    <a:pt x="30" y="111"/>
                  </a:cubicBezTo>
                  <a:cubicBezTo>
                    <a:pt x="30" y="111"/>
                    <a:pt x="31" y="111"/>
                    <a:pt x="31" y="111"/>
                  </a:cubicBezTo>
                  <a:cubicBezTo>
                    <a:pt x="31" y="111"/>
                    <a:pt x="31" y="111"/>
                    <a:pt x="31" y="111"/>
                  </a:cubicBezTo>
                  <a:cubicBezTo>
                    <a:pt x="31" y="112"/>
                    <a:pt x="31" y="113"/>
                    <a:pt x="31" y="114"/>
                  </a:cubicBezTo>
                  <a:cubicBezTo>
                    <a:pt x="31" y="115"/>
                    <a:pt x="31" y="115"/>
                    <a:pt x="31" y="115"/>
                  </a:cubicBezTo>
                  <a:cubicBezTo>
                    <a:pt x="32" y="116"/>
                    <a:pt x="31" y="117"/>
                    <a:pt x="30" y="119"/>
                  </a:cubicBezTo>
                  <a:cubicBezTo>
                    <a:pt x="28" y="122"/>
                    <a:pt x="27" y="125"/>
                    <a:pt x="27" y="128"/>
                  </a:cubicBezTo>
                  <a:cubicBezTo>
                    <a:pt x="27" y="130"/>
                    <a:pt x="27" y="131"/>
                    <a:pt x="26" y="132"/>
                  </a:cubicBezTo>
                  <a:cubicBezTo>
                    <a:pt x="26" y="135"/>
                    <a:pt x="26" y="135"/>
                    <a:pt x="26" y="135"/>
                  </a:cubicBezTo>
                  <a:cubicBezTo>
                    <a:pt x="26" y="136"/>
                    <a:pt x="25" y="138"/>
                    <a:pt x="24" y="139"/>
                  </a:cubicBezTo>
                  <a:cubicBezTo>
                    <a:pt x="24" y="140"/>
                    <a:pt x="24" y="140"/>
                    <a:pt x="24" y="140"/>
                  </a:cubicBezTo>
                  <a:cubicBezTo>
                    <a:pt x="21" y="146"/>
                    <a:pt x="12" y="160"/>
                    <a:pt x="23" y="168"/>
                  </a:cubicBezTo>
                  <a:cubicBezTo>
                    <a:pt x="27" y="171"/>
                    <a:pt x="31" y="173"/>
                    <a:pt x="35" y="176"/>
                  </a:cubicBezTo>
                  <a:cubicBezTo>
                    <a:pt x="38" y="178"/>
                    <a:pt x="42" y="180"/>
                    <a:pt x="45" y="182"/>
                  </a:cubicBezTo>
                  <a:cubicBezTo>
                    <a:pt x="46" y="183"/>
                    <a:pt x="47" y="184"/>
                    <a:pt x="48" y="184"/>
                  </a:cubicBezTo>
                  <a:cubicBezTo>
                    <a:pt x="49" y="185"/>
                    <a:pt x="50" y="185"/>
                    <a:pt x="51" y="186"/>
                  </a:cubicBezTo>
                  <a:cubicBezTo>
                    <a:pt x="53" y="187"/>
                    <a:pt x="54" y="189"/>
                    <a:pt x="55" y="190"/>
                  </a:cubicBezTo>
                  <a:cubicBezTo>
                    <a:pt x="56" y="191"/>
                    <a:pt x="57" y="192"/>
                    <a:pt x="58" y="194"/>
                  </a:cubicBezTo>
                  <a:cubicBezTo>
                    <a:pt x="59" y="195"/>
                    <a:pt x="59" y="195"/>
                    <a:pt x="59" y="195"/>
                  </a:cubicBezTo>
                  <a:cubicBezTo>
                    <a:pt x="62" y="199"/>
                    <a:pt x="64" y="202"/>
                    <a:pt x="65" y="206"/>
                  </a:cubicBezTo>
                  <a:cubicBezTo>
                    <a:pt x="66" y="211"/>
                    <a:pt x="68" y="214"/>
                    <a:pt x="70" y="217"/>
                  </a:cubicBezTo>
                  <a:cubicBezTo>
                    <a:pt x="71" y="219"/>
                    <a:pt x="71" y="219"/>
                    <a:pt x="71" y="219"/>
                  </a:cubicBezTo>
                  <a:cubicBezTo>
                    <a:pt x="72" y="221"/>
                    <a:pt x="72" y="224"/>
                    <a:pt x="73" y="227"/>
                  </a:cubicBezTo>
                  <a:cubicBezTo>
                    <a:pt x="73" y="229"/>
                    <a:pt x="73" y="230"/>
                    <a:pt x="73" y="231"/>
                  </a:cubicBezTo>
                  <a:cubicBezTo>
                    <a:pt x="74" y="233"/>
                    <a:pt x="74" y="235"/>
                    <a:pt x="75" y="237"/>
                  </a:cubicBezTo>
                  <a:cubicBezTo>
                    <a:pt x="75" y="238"/>
                    <a:pt x="76" y="239"/>
                    <a:pt x="76" y="240"/>
                  </a:cubicBezTo>
                  <a:cubicBezTo>
                    <a:pt x="76" y="241"/>
                    <a:pt x="76" y="241"/>
                    <a:pt x="76" y="242"/>
                  </a:cubicBezTo>
                  <a:cubicBezTo>
                    <a:pt x="77" y="243"/>
                    <a:pt x="77" y="248"/>
                    <a:pt x="82" y="248"/>
                  </a:cubicBezTo>
                  <a:cubicBezTo>
                    <a:pt x="82" y="248"/>
                    <a:pt x="83" y="247"/>
                    <a:pt x="84" y="247"/>
                  </a:cubicBezTo>
                  <a:cubicBezTo>
                    <a:pt x="85" y="247"/>
                    <a:pt x="86" y="246"/>
                    <a:pt x="87" y="246"/>
                  </a:cubicBezTo>
                  <a:cubicBezTo>
                    <a:pt x="89" y="246"/>
                    <a:pt x="90" y="248"/>
                    <a:pt x="90" y="248"/>
                  </a:cubicBezTo>
                  <a:cubicBezTo>
                    <a:pt x="90" y="249"/>
                    <a:pt x="90" y="249"/>
                    <a:pt x="90" y="249"/>
                  </a:cubicBezTo>
                  <a:cubicBezTo>
                    <a:pt x="89" y="250"/>
                    <a:pt x="87" y="250"/>
                    <a:pt x="86" y="250"/>
                  </a:cubicBezTo>
                  <a:cubicBezTo>
                    <a:pt x="84" y="250"/>
                    <a:pt x="83" y="250"/>
                    <a:pt x="82" y="250"/>
                  </a:cubicBezTo>
                  <a:cubicBezTo>
                    <a:pt x="76" y="251"/>
                    <a:pt x="74" y="256"/>
                    <a:pt x="73" y="260"/>
                  </a:cubicBezTo>
                  <a:cubicBezTo>
                    <a:pt x="72" y="261"/>
                    <a:pt x="72" y="261"/>
                    <a:pt x="72" y="261"/>
                  </a:cubicBezTo>
                  <a:cubicBezTo>
                    <a:pt x="72" y="262"/>
                    <a:pt x="72" y="262"/>
                    <a:pt x="71" y="263"/>
                  </a:cubicBezTo>
                  <a:cubicBezTo>
                    <a:pt x="71" y="264"/>
                    <a:pt x="70" y="265"/>
                    <a:pt x="70" y="266"/>
                  </a:cubicBezTo>
                  <a:cubicBezTo>
                    <a:pt x="69" y="269"/>
                    <a:pt x="68" y="271"/>
                    <a:pt x="67" y="273"/>
                  </a:cubicBezTo>
                  <a:cubicBezTo>
                    <a:pt x="66" y="274"/>
                    <a:pt x="66" y="274"/>
                    <a:pt x="66" y="274"/>
                  </a:cubicBezTo>
                  <a:cubicBezTo>
                    <a:pt x="66" y="276"/>
                    <a:pt x="65" y="278"/>
                    <a:pt x="63" y="280"/>
                  </a:cubicBezTo>
                  <a:cubicBezTo>
                    <a:pt x="63" y="282"/>
                    <a:pt x="62" y="282"/>
                    <a:pt x="61" y="283"/>
                  </a:cubicBezTo>
                  <a:cubicBezTo>
                    <a:pt x="61" y="284"/>
                    <a:pt x="60" y="284"/>
                    <a:pt x="60" y="285"/>
                  </a:cubicBezTo>
                  <a:cubicBezTo>
                    <a:pt x="59" y="286"/>
                    <a:pt x="58" y="287"/>
                    <a:pt x="57" y="288"/>
                  </a:cubicBezTo>
                  <a:cubicBezTo>
                    <a:pt x="57" y="289"/>
                    <a:pt x="56" y="290"/>
                    <a:pt x="55" y="291"/>
                  </a:cubicBezTo>
                  <a:cubicBezTo>
                    <a:pt x="52" y="294"/>
                    <a:pt x="49" y="298"/>
                    <a:pt x="45" y="301"/>
                  </a:cubicBezTo>
                  <a:cubicBezTo>
                    <a:pt x="44" y="302"/>
                    <a:pt x="43" y="303"/>
                    <a:pt x="42" y="304"/>
                  </a:cubicBezTo>
                  <a:cubicBezTo>
                    <a:pt x="39" y="307"/>
                    <a:pt x="36" y="310"/>
                    <a:pt x="33" y="311"/>
                  </a:cubicBezTo>
                  <a:cubicBezTo>
                    <a:pt x="32" y="312"/>
                    <a:pt x="32" y="312"/>
                    <a:pt x="31" y="312"/>
                  </a:cubicBezTo>
                  <a:cubicBezTo>
                    <a:pt x="27" y="314"/>
                    <a:pt x="21" y="316"/>
                    <a:pt x="21" y="322"/>
                  </a:cubicBezTo>
                  <a:cubicBezTo>
                    <a:pt x="22" y="325"/>
                    <a:pt x="24" y="327"/>
                    <a:pt x="25" y="329"/>
                  </a:cubicBezTo>
                  <a:cubicBezTo>
                    <a:pt x="25" y="329"/>
                    <a:pt x="26" y="329"/>
                    <a:pt x="26" y="330"/>
                  </a:cubicBezTo>
                  <a:cubicBezTo>
                    <a:pt x="27" y="330"/>
                    <a:pt x="27" y="331"/>
                    <a:pt x="28" y="332"/>
                  </a:cubicBezTo>
                  <a:cubicBezTo>
                    <a:pt x="28" y="333"/>
                    <a:pt x="28" y="333"/>
                    <a:pt x="28" y="333"/>
                  </a:cubicBezTo>
                  <a:cubicBezTo>
                    <a:pt x="29" y="335"/>
                    <a:pt x="30" y="336"/>
                    <a:pt x="30" y="337"/>
                  </a:cubicBezTo>
                  <a:cubicBezTo>
                    <a:pt x="31" y="337"/>
                    <a:pt x="31" y="337"/>
                    <a:pt x="31" y="337"/>
                  </a:cubicBezTo>
                  <a:cubicBezTo>
                    <a:pt x="34" y="340"/>
                    <a:pt x="36" y="342"/>
                    <a:pt x="39" y="344"/>
                  </a:cubicBezTo>
                  <a:cubicBezTo>
                    <a:pt x="40" y="345"/>
                    <a:pt x="40" y="345"/>
                    <a:pt x="40" y="345"/>
                  </a:cubicBezTo>
                  <a:cubicBezTo>
                    <a:pt x="40" y="345"/>
                    <a:pt x="40" y="346"/>
                    <a:pt x="40" y="346"/>
                  </a:cubicBezTo>
                  <a:cubicBezTo>
                    <a:pt x="40" y="347"/>
                    <a:pt x="40" y="347"/>
                    <a:pt x="40" y="347"/>
                  </a:cubicBezTo>
                  <a:cubicBezTo>
                    <a:pt x="40" y="348"/>
                    <a:pt x="40" y="348"/>
                    <a:pt x="40" y="349"/>
                  </a:cubicBezTo>
                  <a:cubicBezTo>
                    <a:pt x="39" y="351"/>
                    <a:pt x="38" y="352"/>
                    <a:pt x="38" y="354"/>
                  </a:cubicBezTo>
                  <a:cubicBezTo>
                    <a:pt x="38" y="359"/>
                    <a:pt x="40" y="362"/>
                    <a:pt x="41" y="366"/>
                  </a:cubicBezTo>
                  <a:cubicBezTo>
                    <a:pt x="41" y="367"/>
                    <a:pt x="41" y="367"/>
                    <a:pt x="41" y="367"/>
                  </a:cubicBezTo>
                  <a:cubicBezTo>
                    <a:pt x="42" y="369"/>
                    <a:pt x="44" y="372"/>
                    <a:pt x="45" y="374"/>
                  </a:cubicBezTo>
                  <a:cubicBezTo>
                    <a:pt x="46" y="377"/>
                    <a:pt x="48" y="381"/>
                    <a:pt x="49" y="384"/>
                  </a:cubicBezTo>
                  <a:cubicBezTo>
                    <a:pt x="49" y="385"/>
                    <a:pt x="49" y="386"/>
                    <a:pt x="50" y="387"/>
                  </a:cubicBezTo>
                  <a:cubicBezTo>
                    <a:pt x="51" y="392"/>
                    <a:pt x="52" y="396"/>
                    <a:pt x="56" y="401"/>
                  </a:cubicBezTo>
                  <a:cubicBezTo>
                    <a:pt x="57" y="401"/>
                    <a:pt x="58" y="402"/>
                    <a:pt x="59" y="403"/>
                  </a:cubicBezTo>
                  <a:cubicBezTo>
                    <a:pt x="61" y="405"/>
                    <a:pt x="64" y="408"/>
                    <a:pt x="64" y="410"/>
                  </a:cubicBezTo>
                  <a:cubicBezTo>
                    <a:pt x="64" y="412"/>
                    <a:pt x="63" y="413"/>
                    <a:pt x="61" y="416"/>
                  </a:cubicBezTo>
                  <a:cubicBezTo>
                    <a:pt x="60" y="416"/>
                    <a:pt x="60" y="417"/>
                    <a:pt x="59" y="417"/>
                  </a:cubicBezTo>
                  <a:cubicBezTo>
                    <a:pt x="56" y="421"/>
                    <a:pt x="54" y="428"/>
                    <a:pt x="56" y="433"/>
                  </a:cubicBezTo>
                  <a:cubicBezTo>
                    <a:pt x="56" y="435"/>
                    <a:pt x="58" y="437"/>
                    <a:pt x="59" y="438"/>
                  </a:cubicBezTo>
                  <a:cubicBezTo>
                    <a:pt x="60" y="438"/>
                    <a:pt x="60" y="439"/>
                    <a:pt x="60" y="439"/>
                  </a:cubicBezTo>
                  <a:cubicBezTo>
                    <a:pt x="61" y="440"/>
                    <a:pt x="61" y="442"/>
                    <a:pt x="61" y="443"/>
                  </a:cubicBezTo>
                  <a:cubicBezTo>
                    <a:pt x="58" y="438"/>
                    <a:pt x="54" y="433"/>
                    <a:pt x="50" y="433"/>
                  </a:cubicBezTo>
                  <a:cubicBezTo>
                    <a:pt x="46" y="432"/>
                    <a:pt x="46" y="432"/>
                    <a:pt x="46" y="432"/>
                  </a:cubicBezTo>
                  <a:cubicBezTo>
                    <a:pt x="47" y="436"/>
                    <a:pt x="47" y="436"/>
                    <a:pt x="47" y="436"/>
                  </a:cubicBezTo>
                  <a:cubicBezTo>
                    <a:pt x="52" y="478"/>
                    <a:pt x="59" y="528"/>
                    <a:pt x="66" y="577"/>
                  </a:cubicBezTo>
                  <a:cubicBezTo>
                    <a:pt x="67" y="578"/>
                    <a:pt x="67" y="580"/>
                    <a:pt x="67" y="581"/>
                  </a:cubicBezTo>
                  <a:cubicBezTo>
                    <a:pt x="68" y="585"/>
                    <a:pt x="68" y="589"/>
                    <a:pt x="69" y="593"/>
                  </a:cubicBezTo>
                  <a:cubicBezTo>
                    <a:pt x="69" y="604"/>
                    <a:pt x="73" y="608"/>
                    <a:pt x="78" y="616"/>
                  </a:cubicBezTo>
                  <a:cubicBezTo>
                    <a:pt x="81" y="619"/>
                    <a:pt x="81" y="619"/>
                    <a:pt x="81" y="619"/>
                  </a:cubicBezTo>
                  <a:cubicBezTo>
                    <a:pt x="83" y="622"/>
                    <a:pt x="85" y="624"/>
                    <a:pt x="88" y="626"/>
                  </a:cubicBezTo>
                  <a:cubicBezTo>
                    <a:pt x="90" y="628"/>
                    <a:pt x="92" y="630"/>
                    <a:pt x="94" y="633"/>
                  </a:cubicBezTo>
                  <a:cubicBezTo>
                    <a:pt x="96" y="635"/>
                    <a:pt x="97" y="637"/>
                    <a:pt x="99" y="639"/>
                  </a:cubicBezTo>
                  <a:cubicBezTo>
                    <a:pt x="105" y="647"/>
                    <a:pt x="109" y="653"/>
                    <a:pt x="120" y="653"/>
                  </a:cubicBezTo>
                  <a:cubicBezTo>
                    <a:pt x="122" y="653"/>
                    <a:pt x="124" y="653"/>
                    <a:pt x="126" y="652"/>
                  </a:cubicBezTo>
                  <a:cubicBezTo>
                    <a:pt x="128" y="652"/>
                    <a:pt x="131" y="651"/>
                    <a:pt x="134" y="651"/>
                  </a:cubicBezTo>
                  <a:cubicBezTo>
                    <a:pt x="138" y="650"/>
                    <a:pt x="145" y="648"/>
                    <a:pt x="149" y="648"/>
                  </a:cubicBezTo>
                  <a:cubicBezTo>
                    <a:pt x="150" y="648"/>
                    <a:pt x="150" y="648"/>
                    <a:pt x="150" y="648"/>
                  </a:cubicBezTo>
                  <a:cubicBezTo>
                    <a:pt x="154" y="648"/>
                    <a:pt x="158" y="651"/>
                    <a:pt x="162" y="654"/>
                  </a:cubicBezTo>
                  <a:cubicBezTo>
                    <a:pt x="164" y="656"/>
                    <a:pt x="166" y="658"/>
                    <a:pt x="169" y="659"/>
                  </a:cubicBezTo>
                  <a:cubicBezTo>
                    <a:pt x="172" y="660"/>
                    <a:pt x="174" y="661"/>
                    <a:pt x="176" y="661"/>
                  </a:cubicBezTo>
                  <a:cubicBezTo>
                    <a:pt x="179" y="661"/>
                    <a:pt x="181" y="660"/>
                    <a:pt x="183" y="658"/>
                  </a:cubicBezTo>
                  <a:cubicBezTo>
                    <a:pt x="184" y="658"/>
                    <a:pt x="184" y="658"/>
                    <a:pt x="184" y="658"/>
                  </a:cubicBezTo>
                  <a:cubicBezTo>
                    <a:pt x="185" y="657"/>
                    <a:pt x="186" y="657"/>
                    <a:pt x="187" y="656"/>
                  </a:cubicBezTo>
                  <a:cubicBezTo>
                    <a:pt x="191" y="654"/>
                    <a:pt x="195" y="653"/>
                    <a:pt x="200" y="652"/>
                  </a:cubicBezTo>
                  <a:cubicBezTo>
                    <a:pt x="200" y="652"/>
                    <a:pt x="200" y="652"/>
                    <a:pt x="200" y="652"/>
                  </a:cubicBezTo>
                  <a:cubicBezTo>
                    <a:pt x="203" y="651"/>
                    <a:pt x="205" y="650"/>
                    <a:pt x="208" y="649"/>
                  </a:cubicBezTo>
                  <a:cubicBezTo>
                    <a:pt x="211" y="648"/>
                    <a:pt x="214" y="647"/>
                    <a:pt x="217" y="647"/>
                  </a:cubicBezTo>
                  <a:cubicBezTo>
                    <a:pt x="218" y="647"/>
                    <a:pt x="218" y="647"/>
                    <a:pt x="219" y="648"/>
                  </a:cubicBezTo>
                  <a:cubicBezTo>
                    <a:pt x="222" y="649"/>
                    <a:pt x="223" y="652"/>
                    <a:pt x="224" y="657"/>
                  </a:cubicBezTo>
                  <a:cubicBezTo>
                    <a:pt x="226" y="661"/>
                    <a:pt x="226" y="661"/>
                    <a:pt x="226" y="661"/>
                  </a:cubicBezTo>
                  <a:cubicBezTo>
                    <a:pt x="226" y="663"/>
                    <a:pt x="227" y="664"/>
                    <a:pt x="227" y="666"/>
                  </a:cubicBezTo>
                  <a:cubicBezTo>
                    <a:pt x="228" y="669"/>
                    <a:pt x="228" y="669"/>
                    <a:pt x="228" y="669"/>
                  </a:cubicBezTo>
                  <a:cubicBezTo>
                    <a:pt x="231" y="668"/>
                    <a:pt x="231" y="668"/>
                    <a:pt x="231" y="668"/>
                  </a:cubicBezTo>
                  <a:cubicBezTo>
                    <a:pt x="234" y="668"/>
                    <a:pt x="238" y="667"/>
                    <a:pt x="241" y="667"/>
                  </a:cubicBezTo>
                  <a:cubicBezTo>
                    <a:pt x="246" y="666"/>
                    <a:pt x="252" y="665"/>
                    <a:pt x="257" y="664"/>
                  </a:cubicBezTo>
                  <a:cubicBezTo>
                    <a:pt x="260" y="663"/>
                    <a:pt x="262" y="662"/>
                    <a:pt x="264" y="661"/>
                  </a:cubicBezTo>
                  <a:cubicBezTo>
                    <a:pt x="267" y="660"/>
                    <a:pt x="269" y="659"/>
                    <a:pt x="271" y="658"/>
                  </a:cubicBezTo>
                  <a:cubicBezTo>
                    <a:pt x="272" y="658"/>
                    <a:pt x="274" y="657"/>
                    <a:pt x="275" y="657"/>
                  </a:cubicBezTo>
                  <a:cubicBezTo>
                    <a:pt x="279" y="656"/>
                    <a:pt x="282" y="655"/>
                    <a:pt x="286" y="655"/>
                  </a:cubicBezTo>
                  <a:cubicBezTo>
                    <a:pt x="291" y="655"/>
                    <a:pt x="296" y="653"/>
                    <a:pt x="301" y="651"/>
                  </a:cubicBezTo>
                  <a:cubicBezTo>
                    <a:pt x="302" y="650"/>
                    <a:pt x="302" y="650"/>
                    <a:pt x="302" y="650"/>
                  </a:cubicBezTo>
                  <a:cubicBezTo>
                    <a:pt x="306" y="648"/>
                    <a:pt x="310" y="646"/>
                    <a:pt x="312" y="640"/>
                  </a:cubicBezTo>
                  <a:cubicBezTo>
                    <a:pt x="312" y="640"/>
                    <a:pt x="312" y="639"/>
                    <a:pt x="313" y="638"/>
                  </a:cubicBezTo>
                  <a:cubicBezTo>
                    <a:pt x="313" y="637"/>
                    <a:pt x="313" y="636"/>
                    <a:pt x="314" y="635"/>
                  </a:cubicBezTo>
                  <a:cubicBezTo>
                    <a:pt x="316" y="633"/>
                    <a:pt x="317" y="632"/>
                    <a:pt x="319" y="631"/>
                  </a:cubicBezTo>
                  <a:cubicBezTo>
                    <a:pt x="322" y="631"/>
                    <a:pt x="325" y="629"/>
                    <a:pt x="327" y="626"/>
                  </a:cubicBezTo>
                  <a:cubicBezTo>
                    <a:pt x="328" y="623"/>
                    <a:pt x="328" y="621"/>
                    <a:pt x="329" y="619"/>
                  </a:cubicBezTo>
                  <a:cubicBezTo>
                    <a:pt x="329" y="617"/>
                    <a:pt x="329" y="615"/>
                    <a:pt x="330" y="613"/>
                  </a:cubicBezTo>
                  <a:cubicBezTo>
                    <a:pt x="332" y="609"/>
                    <a:pt x="333" y="605"/>
                    <a:pt x="333" y="599"/>
                  </a:cubicBezTo>
                  <a:cubicBezTo>
                    <a:pt x="333" y="596"/>
                    <a:pt x="333" y="593"/>
                    <a:pt x="332" y="591"/>
                  </a:cubicBezTo>
                  <a:cubicBezTo>
                    <a:pt x="332" y="589"/>
                    <a:pt x="332" y="587"/>
                    <a:pt x="331" y="585"/>
                  </a:cubicBezTo>
                  <a:cubicBezTo>
                    <a:pt x="331" y="582"/>
                    <a:pt x="332" y="579"/>
                    <a:pt x="333" y="575"/>
                  </a:cubicBezTo>
                  <a:cubicBezTo>
                    <a:pt x="334" y="574"/>
                    <a:pt x="334" y="571"/>
                    <a:pt x="335" y="569"/>
                  </a:cubicBezTo>
                  <a:cubicBezTo>
                    <a:pt x="335" y="567"/>
                    <a:pt x="335" y="565"/>
                    <a:pt x="335" y="562"/>
                  </a:cubicBezTo>
                  <a:cubicBezTo>
                    <a:pt x="334" y="560"/>
                    <a:pt x="334" y="558"/>
                    <a:pt x="335" y="556"/>
                  </a:cubicBezTo>
                  <a:cubicBezTo>
                    <a:pt x="335" y="554"/>
                    <a:pt x="336" y="553"/>
                    <a:pt x="337" y="552"/>
                  </a:cubicBezTo>
                  <a:cubicBezTo>
                    <a:pt x="338" y="550"/>
                    <a:pt x="338" y="548"/>
                    <a:pt x="339" y="546"/>
                  </a:cubicBezTo>
                  <a:cubicBezTo>
                    <a:pt x="339" y="545"/>
                    <a:pt x="340" y="544"/>
                    <a:pt x="340" y="543"/>
                  </a:cubicBezTo>
                  <a:cubicBezTo>
                    <a:pt x="340" y="542"/>
                    <a:pt x="341" y="537"/>
                    <a:pt x="342" y="537"/>
                  </a:cubicBezTo>
                  <a:cubicBezTo>
                    <a:pt x="343" y="537"/>
                    <a:pt x="344" y="538"/>
                    <a:pt x="346" y="538"/>
                  </a:cubicBezTo>
                  <a:cubicBezTo>
                    <a:pt x="348" y="540"/>
                    <a:pt x="348" y="540"/>
                    <a:pt x="348" y="540"/>
                  </a:cubicBezTo>
                  <a:cubicBezTo>
                    <a:pt x="350" y="538"/>
                    <a:pt x="350" y="538"/>
                    <a:pt x="350" y="538"/>
                  </a:cubicBezTo>
                  <a:cubicBezTo>
                    <a:pt x="351" y="536"/>
                    <a:pt x="352" y="535"/>
                    <a:pt x="354" y="534"/>
                  </a:cubicBezTo>
                  <a:cubicBezTo>
                    <a:pt x="355" y="532"/>
                    <a:pt x="357" y="530"/>
                    <a:pt x="358" y="528"/>
                  </a:cubicBezTo>
                  <a:cubicBezTo>
                    <a:pt x="361" y="524"/>
                    <a:pt x="360" y="520"/>
                    <a:pt x="359" y="517"/>
                  </a:cubicBezTo>
                  <a:cubicBezTo>
                    <a:pt x="358" y="514"/>
                    <a:pt x="357" y="511"/>
                    <a:pt x="359" y="509"/>
                  </a:cubicBezTo>
                  <a:cubicBezTo>
                    <a:pt x="361" y="506"/>
                    <a:pt x="376" y="499"/>
                    <a:pt x="379" y="499"/>
                  </a:cubicBezTo>
                  <a:cubicBezTo>
                    <a:pt x="380" y="499"/>
                    <a:pt x="380" y="499"/>
                    <a:pt x="381" y="499"/>
                  </a:cubicBezTo>
                  <a:cubicBezTo>
                    <a:pt x="382" y="499"/>
                    <a:pt x="383" y="499"/>
                    <a:pt x="384" y="500"/>
                  </a:cubicBezTo>
                  <a:cubicBezTo>
                    <a:pt x="384" y="500"/>
                    <a:pt x="385" y="500"/>
                    <a:pt x="386" y="500"/>
                  </a:cubicBezTo>
                  <a:cubicBezTo>
                    <a:pt x="387" y="500"/>
                    <a:pt x="388" y="500"/>
                    <a:pt x="389" y="499"/>
                  </a:cubicBezTo>
                  <a:cubicBezTo>
                    <a:pt x="390" y="499"/>
                    <a:pt x="391" y="498"/>
                    <a:pt x="394" y="495"/>
                  </a:cubicBezTo>
                  <a:cubicBezTo>
                    <a:pt x="395" y="494"/>
                    <a:pt x="396" y="493"/>
                    <a:pt x="397" y="493"/>
                  </a:cubicBezTo>
                  <a:cubicBezTo>
                    <a:pt x="402" y="489"/>
                    <a:pt x="407" y="486"/>
                    <a:pt x="412" y="484"/>
                  </a:cubicBezTo>
                  <a:cubicBezTo>
                    <a:pt x="414" y="484"/>
                    <a:pt x="414" y="484"/>
                    <a:pt x="414" y="484"/>
                  </a:cubicBezTo>
                  <a:cubicBezTo>
                    <a:pt x="414" y="482"/>
                    <a:pt x="414" y="482"/>
                    <a:pt x="414" y="482"/>
                  </a:cubicBezTo>
                  <a:cubicBezTo>
                    <a:pt x="414" y="482"/>
                    <a:pt x="414" y="481"/>
                    <a:pt x="414" y="481"/>
                  </a:cubicBezTo>
                  <a:cubicBezTo>
                    <a:pt x="414" y="481"/>
                    <a:pt x="415" y="481"/>
                    <a:pt x="415" y="481"/>
                  </a:cubicBezTo>
                  <a:cubicBezTo>
                    <a:pt x="416" y="481"/>
                    <a:pt x="417" y="481"/>
                    <a:pt x="417" y="482"/>
                  </a:cubicBezTo>
                  <a:cubicBezTo>
                    <a:pt x="418" y="482"/>
                    <a:pt x="419" y="482"/>
                    <a:pt x="420" y="482"/>
                  </a:cubicBezTo>
                  <a:cubicBezTo>
                    <a:pt x="424" y="482"/>
                    <a:pt x="428" y="481"/>
                    <a:pt x="431" y="480"/>
                  </a:cubicBezTo>
                  <a:cubicBezTo>
                    <a:pt x="436" y="478"/>
                    <a:pt x="438" y="474"/>
                    <a:pt x="440" y="471"/>
                  </a:cubicBezTo>
                  <a:cubicBezTo>
                    <a:pt x="441" y="470"/>
                    <a:pt x="441" y="470"/>
                    <a:pt x="441" y="470"/>
                  </a:cubicBezTo>
                  <a:cubicBezTo>
                    <a:pt x="441" y="469"/>
                    <a:pt x="441" y="469"/>
                    <a:pt x="442" y="468"/>
                  </a:cubicBezTo>
                  <a:cubicBezTo>
                    <a:pt x="442" y="467"/>
                    <a:pt x="443" y="466"/>
                    <a:pt x="444" y="465"/>
                  </a:cubicBezTo>
                  <a:cubicBezTo>
                    <a:pt x="444" y="464"/>
                    <a:pt x="444" y="464"/>
                    <a:pt x="444" y="464"/>
                  </a:cubicBezTo>
                  <a:cubicBezTo>
                    <a:pt x="445" y="463"/>
                    <a:pt x="445" y="462"/>
                    <a:pt x="445" y="461"/>
                  </a:cubicBezTo>
                  <a:cubicBezTo>
                    <a:pt x="446" y="461"/>
                    <a:pt x="446" y="460"/>
                    <a:pt x="447" y="459"/>
                  </a:cubicBezTo>
                  <a:cubicBezTo>
                    <a:pt x="447" y="459"/>
                    <a:pt x="447" y="458"/>
                    <a:pt x="448" y="457"/>
                  </a:cubicBezTo>
                  <a:cubicBezTo>
                    <a:pt x="448" y="457"/>
                    <a:pt x="448" y="457"/>
                    <a:pt x="449" y="456"/>
                  </a:cubicBezTo>
                  <a:cubicBezTo>
                    <a:pt x="449" y="456"/>
                    <a:pt x="450" y="455"/>
                    <a:pt x="450" y="454"/>
                  </a:cubicBezTo>
                  <a:cubicBezTo>
                    <a:pt x="452" y="452"/>
                    <a:pt x="452" y="449"/>
                    <a:pt x="451" y="445"/>
                  </a:cubicBezTo>
                  <a:cubicBezTo>
                    <a:pt x="451" y="442"/>
                    <a:pt x="449" y="439"/>
                    <a:pt x="446" y="436"/>
                  </a:cubicBezTo>
                  <a:cubicBezTo>
                    <a:pt x="442" y="430"/>
                    <a:pt x="435" y="427"/>
                    <a:pt x="427" y="427"/>
                  </a:cubicBezTo>
                  <a:cubicBezTo>
                    <a:pt x="416" y="427"/>
                    <a:pt x="403" y="433"/>
                    <a:pt x="397" y="437"/>
                  </a:cubicBezTo>
                  <a:cubicBezTo>
                    <a:pt x="380" y="446"/>
                    <a:pt x="367" y="460"/>
                    <a:pt x="357" y="471"/>
                  </a:cubicBezTo>
                  <a:cubicBezTo>
                    <a:pt x="347" y="482"/>
                    <a:pt x="339" y="493"/>
                    <a:pt x="333" y="504"/>
                  </a:cubicBezTo>
                  <a:cubicBezTo>
                    <a:pt x="332" y="506"/>
                    <a:pt x="332" y="506"/>
                    <a:pt x="332" y="506"/>
                  </a:cubicBezTo>
                  <a:cubicBezTo>
                    <a:pt x="330" y="510"/>
                    <a:pt x="327" y="515"/>
                    <a:pt x="326" y="520"/>
                  </a:cubicBezTo>
                  <a:cubicBezTo>
                    <a:pt x="324" y="527"/>
                    <a:pt x="322" y="533"/>
                    <a:pt x="319" y="540"/>
                  </a:cubicBezTo>
                  <a:cubicBezTo>
                    <a:pt x="317" y="543"/>
                    <a:pt x="316" y="546"/>
                    <a:pt x="315" y="549"/>
                  </a:cubicBezTo>
                  <a:cubicBezTo>
                    <a:pt x="314" y="554"/>
                    <a:pt x="312" y="558"/>
                    <a:pt x="309" y="562"/>
                  </a:cubicBezTo>
                  <a:cubicBezTo>
                    <a:pt x="309" y="562"/>
                    <a:pt x="309" y="562"/>
                    <a:pt x="309" y="562"/>
                  </a:cubicBezTo>
                  <a:cubicBezTo>
                    <a:pt x="308" y="563"/>
                    <a:pt x="307" y="565"/>
                    <a:pt x="306" y="565"/>
                  </a:cubicBezTo>
                  <a:cubicBezTo>
                    <a:pt x="306" y="566"/>
                    <a:pt x="305" y="566"/>
                    <a:pt x="305" y="566"/>
                  </a:cubicBezTo>
                  <a:cubicBezTo>
                    <a:pt x="303" y="567"/>
                    <a:pt x="302" y="567"/>
                    <a:pt x="301" y="568"/>
                  </a:cubicBezTo>
                  <a:cubicBezTo>
                    <a:pt x="301" y="568"/>
                    <a:pt x="301" y="568"/>
                    <a:pt x="302" y="567"/>
                  </a:cubicBezTo>
                  <a:cubicBezTo>
                    <a:pt x="302" y="567"/>
                    <a:pt x="302" y="566"/>
                    <a:pt x="303" y="566"/>
                  </a:cubicBezTo>
                  <a:cubicBezTo>
                    <a:pt x="303" y="565"/>
                    <a:pt x="303" y="564"/>
                    <a:pt x="304" y="564"/>
                  </a:cubicBezTo>
                  <a:cubicBezTo>
                    <a:pt x="305" y="563"/>
                    <a:pt x="308" y="562"/>
                    <a:pt x="308" y="558"/>
                  </a:cubicBezTo>
                  <a:cubicBezTo>
                    <a:pt x="308" y="557"/>
                    <a:pt x="308" y="556"/>
                    <a:pt x="308" y="554"/>
                  </a:cubicBezTo>
                  <a:cubicBezTo>
                    <a:pt x="308" y="553"/>
                    <a:pt x="308" y="551"/>
                    <a:pt x="308" y="550"/>
                  </a:cubicBezTo>
                  <a:cubicBezTo>
                    <a:pt x="308" y="549"/>
                    <a:pt x="309" y="548"/>
                    <a:pt x="309" y="547"/>
                  </a:cubicBezTo>
                  <a:cubicBezTo>
                    <a:pt x="310" y="545"/>
                    <a:pt x="310" y="543"/>
                    <a:pt x="311" y="541"/>
                  </a:cubicBezTo>
                  <a:cubicBezTo>
                    <a:pt x="312" y="540"/>
                    <a:pt x="312" y="539"/>
                    <a:pt x="312" y="539"/>
                  </a:cubicBezTo>
                  <a:cubicBezTo>
                    <a:pt x="313" y="538"/>
                    <a:pt x="313" y="537"/>
                    <a:pt x="314" y="536"/>
                  </a:cubicBezTo>
                  <a:cubicBezTo>
                    <a:pt x="314" y="536"/>
                    <a:pt x="314" y="536"/>
                    <a:pt x="314" y="536"/>
                  </a:cubicBezTo>
                  <a:cubicBezTo>
                    <a:pt x="315" y="536"/>
                    <a:pt x="316" y="535"/>
                    <a:pt x="316" y="535"/>
                  </a:cubicBezTo>
                  <a:cubicBezTo>
                    <a:pt x="317" y="534"/>
                    <a:pt x="317" y="533"/>
                    <a:pt x="318" y="532"/>
                  </a:cubicBezTo>
                  <a:cubicBezTo>
                    <a:pt x="318" y="532"/>
                    <a:pt x="318" y="532"/>
                    <a:pt x="318" y="532"/>
                  </a:cubicBezTo>
                  <a:cubicBezTo>
                    <a:pt x="320" y="527"/>
                    <a:pt x="320" y="523"/>
                    <a:pt x="321" y="519"/>
                  </a:cubicBezTo>
                  <a:cubicBezTo>
                    <a:pt x="321" y="517"/>
                    <a:pt x="321" y="514"/>
                    <a:pt x="322" y="512"/>
                  </a:cubicBezTo>
                  <a:cubicBezTo>
                    <a:pt x="322" y="510"/>
                    <a:pt x="323" y="509"/>
                    <a:pt x="324" y="507"/>
                  </a:cubicBezTo>
                  <a:cubicBezTo>
                    <a:pt x="325" y="507"/>
                    <a:pt x="325" y="506"/>
                    <a:pt x="325" y="505"/>
                  </a:cubicBezTo>
                  <a:cubicBezTo>
                    <a:pt x="328" y="502"/>
                    <a:pt x="328" y="497"/>
                    <a:pt x="328" y="493"/>
                  </a:cubicBezTo>
                  <a:cubicBezTo>
                    <a:pt x="328" y="491"/>
                    <a:pt x="328" y="489"/>
                    <a:pt x="329" y="486"/>
                  </a:cubicBezTo>
                  <a:cubicBezTo>
                    <a:pt x="331" y="479"/>
                    <a:pt x="335" y="473"/>
                    <a:pt x="339" y="468"/>
                  </a:cubicBezTo>
                  <a:cubicBezTo>
                    <a:pt x="340" y="466"/>
                    <a:pt x="342" y="464"/>
                    <a:pt x="344" y="462"/>
                  </a:cubicBezTo>
                  <a:cubicBezTo>
                    <a:pt x="346" y="460"/>
                    <a:pt x="348" y="458"/>
                    <a:pt x="350" y="457"/>
                  </a:cubicBezTo>
                  <a:cubicBezTo>
                    <a:pt x="352" y="455"/>
                    <a:pt x="354" y="453"/>
                    <a:pt x="356" y="452"/>
                  </a:cubicBezTo>
                  <a:cubicBezTo>
                    <a:pt x="357" y="451"/>
                    <a:pt x="358" y="450"/>
                    <a:pt x="360" y="449"/>
                  </a:cubicBezTo>
                  <a:cubicBezTo>
                    <a:pt x="361" y="449"/>
                    <a:pt x="364" y="447"/>
                    <a:pt x="365" y="444"/>
                  </a:cubicBezTo>
                  <a:cubicBezTo>
                    <a:pt x="365" y="443"/>
                    <a:pt x="365" y="442"/>
                    <a:pt x="365" y="441"/>
                  </a:cubicBezTo>
                  <a:cubicBezTo>
                    <a:pt x="365" y="441"/>
                    <a:pt x="365" y="441"/>
                    <a:pt x="365" y="440"/>
                  </a:cubicBezTo>
                  <a:cubicBezTo>
                    <a:pt x="365" y="439"/>
                    <a:pt x="365" y="437"/>
                    <a:pt x="365" y="435"/>
                  </a:cubicBezTo>
                  <a:cubicBezTo>
                    <a:pt x="365" y="433"/>
                    <a:pt x="365" y="431"/>
                    <a:pt x="365" y="429"/>
                  </a:cubicBezTo>
                  <a:cubicBezTo>
                    <a:pt x="365" y="426"/>
                    <a:pt x="365" y="423"/>
                    <a:pt x="366" y="420"/>
                  </a:cubicBezTo>
                  <a:cubicBezTo>
                    <a:pt x="367" y="416"/>
                    <a:pt x="369" y="413"/>
                    <a:pt x="372" y="411"/>
                  </a:cubicBezTo>
                  <a:cubicBezTo>
                    <a:pt x="373" y="410"/>
                    <a:pt x="373" y="410"/>
                    <a:pt x="373" y="410"/>
                  </a:cubicBezTo>
                  <a:cubicBezTo>
                    <a:pt x="373" y="409"/>
                    <a:pt x="374" y="408"/>
                    <a:pt x="375" y="408"/>
                  </a:cubicBezTo>
                  <a:cubicBezTo>
                    <a:pt x="377" y="407"/>
                    <a:pt x="379" y="407"/>
                    <a:pt x="381" y="406"/>
                  </a:cubicBezTo>
                  <a:cubicBezTo>
                    <a:pt x="383" y="404"/>
                    <a:pt x="385" y="403"/>
                    <a:pt x="388" y="401"/>
                  </a:cubicBezTo>
                  <a:cubicBezTo>
                    <a:pt x="389" y="400"/>
                    <a:pt x="389" y="400"/>
                    <a:pt x="389" y="400"/>
                  </a:cubicBezTo>
                  <a:cubicBezTo>
                    <a:pt x="391" y="399"/>
                    <a:pt x="393" y="398"/>
                    <a:pt x="395" y="397"/>
                  </a:cubicBezTo>
                  <a:cubicBezTo>
                    <a:pt x="396" y="395"/>
                    <a:pt x="396" y="395"/>
                    <a:pt x="397" y="395"/>
                  </a:cubicBezTo>
                  <a:cubicBezTo>
                    <a:pt x="401" y="394"/>
                    <a:pt x="405" y="393"/>
                    <a:pt x="409" y="392"/>
                  </a:cubicBezTo>
                  <a:cubicBezTo>
                    <a:pt x="410" y="391"/>
                    <a:pt x="411" y="391"/>
                    <a:pt x="412" y="390"/>
                  </a:cubicBezTo>
                  <a:cubicBezTo>
                    <a:pt x="413" y="390"/>
                    <a:pt x="413" y="390"/>
                    <a:pt x="414" y="389"/>
                  </a:cubicBezTo>
                  <a:cubicBezTo>
                    <a:pt x="415" y="389"/>
                    <a:pt x="415" y="389"/>
                    <a:pt x="416" y="388"/>
                  </a:cubicBezTo>
                  <a:cubicBezTo>
                    <a:pt x="417" y="388"/>
                    <a:pt x="418" y="388"/>
                    <a:pt x="418" y="387"/>
                  </a:cubicBezTo>
                  <a:cubicBezTo>
                    <a:pt x="419" y="387"/>
                    <a:pt x="420" y="387"/>
                    <a:pt x="421" y="387"/>
                  </a:cubicBezTo>
                  <a:cubicBezTo>
                    <a:pt x="422" y="387"/>
                    <a:pt x="422" y="387"/>
                    <a:pt x="422" y="387"/>
                  </a:cubicBezTo>
                  <a:cubicBezTo>
                    <a:pt x="423" y="386"/>
                    <a:pt x="424" y="386"/>
                    <a:pt x="426" y="386"/>
                  </a:cubicBezTo>
                  <a:cubicBezTo>
                    <a:pt x="428" y="385"/>
                    <a:pt x="429" y="384"/>
                    <a:pt x="431" y="383"/>
                  </a:cubicBezTo>
                  <a:cubicBezTo>
                    <a:pt x="431" y="383"/>
                    <a:pt x="432" y="383"/>
                    <a:pt x="432" y="382"/>
                  </a:cubicBezTo>
                  <a:cubicBezTo>
                    <a:pt x="433" y="382"/>
                    <a:pt x="434" y="383"/>
                    <a:pt x="435" y="383"/>
                  </a:cubicBezTo>
                  <a:cubicBezTo>
                    <a:pt x="435" y="383"/>
                    <a:pt x="436" y="383"/>
                    <a:pt x="436" y="383"/>
                  </a:cubicBezTo>
                  <a:cubicBezTo>
                    <a:pt x="439" y="383"/>
                    <a:pt x="442" y="381"/>
                    <a:pt x="444" y="380"/>
                  </a:cubicBezTo>
                  <a:cubicBezTo>
                    <a:pt x="445" y="380"/>
                    <a:pt x="447" y="379"/>
                    <a:pt x="449" y="377"/>
                  </a:cubicBezTo>
                  <a:cubicBezTo>
                    <a:pt x="449" y="377"/>
                    <a:pt x="450" y="376"/>
                    <a:pt x="450" y="376"/>
                  </a:cubicBezTo>
                  <a:cubicBezTo>
                    <a:pt x="450" y="376"/>
                    <a:pt x="450" y="375"/>
                    <a:pt x="451" y="375"/>
                  </a:cubicBezTo>
                  <a:cubicBezTo>
                    <a:pt x="451" y="375"/>
                    <a:pt x="451" y="375"/>
                    <a:pt x="452" y="375"/>
                  </a:cubicBezTo>
                  <a:cubicBezTo>
                    <a:pt x="453" y="375"/>
                    <a:pt x="453" y="375"/>
                    <a:pt x="454" y="375"/>
                  </a:cubicBezTo>
                  <a:cubicBezTo>
                    <a:pt x="455" y="374"/>
                    <a:pt x="455" y="374"/>
                    <a:pt x="456" y="374"/>
                  </a:cubicBezTo>
                  <a:cubicBezTo>
                    <a:pt x="457" y="373"/>
                    <a:pt x="458" y="373"/>
                    <a:pt x="459" y="373"/>
                  </a:cubicBezTo>
                  <a:cubicBezTo>
                    <a:pt x="460" y="372"/>
                    <a:pt x="461" y="372"/>
                    <a:pt x="463" y="371"/>
                  </a:cubicBezTo>
                  <a:cubicBezTo>
                    <a:pt x="463" y="371"/>
                    <a:pt x="464" y="371"/>
                    <a:pt x="464" y="370"/>
                  </a:cubicBezTo>
                  <a:cubicBezTo>
                    <a:pt x="465" y="370"/>
                    <a:pt x="465" y="370"/>
                    <a:pt x="466" y="370"/>
                  </a:cubicBezTo>
                  <a:cubicBezTo>
                    <a:pt x="467" y="370"/>
                    <a:pt x="468" y="369"/>
                    <a:pt x="469" y="369"/>
                  </a:cubicBezTo>
                  <a:cubicBezTo>
                    <a:pt x="469" y="369"/>
                    <a:pt x="470" y="368"/>
                    <a:pt x="471" y="368"/>
                  </a:cubicBezTo>
                  <a:cubicBezTo>
                    <a:pt x="472" y="368"/>
                    <a:pt x="472" y="368"/>
                    <a:pt x="472" y="368"/>
                  </a:cubicBezTo>
                  <a:cubicBezTo>
                    <a:pt x="473" y="367"/>
                    <a:pt x="474" y="367"/>
                    <a:pt x="475" y="366"/>
                  </a:cubicBezTo>
                  <a:cubicBezTo>
                    <a:pt x="476" y="366"/>
                    <a:pt x="476" y="365"/>
                    <a:pt x="477" y="365"/>
                  </a:cubicBezTo>
                  <a:cubicBezTo>
                    <a:pt x="477" y="365"/>
                    <a:pt x="477" y="365"/>
                    <a:pt x="477" y="365"/>
                  </a:cubicBezTo>
                  <a:cubicBezTo>
                    <a:pt x="478" y="365"/>
                    <a:pt x="479" y="365"/>
                    <a:pt x="480" y="366"/>
                  </a:cubicBezTo>
                  <a:cubicBezTo>
                    <a:pt x="481" y="366"/>
                    <a:pt x="482" y="366"/>
                    <a:pt x="484" y="366"/>
                  </a:cubicBezTo>
                  <a:cubicBezTo>
                    <a:pt x="485" y="366"/>
                    <a:pt x="486" y="366"/>
                    <a:pt x="486" y="366"/>
                  </a:cubicBezTo>
                  <a:cubicBezTo>
                    <a:pt x="489" y="365"/>
                    <a:pt x="491" y="363"/>
                    <a:pt x="492" y="361"/>
                  </a:cubicBezTo>
                  <a:cubicBezTo>
                    <a:pt x="493" y="361"/>
                    <a:pt x="493" y="361"/>
                    <a:pt x="493" y="361"/>
                  </a:cubicBezTo>
                  <a:cubicBezTo>
                    <a:pt x="495" y="359"/>
                    <a:pt x="497" y="357"/>
                    <a:pt x="499" y="356"/>
                  </a:cubicBezTo>
                  <a:cubicBezTo>
                    <a:pt x="499" y="356"/>
                    <a:pt x="500" y="356"/>
                    <a:pt x="501" y="355"/>
                  </a:cubicBezTo>
                  <a:cubicBezTo>
                    <a:pt x="502" y="355"/>
                    <a:pt x="503" y="355"/>
                    <a:pt x="504" y="354"/>
                  </a:cubicBezTo>
                  <a:cubicBezTo>
                    <a:pt x="505" y="353"/>
                    <a:pt x="506" y="352"/>
                    <a:pt x="507" y="351"/>
                  </a:cubicBezTo>
                  <a:cubicBezTo>
                    <a:pt x="508" y="350"/>
                    <a:pt x="510" y="349"/>
                    <a:pt x="511" y="349"/>
                  </a:cubicBezTo>
                  <a:cubicBezTo>
                    <a:pt x="512" y="348"/>
                    <a:pt x="513" y="348"/>
                    <a:pt x="514" y="348"/>
                  </a:cubicBezTo>
                  <a:cubicBezTo>
                    <a:pt x="516" y="348"/>
                    <a:pt x="517" y="348"/>
                    <a:pt x="519" y="348"/>
                  </a:cubicBezTo>
                  <a:cubicBezTo>
                    <a:pt x="523" y="346"/>
                    <a:pt x="523" y="343"/>
                    <a:pt x="524" y="341"/>
                  </a:cubicBezTo>
                  <a:cubicBezTo>
                    <a:pt x="524" y="341"/>
                    <a:pt x="524" y="339"/>
                    <a:pt x="524" y="338"/>
                  </a:cubicBezTo>
                  <a:cubicBezTo>
                    <a:pt x="524" y="337"/>
                    <a:pt x="524" y="336"/>
                    <a:pt x="524" y="335"/>
                  </a:cubicBezTo>
                  <a:cubicBezTo>
                    <a:pt x="525" y="332"/>
                    <a:pt x="526" y="329"/>
                    <a:pt x="527" y="326"/>
                  </a:cubicBezTo>
                  <a:cubicBezTo>
                    <a:pt x="528" y="323"/>
                    <a:pt x="529" y="321"/>
                    <a:pt x="530" y="318"/>
                  </a:cubicBezTo>
                  <a:cubicBezTo>
                    <a:pt x="531" y="315"/>
                    <a:pt x="532" y="313"/>
                    <a:pt x="532" y="311"/>
                  </a:cubicBezTo>
                  <a:cubicBezTo>
                    <a:pt x="532" y="309"/>
                    <a:pt x="532" y="309"/>
                    <a:pt x="532" y="309"/>
                  </a:cubicBezTo>
                  <a:cubicBezTo>
                    <a:pt x="533" y="308"/>
                    <a:pt x="533" y="307"/>
                    <a:pt x="533" y="306"/>
                  </a:cubicBezTo>
                  <a:cubicBezTo>
                    <a:pt x="534" y="305"/>
                    <a:pt x="534" y="304"/>
                    <a:pt x="534" y="303"/>
                  </a:cubicBezTo>
                  <a:cubicBezTo>
                    <a:pt x="535" y="301"/>
                    <a:pt x="535" y="300"/>
                    <a:pt x="535" y="298"/>
                  </a:cubicBezTo>
                  <a:cubicBezTo>
                    <a:pt x="535" y="297"/>
                    <a:pt x="536" y="296"/>
                    <a:pt x="536" y="295"/>
                  </a:cubicBezTo>
                  <a:cubicBezTo>
                    <a:pt x="536" y="295"/>
                    <a:pt x="536" y="294"/>
                    <a:pt x="536" y="293"/>
                  </a:cubicBezTo>
                  <a:cubicBezTo>
                    <a:pt x="536" y="291"/>
                    <a:pt x="537" y="290"/>
                    <a:pt x="538" y="289"/>
                  </a:cubicBezTo>
                  <a:cubicBezTo>
                    <a:pt x="539" y="288"/>
                    <a:pt x="540" y="287"/>
                    <a:pt x="541" y="287"/>
                  </a:cubicBezTo>
                  <a:cubicBezTo>
                    <a:pt x="544" y="286"/>
                    <a:pt x="545" y="283"/>
                    <a:pt x="547" y="281"/>
                  </a:cubicBezTo>
                  <a:cubicBezTo>
                    <a:pt x="547" y="281"/>
                    <a:pt x="547" y="280"/>
                    <a:pt x="547" y="280"/>
                  </a:cubicBezTo>
                  <a:cubicBezTo>
                    <a:pt x="549" y="277"/>
                    <a:pt x="551" y="274"/>
                    <a:pt x="553" y="272"/>
                  </a:cubicBezTo>
                  <a:cubicBezTo>
                    <a:pt x="555" y="270"/>
                    <a:pt x="557" y="269"/>
                    <a:pt x="559" y="267"/>
                  </a:cubicBezTo>
                  <a:cubicBezTo>
                    <a:pt x="562" y="266"/>
                    <a:pt x="562" y="266"/>
                    <a:pt x="562" y="266"/>
                  </a:cubicBezTo>
                  <a:lnTo>
                    <a:pt x="551" y="246"/>
                  </a:ln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oneywell Sans"/>
                <a:ea typeface="+mn-ea"/>
                <a:cs typeface="+mn-cs"/>
              </a:endParaRPr>
            </a:p>
          </p:txBody>
        </p:sp>
        <p:sp>
          <p:nvSpPr>
            <p:cNvPr id="381" name="Shape 1402">
              <a:extLst>
                <a:ext uri="{FF2B5EF4-FFF2-40B4-BE49-F238E27FC236}">
                  <a16:creationId xmlns:a16="http://schemas.microsoft.com/office/drawing/2014/main" id="{18D6A7F8-D149-AFD4-9D64-10C65F44A1E4}"/>
                </a:ext>
              </a:extLst>
            </p:cNvPr>
            <p:cNvSpPr/>
            <p:nvPr/>
          </p:nvSpPr>
          <p:spPr>
            <a:xfrm>
              <a:off x="11231468" y="3566775"/>
              <a:ext cx="252851" cy="447434"/>
            </a:xfrm>
            <a:custGeom>
              <a:avLst/>
              <a:gdLst/>
              <a:ahLst/>
              <a:cxnLst/>
              <a:rect l="0" t="0" r="0" b="0"/>
              <a:pathLst>
                <a:path w="120000" h="120000" extrusionOk="0">
                  <a:moveTo>
                    <a:pt x="33846" y="120000"/>
                  </a:moveTo>
                  <a:lnTo>
                    <a:pt x="33846" y="118716"/>
                  </a:lnTo>
                  <a:lnTo>
                    <a:pt x="34871" y="116791"/>
                  </a:lnTo>
                  <a:lnTo>
                    <a:pt x="34871" y="116149"/>
                  </a:lnTo>
                  <a:lnTo>
                    <a:pt x="34871" y="114224"/>
                  </a:lnTo>
                  <a:lnTo>
                    <a:pt x="34871" y="112941"/>
                  </a:lnTo>
                  <a:lnTo>
                    <a:pt x="35897" y="111657"/>
                  </a:lnTo>
                  <a:lnTo>
                    <a:pt x="37948" y="111657"/>
                  </a:lnTo>
                  <a:lnTo>
                    <a:pt x="37948" y="109732"/>
                  </a:lnTo>
                  <a:lnTo>
                    <a:pt x="38974" y="108449"/>
                  </a:lnTo>
                  <a:lnTo>
                    <a:pt x="38974" y="106524"/>
                  </a:lnTo>
                  <a:lnTo>
                    <a:pt x="41025" y="106524"/>
                  </a:lnTo>
                  <a:lnTo>
                    <a:pt x="42051" y="106524"/>
                  </a:lnTo>
                  <a:lnTo>
                    <a:pt x="45128" y="106524"/>
                  </a:lnTo>
                  <a:lnTo>
                    <a:pt x="45128" y="103315"/>
                  </a:lnTo>
                  <a:lnTo>
                    <a:pt x="42051" y="103315"/>
                  </a:lnTo>
                  <a:lnTo>
                    <a:pt x="41025" y="103315"/>
                  </a:lnTo>
                  <a:lnTo>
                    <a:pt x="41025" y="102032"/>
                  </a:lnTo>
                  <a:lnTo>
                    <a:pt x="41025" y="101390"/>
                  </a:lnTo>
                  <a:lnTo>
                    <a:pt x="43076" y="100106"/>
                  </a:lnTo>
                  <a:lnTo>
                    <a:pt x="43076" y="99465"/>
                  </a:lnTo>
                  <a:lnTo>
                    <a:pt x="45128" y="98181"/>
                  </a:lnTo>
                  <a:lnTo>
                    <a:pt x="46153" y="98823"/>
                  </a:lnTo>
                  <a:lnTo>
                    <a:pt x="46153" y="99465"/>
                  </a:lnTo>
                  <a:lnTo>
                    <a:pt x="48205" y="98823"/>
                  </a:lnTo>
                  <a:lnTo>
                    <a:pt x="49230" y="98181"/>
                  </a:lnTo>
                  <a:lnTo>
                    <a:pt x="49230" y="96256"/>
                  </a:lnTo>
                  <a:lnTo>
                    <a:pt x="51282" y="97540"/>
                  </a:lnTo>
                  <a:lnTo>
                    <a:pt x="52307" y="98181"/>
                  </a:lnTo>
                  <a:lnTo>
                    <a:pt x="53333" y="98181"/>
                  </a:lnTo>
                  <a:lnTo>
                    <a:pt x="53333" y="96256"/>
                  </a:lnTo>
                  <a:lnTo>
                    <a:pt x="53333" y="95614"/>
                  </a:lnTo>
                  <a:lnTo>
                    <a:pt x="52307" y="95614"/>
                  </a:lnTo>
                  <a:lnTo>
                    <a:pt x="51282" y="94331"/>
                  </a:lnTo>
                  <a:lnTo>
                    <a:pt x="55384" y="94331"/>
                  </a:lnTo>
                  <a:lnTo>
                    <a:pt x="57435" y="94973"/>
                  </a:lnTo>
                  <a:lnTo>
                    <a:pt x="60512" y="94331"/>
                  </a:lnTo>
                  <a:lnTo>
                    <a:pt x="61538" y="92406"/>
                  </a:lnTo>
                  <a:lnTo>
                    <a:pt x="60512" y="89197"/>
                  </a:lnTo>
                  <a:lnTo>
                    <a:pt x="62564" y="89197"/>
                  </a:lnTo>
                  <a:lnTo>
                    <a:pt x="65641" y="91122"/>
                  </a:lnTo>
                  <a:lnTo>
                    <a:pt x="68717" y="90481"/>
                  </a:lnTo>
                  <a:lnTo>
                    <a:pt x="69743" y="89197"/>
                  </a:lnTo>
                  <a:lnTo>
                    <a:pt x="70769" y="86631"/>
                  </a:lnTo>
                  <a:lnTo>
                    <a:pt x="69743" y="84705"/>
                  </a:lnTo>
                  <a:lnTo>
                    <a:pt x="70769" y="82139"/>
                  </a:lnTo>
                  <a:lnTo>
                    <a:pt x="70769" y="80855"/>
                  </a:lnTo>
                  <a:lnTo>
                    <a:pt x="69743" y="78930"/>
                  </a:lnTo>
                  <a:lnTo>
                    <a:pt x="69743" y="77647"/>
                  </a:lnTo>
                  <a:lnTo>
                    <a:pt x="70769" y="75721"/>
                  </a:lnTo>
                  <a:lnTo>
                    <a:pt x="70769" y="74438"/>
                  </a:lnTo>
                  <a:lnTo>
                    <a:pt x="74871" y="77005"/>
                  </a:lnTo>
                  <a:lnTo>
                    <a:pt x="75897" y="78288"/>
                  </a:lnTo>
                  <a:lnTo>
                    <a:pt x="81025" y="78288"/>
                  </a:lnTo>
                  <a:lnTo>
                    <a:pt x="81025" y="77005"/>
                  </a:lnTo>
                  <a:lnTo>
                    <a:pt x="81025" y="74438"/>
                  </a:lnTo>
                  <a:lnTo>
                    <a:pt x="83076" y="73796"/>
                  </a:lnTo>
                  <a:lnTo>
                    <a:pt x="86153" y="74438"/>
                  </a:lnTo>
                  <a:lnTo>
                    <a:pt x="86153" y="75721"/>
                  </a:lnTo>
                  <a:lnTo>
                    <a:pt x="86153" y="78288"/>
                  </a:lnTo>
                  <a:lnTo>
                    <a:pt x="89230" y="77647"/>
                  </a:lnTo>
                  <a:lnTo>
                    <a:pt x="92307" y="75721"/>
                  </a:lnTo>
                  <a:lnTo>
                    <a:pt x="90256" y="74438"/>
                  </a:lnTo>
                  <a:lnTo>
                    <a:pt x="88205" y="73155"/>
                  </a:lnTo>
                  <a:lnTo>
                    <a:pt x="88205" y="71871"/>
                  </a:lnTo>
                  <a:lnTo>
                    <a:pt x="89230" y="71229"/>
                  </a:lnTo>
                  <a:lnTo>
                    <a:pt x="92307" y="73155"/>
                  </a:lnTo>
                  <a:lnTo>
                    <a:pt x="95384" y="74438"/>
                  </a:lnTo>
                  <a:lnTo>
                    <a:pt x="97435" y="73796"/>
                  </a:lnTo>
                  <a:lnTo>
                    <a:pt x="96410" y="71229"/>
                  </a:lnTo>
                  <a:lnTo>
                    <a:pt x="97435" y="71229"/>
                  </a:lnTo>
                  <a:lnTo>
                    <a:pt x="99487" y="71229"/>
                  </a:lnTo>
                  <a:lnTo>
                    <a:pt x="99487" y="67379"/>
                  </a:lnTo>
                  <a:lnTo>
                    <a:pt x="103589" y="67379"/>
                  </a:lnTo>
                  <a:lnTo>
                    <a:pt x="105641" y="67379"/>
                  </a:lnTo>
                  <a:lnTo>
                    <a:pt x="106666" y="66737"/>
                  </a:lnTo>
                  <a:lnTo>
                    <a:pt x="106666" y="64812"/>
                  </a:lnTo>
                  <a:lnTo>
                    <a:pt x="108717" y="64812"/>
                  </a:lnTo>
                  <a:lnTo>
                    <a:pt x="109743" y="64171"/>
                  </a:lnTo>
                  <a:lnTo>
                    <a:pt x="112820" y="62245"/>
                  </a:lnTo>
                  <a:lnTo>
                    <a:pt x="116923" y="62245"/>
                  </a:lnTo>
                  <a:lnTo>
                    <a:pt x="118974" y="60962"/>
                  </a:lnTo>
                  <a:lnTo>
                    <a:pt x="120000" y="57112"/>
                  </a:lnTo>
                  <a:lnTo>
                    <a:pt x="118974" y="56470"/>
                  </a:lnTo>
                  <a:lnTo>
                    <a:pt x="117948" y="56470"/>
                  </a:lnTo>
                  <a:lnTo>
                    <a:pt x="115897" y="56470"/>
                  </a:lnTo>
                  <a:lnTo>
                    <a:pt x="114871" y="55187"/>
                  </a:lnTo>
                  <a:lnTo>
                    <a:pt x="116923" y="53903"/>
                  </a:lnTo>
                  <a:lnTo>
                    <a:pt x="116923" y="53262"/>
                  </a:lnTo>
                  <a:lnTo>
                    <a:pt x="114871" y="52620"/>
                  </a:lnTo>
                  <a:lnTo>
                    <a:pt x="112820" y="49411"/>
                  </a:lnTo>
                  <a:lnTo>
                    <a:pt x="108717" y="49411"/>
                  </a:lnTo>
                  <a:lnTo>
                    <a:pt x="106666" y="49411"/>
                  </a:lnTo>
                  <a:lnTo>
                    <a:pt x="104615" y="46844"/>
                  </a:lnTo>
                  <a:lnTo>
                    <a:pt x="103589" y="43636"/>
                  </a:lnTo>
                  <a:lnTo>
                    <a:pt x="103589" y="41069"/>
                  </a:lnTo>
                  <a:lnTo>
                    <a:pt x="102564" y="39144"/>
                  </a:lnTo>
                  <a:lnTo>
                    <a:pt x="99487" y="39786"/>
                  </a:lnTo>
                  <a:lnTo>
                    <a:pt x="97435" y="40427"/>
                  </a:lnTo>
                  <a:lnTo>
                    <a:pt x="93333" y="40427"/>
                  </a:lnTo>
                  <a:lnTo>
                    <a:pt x="89230" y="39144"/>
                  </a:lnTo>
                  <a:lnTo>
                    <a:pt x="86153" y="35935"/>
                  </a:lnTo>
                  <a:lnTo>
                    <a:pt x="85128" y="31443"/>
                  </a:lnTo>
                  <a:lnTo>
                    <a:pt x="81025" y="25668"/>
                  </a:lnTo>
                  <a:lnTo>
                    <a:pt x="78974" y="19893"/>
                  </a:lnTo>
                  <a:lnTo>
                    <a:pt x="76923" y="16684"/>
                  </a:lnTo>
                  <a:lnTo>
                    <a:pt x="74871" y="11550"/>
                  </a:lnTo>
                  <a:lnTo>
                    <a:pt x="72820" y="7058"/>
                  </a:lnTo>
                  <a:lnTo>
                    <a:pt x="70769" y="5133"/>
                  </a:lnTo>
                  <a:lnTo>
                    <a:pt x="57435" y="0"/>
                  </a:lnTo>
                  <a:lnTo>
                    <a:pt x="54358" y="1925"/>
                  </a:lnTo>
                  <a:lnTo>
                    <a:pt x="51282" y="4491"/>
                  </a:lnTo>
                  <a:lnTo>
                    <a:pt x="46153" y="7058"/>
                  </a:lnTo>
                  <a:lnTo>
                    <a:pt x="43076" y="7058"/>
                  </a:lnTo>
                  <a:lnTo>
                    <a:pt x="40000" y="5775"/>
                  </a:lnTo>
                  <a:lnTo>
                    <a:pt x="34871" y="3850"/>
                  </a:lnTo>
                  <a:lnTo>
                    <a:pt x="30769" y="3208"/>
                  </a:lnTo>
                  <a:lnTo>
                    <a:pt x="29743" y="3208"/>
                  </a:lnTo>
                  <a:lnTo>
                    <a:pt x="27692" y="4491"/>
                  </a:lnTo>
                  <a:lnTo>
                    <a:pt x="22564" y="14117"/>
                  </a:lnTo>
                  <a:lnTo>
                    <a:pt x="20512" y="21176"/>
                  </a:lnTo>
                  <a:lnTo>
                    <a:pt x="15384" y="28877"/>
                  </a:lnTo>
                  <a:lnTo>
                    <a:pt x="13333" y="34652"/>
                  </a:lnTo>
                  <a:lnTo>
                    <a:pt x="12307" y="41069"/>
                  </a:lnTo>
                  <a:lnTo>
                    <a:pt x="13333" y="44278"/>
                  </a:lnTo>
                  <a:lnTo>
                    <a:pt x="15384" y="45561"/>
                  </a:lnTo>
                  <a:lnTo>
                    <a:pt x="14358" y="46844"/>
                  </a:lnTo>
                  <a:lnTo>
                    <a:pt x="12307" y="48770"/>
                  </a:lnTo>
                  <a:lnTo>
                    <a:pt x="12307" y="52620"/>
                  </a:lnTo>
                  <a:lnTo>
                    <a:pt x="10256" y="55828"/>
                  </a:lnTo>
                  <a:lnTo>
                    <a:pt x="10256" y="60320"/>
                  </a:lnTo>
                  <a:lnTo>
                    <a:pt x="7179" y="60962"/>
                  </a:lnTo>
                  <a:lnTo>
                    <a:pt x="7179" y="64171"/>
                  </a:lnTo>
                  <a:lnTo>
                    <a:pt x="1025" y="64171"/>
                  </a:lnTo>
                  <a:lnTo>
                    <a:pt x="0" y="66096"/>
                  </a:lnTo>
                  <a:lnTo>
                    <a:pt x="23589" y="114224"/>
                  </a:lnTo>
                  <a:lnTo>
                    <a:pt x="33846" y="120000"/>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2" name="Shape 1403">
              <a:extLst>
                <a:ext uri="{FF2B5EF4-FFF2-40B4-BE49-F238E27FC236}">
                  <a16:creationId xmlns:a16="http://schemas.microsoft.com/office/drawing/2014/main" id="{8351C0FB-7198-C7B7-AC08-F29F6D9C9416}"/>
                </a:ext>
              </a:extLst>
            </p:cNvPr>
            <p:cNvSpPr/>
            <p:nvPr/>
          </p:nvSpPr>
          <p:spPr>
            <a:xfrm>
              <a:off x="10734202" y="3873041"/>
              <a:ext cx="534005" cy="425899"/>
            </a:xfrm>
            <a:custGeom>
              <a:avLst/>
              <a:gdLst/>
              <a:ahLst/>
              <a:cxnLst/>
              <a:rect l="0" t="0" r="0" b="0"/>
              <a:pathLst>
                <a:path w="120000" h="120000" extrusionOk="0">
                  <a:moveTo>
                    <a:pt x="0" y="98426"/>
                  </a:moveTo>
                  <a:lnTo>
                    <a:pt x="4958" y="91685"/>
                  </a:lnTo>
                  <a:lnTo>
                    <a:pt x="5950" y="89662"/>
                  </a:lnTo>
                  <a:lnTo>
                    <a:pt x="7933" y="86966"/>
                  </a:lnTo>
                  <a:lnTo>
                    <a:pt x="8925" y="85617"/>
                  </a:lnTo>
                  <a:lnTo>
                    <a:pt x="10909" y="83595"/>
                  </a:lnTo>
                  <a:lnTo>
                    <a:pt x="10909" y="81573"/>
                  </a:lnTo>
                  <a:lnTo>
                    <a:pt x="10909" y="80224"/>
                  </a:lnTo>
                  <a:lnTo>
                    <a:pt x="8429" y="73483"/>
                  </a:lnTo>
                  <a:lnTo>
                    <a:pt x="6942" y="68764"/>
                  </a:lnTo>
                  <a:lnTo>
                    <a:pt x="8925" y="66741"/>
                  </a:lnTo>
                  <a:lnTo>
                    <a:pt x="15371" y="64719"/>
                  </a:lnTo>
                  <a:lnTo>
                    <a:pt x="18842" y="64719"/>
                  </a:lnTo>
                  <a:lnTo>
                    <a:pt x="23305" y="64719"/>
                  </a:lnTo>
                  <a:lnTo>
                    <a:pt x="26280" y="64719"/>
                  </a:lnTo>
                  <a:lnTo>
                    <a:pt x="27768" y="64719"/>
                  </a:lnTo>
                  <a:lnTo>
                    <a:pt x="31239" y="62696"/>
                  </a:lnTo>
                  <a:lnTo>
                    <a:pt x="33223" y="62696"/>
                  </a:lnTo>
                  <a:lnTo>
                    <a:pt x="38181" y="60674"/>
                  </a:lnTo>
                  <a:lnTo>
                    <a:pt x="41157" y="55955"/>
                  </a:lnTo>
                  <a:lnTo>
                    <a:pt x="44132" y="53932"/>
                  </a:lnTo>
                  <a:lnTo>
                    <a:pt x="46115" y="51910"/>
                  </a:lnTo>
                  <a:lnTo>
                    <a:pt x="46115" y="50561"/>
                  </a:lnTo>
                  <a:lnTo>
                    <a:pt x="46115" y="47865"/>
                  </a:lnTo>
                  <a:lnTo>
                    <a:pt x="44132" y="44494"/>
                  </a:lnTo>
                  <a:lnTo>
                    <a:pt x="46115" y="42471"/>
                  </a:lnTo>
                  <a:lnTo>
                    <a:pt x="46611" y="39775"/>
                  </a:lnTo>
                  <a:lnTo>
                    <a:pt x="44132" y="41123"/>
                  </a:lnTo>
                  <a:lnTo>
                    <a:pt x="43140" y="39775"/>
                  </a:lnTo>
                  <a:lnTo>
                    <a:pt x="42148" y="37078"/>
                  </a:lnTo>
                  <a:lnTo>
                    <a:pt x="44628" y="34382"/>
                  </a:lnTo>
                  <a:lnTo>
                    <a:pt x="48595" y="29662"/>
                  </a:lnTo>
                  <a:lnTo>
                    <a:pt x="50082" y="25617"/>
                  </a:lnTo>
                  <a:lnTo>
                    <a:pt x="50578" y="22247"/>
                  </a:lnTo>
                  <a:lnTo>
                    <a:pt x="54545" y="15505"/>
                  </a:lnTo>
                  <a:lnTo>
                    <a:pt x="57520" y="10112"/>
                  </a:lnTo>
                  <a:lnTo>
                    <a:pt x="60991" y="6741"/>
                  </a:lnTo>
                  <a:lnTo>
                    <a:pt x="64462" y="5393"/>
                  </a:lnTo>
                  <a:lnTo>
                    <a:pt x="69917" y="3370"/>
                  </a:lnTo>
                  <a:lnTo>
                    <a:pt x="72892" y="1348"/>
                  </a:lnTo>
                  <a:lnTo>
                    <a:pt x="80826" y="0"/>
                  </a:lnTo>
                  <a:lnTo>
                    <a:pt x="80826" y="3370"/>
                  </a:lnTo>
                  <a:lnTo>
                    <a:pt x="80826" y="7415"/>
                  </a:lnTo>
                  <a:lnTo>
                    <a:pt x="81818" y="10786"/>
                  </a:lnTo>
                  <a:lnTo>
                    <a:pt x="83305" y="15505"/>
                  </a:lnTo>
                  <a:lnTo>
                    <a:pt x="84793" y="16179"/>
                  </a:lnTo>
                  <a:lnTo>
                    <a:pt x="86280" y="21573"/>
                  </a:lnTo>
                  <a:lnTo>
                    <a:pt x="84793" y="22921"/>
                  </a:lnTo>
                  <a:lnTo>
                    <a:pt x="84297" y="27640"/>
                  </a:lnTo>
                  <a:lnTo>
                    <a:pt x="86280" y="32359"/>
                  </a:lnTo>
                  <a:lnTo>
                    <a:pt x="87768" y="37752"/>
                  </a:lnTo>
                  <a:lnTo>
                    <a:pt x="89752" y="39775"/>
                  </a:lnTo>
                  <a:lnTo>
                    <a:pt x="90247" y="47191"/>
                  </a:lnTo>
                  <a:lnTo>
                    <a:pt x="91239" y="53258"/>
                  </a:lnTo>
                  <a:lnTo>
                    <a:pt x="93223" y="59325"/>
                  </a:lnTo>
                  <a:lnTo>
                    <a:pt x="93223" y="60000"/>
                  </a:lnTo>
                  <a:lnTo>
                    <a:pt x="93223" y="68764"/>
                  </a:lnTo>
                  <a:lnTo>
                    <a:pt x="93223" y="80898"/>
                  </a:lnTo>
                  <a:lnTo>
                    <a:pt x="95206" y="93707"/>
                  </a:lnTo>
                  <a:lnTo>
                    <a:pt x="95206" y="98426"/>
                  </a:lnTo>
                  <a:lnTo>
                    <a:pt x="97190" y="102471"/>
                  </a:lnTo>
                  <a:lnTo>
                    <a:pt x="95206" y="106516"/>
                  </a:lnTo>
                  <a:lnTo>
                    <a:pt x="95702" y="108539"/>
                  </a:lnTo>
                  <a:lnTo>
                    <a:pt x="92231" y="115280"/>
                  </a:lnTo>
                  <a:lnTo>
                    <a:pt x="95702" y="113258"/>
                  </a:lnTo>
                  <a:lnTo>
                    <a:pt x="98181" y="111910"/>
                  </a:lnTo>
                  <a:lnTo>
                    <a:pt x="101157" y="109213"/>
                  </a:lnTo>
                  <a:lnTo>
                    <a:pt x="102148" y="107865"/>
                  </a:lnTo>
                  <a:lnTo>
                    <a:pt x="105123" y="107191"/>
                  </a:lnTo>
                  <a:lnTo>
                    <a:pt x="107603" y="106516"/>
                  </a:lnTo>
                  <a:lnTo>
                    <a:pt x="108595" y="105168"/>
                  </a:lnTo>
                  <a:lnTo>
                    <a:pt x="111570" y="103146"/>
                  </a:lnTo>
                  <a:lnTo>
                    <a:pt x="114049" y="99101"/>
                  </a:lnTo>
                  <a:lnTo>
                    <a:pt x="111570" y="105842"/>
                  </a:lnTo>
                  <a:lnTo>
                    <a:pt x="114049" y="104494"/>
                  </a:lnTo>
                  <a:lnTo>
                    <a:pt x="115537" y="101797"/>
                  </a:lnTo>
                  <a:lnTo>
                    <a:pt x="117024" y="101123"/>
                  </a:lnTo>
                  <a:lnTo>
                    <a:pt x="119008" y="100449"/>
                  </a:lnTo>
                  <a:lnTo>
                    <a:pt x="120000" y="100449"/>
                  </a:lnTo>
                  <a:lnTo>
                    <a:pt x="115537" y="105842"/>
                  </a:lnTo>
                  <a:lnTo>
                    <a:pt x="111570" y="109887"/>
                  </a:lnTo>
                  <a:lnTo>
                    <a:pt x="108595" y="111910"/>
                  </a:lnTo>
                  <a:lnTo>
                    <a:pt x="106115" y="115280"/>
                  </a:lnTo>
                  <a:lnTo>
                    <a:pt x="102148" y="116629"/>
                  </a:lnTo>
                  <a:lnTo>
                    <a:pt x="97685" y="118651"/>
                  </a:lnTo>
                  <a:lnTo>
                    <a:pt x="93719" y="120000"/>
                  </a:lnTo>
                  <a:lnTo>
                    <a:pt x="91239" y="117977"/>
                  </a:lnTo>
                  <a:lnTo>
                    <a:pt x="90247" y="115280"/>
                  </a:lnTo>
                  <a:lnTo>
                    <a:pt x="90247" y="112584"/>
                  </a:lnTo>
                  <a:lnTo>
                    <a:pt x="89256" y="111235"/>
                  </a:lnTo>
                  <a:lnTo>
                    <a:pt x="82809" y="108539"/>
                  </a:lnTo>
                  <a:lnTo>
                    <a:pt x="76859" y="106516"/>
                  </a:lnTo>
                  <a:lnTo>
                    <a:pt x="77851" y="103146"/>
                  </a:lnTo>
                  <a:lnTo>
                    <a:pt x="76363" y="101797"/>
                  </a:lnTo>
                  <a:lnTo>
                    <a:pt x="74876" y="101797"/>
                  </a:lnTo>
                  <a:lnTo>
                    <a:pt x="73388" y="101123"/>
                  </a:lnTo>
                  <a:lnTo>
                    <a:pt x="71404" y="96404"/>
                  </a:lnTo>
                  <a:lnTo>
                    <a:pt x="69421" y="93033"/>
                  </a:lnTo>
                  <a:lnTo>
                    <a:pt x="65454" y="89662"/>
                  </a:lnTo>
                  <a:lnTo>
                    <a:pt x="991" y="105168"/>
                  </a:lnTo>
                  <a:lnTo>
                    <a:pt x="0" y="98426"/>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3" name="Shape 1404">
              <a:extLst>
                <a:ext uri="{FF2B5EF4-FFF2-40B4-BE49-F238E27FC236}">
                  <a16:creationId xmlns:a16="http://schemas.microsoft.com/office/drawing/2014/main" id="{A3ECEE3E-6756-2545-6103-FFCB44B9A716}"/>
                </a:ext>
              </a:extLst>
            </p:cNvPr>
            <p:cNvSpPr/>
            <p:nvPr/>
          </p:nvSpPr>
          <p:spPr>
            <a:xfrm>
              <a:off x="11097479" y="3844330"/>
              <a:ext cx="121023" cy="241663"/>
            </a:xfrm>
            <a:custGeom>
              <a:avLst/>
              <a:gdLst/>
              <a:ahLst/>
              <a:cxnLst/>
              <a:rect l="0" t="0" r="0" b="0"/>
              <a:pathLst>
                <a:path w="120000" h="120000" extrusionOk="0">
                  <a:moveTo>
                    <a:pt x="0" y="27326"/>
                  </a:moveTo>
                  <a:lnTo>
                    <a:pt x="4285" y="33267"/>
                  </a:lnTo>
                  <a:lnTo>
                    <a:pt x="10714" y="41584"/>
                  </a:lnTo>
                  <a:lnTo>
                    <a:pt x="17142" y="42772"/>
                  </a:lnTo>
                  <a:lnTo>
                    <a:pt x="23571" y="52277"/>
                  </a:lnTo>
                  <a:lnTo>
                    <a:pt x="17142" y="54653"/>
                  </a:lnTo>
                  <a:lnTo>
                    <a:pt x="14999" y="62970"/>
                  </a:lnTo>
                  <a:lnTo>
                    <a:pt x="23571" y="71287"/>
                  </a:lnTo>
                  <a:lnTo>
                    <a:pt x="29999" y="80792"/>
                  </a:lnTo>
                  <a:lnTo>
                    <a:pt x="38571" y="84356"/>
                  </a:lnTo>
                  <a:lnTo>
                    <a:pt x="40714" y="97425"/>
                  </a:lnTo>
                  <a:lnTo>
                    <a:pt x="44999" y="108118"/>
                  </a:lnTo>
                  <a:lnTo>
                    <a:pt x="53571" y="118811"/>
                  </a:lnTo>
                  <a:lnTo>
                    <a:pt x="53571" y="120000"/>
                  </a:lnTo>
                  <a:lnTo>
                    <a:pt x="100714" y="116435"/>
                  </a:lnTo>
                  <a:lnTo>
                    <a:pt x="96428" y="108118"/>
                  </a:lnTo>
                  <a:lnTo>
                    <a:pt x="98571" y="97425"/>
                  </a:lnTo>
                  <a:lnTo>
                    <a:pt x="96428" y="84356"/>
                  </a:lnTo>
                  <a:lnTo>
                    <a:pt x="94285" y="71287"/>
                  </a:lnTo>
                  <a:lnTo>
                    <a:pt x="100714" y="53465"/>
                  </a:lnTo>
                  <a:lnTo>
                    <a:pt x="100714" y="38019"/>
                  </a:lnTo>
                  <a:lnTo>
                    <a:pt x="119999" y="29702"/>
                  </a:lnTo>
                  <a:lnTo>
                    <a:pt x="119999" y="24950"/>
                  </a:lnTo>
                  <a:lnTo>
                    <a:pt x="113571" y="20198"/>
                  </a:lnTo>
                  <a:lnTo>
                    <a:pt x="113571" y="14257"/>
                  </a:lnTo>
                  <a:lnTo>
                    <a:pt x="113571" y="4752"/>
                  </a:lnTo>
                  <a:lnTo>
                    <a:pt x="107142" y="0"/>
                  </a:lnTo>
                  <a:lnTo>
                    <a:pt x="92142" y="2376"/>
                  </a:lnTo>
                  <a:lnTo>
                    <a:pt x="77142" y="4752"/>
                  </a:lnTo>
                  <a:lnTo>
                    <a:pt x="47142" y="7128"/>
                  </a:lnTo>
                  <a:lnTo>
                    <a:pt x="32142" y="9504"/>
                  </a:lnTo>
                  <a:lnTo>
                    <a:pt x="10714" y="14257"/>
                  </a:lnTo>
                  <a:lnTo>
                    <a:pt x="0" y="14257"/>
                  </a:lnTo>
                  <a:lnTo>
                    <a:pt x="0" y="20198"/>
                  </a:lnTo>
                  <a:lnTo>
                    <a:pt x="0" y="27326"/>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4" name="Shape 1405">
              <a:extLst>
                <a:ext uri="{FF2B5EF4-FFF2-40B4-BE49-F238E27FC236}">
                  <a16:creationId xmlns:a16="http://schemas.microsoft.com/office/drawing/2014/main" id="{C6CC918D-35F2-1C8A-9A80-F9D65DD1682E}"/>
                </a:ext>
              </a:extLst>
            </p:cNvPr>
            <p:cNvSpPr/>
            <p:nvPr/>
          </p:nvSpPr>
          <p:spPr>
            <a:xfrm>
              <a:off x="11192569" y="3813222"/>
              <a:ext cx="108056" cy="265588"/>
            </a:xfrm>
            <a:custGeom>
              <a:avLst/>
              <a:gdLst/>
              <a:ahLst/>
              <a:cxnLst/>
              <a:rect l="0" t="0" r="0" b="0"/>
              <a:pathLst>
                <a:path w="120000" h="120000" extrusionOk="0">
                  <a:moveTo>
                    <a:pt x="43200" y="0"/>
                  </a:moveTo>
                  <a:lnTo>
                    <a:pt x="33600" y="1081"/>
                  </a:lnTo>
                  <a:lnTo>
                    <a:pt x="21600" y="1081"/>
                  </a:lnTo>
                  <a:lnTo>
                    <a:pt x="21600" y="6486"/>
                  </a:lnTo>
                  <a:lnTo>
                    <a:pt x="19200" y="9729"/>
                  </a:lnTo>
                  <a:lnTo>
                    <a:pt x="14400" y="14054"/>
                  </a:lnTo>
                  <a:lnTo>
                    <a:pt x="21600" y="18378"/>
                  </a:lnTo>
                  <a:lnTo>
                    <a:pt x="21600" y="27027"/>
                  </a:lnTo>
                  <a:lnTo>
                    <a:pt x="21600" y="32432"/>
                  </a:lnTo>
                  <a:lnTo>
                    <a:pt x="28800" y="36756"/>
                  </a:lnTo>
                  <a:lnTo>
                    <a:pt x="28800" y="41081"/>
                  </a:lnTo>
                  <a:lnTo>
                    <a:pt x="7200" y="48648"/>
                  </a:lnTo>
                  <a:lnTo>
                    <a:pt x="7200" y="62702"/>
                  </a:lnTo>
                  <a:lnTo>
                    <a:pt x="0" y="78918"/>
                  </a:lnTo>
                  <a:lnTo>
                    <a:pt x="2400" y="90810"/>
                  </a:lnTo>
                  <a:lnTo>
                    <a:pt x="4800" y="102702"/>
                  </a:lnTo>
                  <a:lnTo>
                    <a:pt x="2400" y="112432"/>
                  </a:lnTo>
                  <a:lnTo>
                    <a:pt x="7200" y="120000"/>
                  </a:lnTo>
                  <a:lnTo>
                    <a:pt x="96000" y="110270"/>
                  </a:lnTo>
                  <a:lnTo>
                    <a:pt x="98400" y="104864"/>
                  </a:lnTo>
                  <a:lnTo>
                    <a:pt x="117600" y="101621"/>
                  </a:lnTo>
                  <a:lnTo>
                    <a:pt x="115200" y="98378"/>
                  </a:lnTo>
                  <a:lnTo>
                    <a:pt x="120000" y="89729"/>
                  </a:lnTo>
                  <a:lnTo>
                    <a:pt x="120000" y="89729"/>
                  </a:lnTo>
                  <a:lnTo>
                    <a:pt x="98400" y="81081"/>
                  </a:lnTo>
                  <a:lnTo>
                    <a:pt x="43200" y="0"/>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5" name="Shape 1406">
              <a:extLst>
                <a:ext uri="{FF2B5EF4-FFF2-40B4-BE49-F238E27FC236}">
                  <a16:creationId xmlns:a16="http://schemas.microsoft.com/office/drawing/2014/main" id="{BA1DF987-4629-213D-59E6-D77F9618B072}"/>
                </a:ext>
              </a:extLst>
            </p:cNvPr>
            <p:cNvSpPr/>
            <p:nvPr/>
          </p:nvSpPr>
          <p:spPr>
            <a:xfrm>
              <a:off x="11151507" y="4136238"/>
              <a:ext cx="121023" cy="122027"/>
            </a:xfrm>
            <a:custGeom>
              <a:avLst/>
              <a:gdLst/>
              <a:ahLst/>
              <a:cxnLst/>
              <a:rect l="0" t="0" r="0" b="0"/>
              <a:pathLst>
                <a:path w="120000" h="120000" extrusionOk="0">
                  <a:moveTo>
                    <a:pt x="8571" y="68235"/>
                  </a:moveTo>
                  <a:lnTo>
                    <a:pt x="8571" y="84705"/>
                  </a:lnTo>
                  <a:lnTo>
                    <a:pt x="17142" y="98823"/>
                  </a:lnTo>
                  <a:lnTo>
                    <a:pt x="8571" y="112941"/>
                  </a:lnTo>
                  <a:lnTo>
                    <a:pt x="10714" y="120000"/>
                  </a:lnTo>
                  <a:lnTo>
                    <a:pt x="19285" y="117647"/>
                  </a:lnTo>
                  <a:lnTo>
                    <a:pt x="27857" y="105882"/>
                  </a:lnTo>
                  <a:lnTo>
                    <a:pt x="32142" y="103529"/>
                  </a:lnTo>
                  <a:lnTo>
                    <a:pt x="42857" y="91764"/>
                  </a:lnTo>
                  <a:lnTo>
                    <a:pt x="53571" y="84705"/>
                  </a:lnTo>
                  <a:lnTo>
                    <a:pt x="70714" y="84705"/>
                  </a:lnTo>
                  <a:lnTo>
                    <a:pt x="79285" y="80000"/>
                  </a:lnTo>
                  <a:lnTo>
                    <a:pt x="83571" y="75294"/>
                  </a:lnTo>
                  <a:lnTo>
                    <a:pt x="94285" y="70588"/>
                  </a:lnTo>
                  <a:lnTo>
                    <a:pt x="104999" y="65882"/>
                  </a:lnTo>
                  <a:lnTo>
                    <a:pt x="117857" y="65882"/>
                  </a:lnTo>
                  <a:lnTo>
                    <a:pt x="119999" y="61176"/>
                  </a:lnTo>
                  <a:lnTo>
                    <a:pt x="107142" y="0"/>
                  </a:lnTo>
                  <a:lnTo>
                    <a:pt x="51428" y="11764"/>
                  </a:lnTo>
                  <a:lnTo>
                    <a:pt x="0" y="21176"/>
                  </a:lnTo>
                  <a:lnTo>
                    <a:pt x="0" y="23529"/>
                  </a:lnTo>
                  <a:lnTo>
                    <a:pt x="8571" y="68235"/>
                  </a:lnTo>
                  <a:close/>
                </a:path>
              </a:pathLst>
            </a:custGeom>
            <a:solidFill>
              <a:srgbClr val="92D05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6" name="Shape 1407">
              <a:extLst>
                <a:ext uri="{FF2B5EF4-FFF2-40B4-BE49-F238E27FC236}">
                  <a16:creationId xmlns:a16="http://schemas.microsoft.com/office/drawing/2014/main" id="{969C8B4E-5ADF-3B34-F5F7-31F6860DD0D6}"/>
                </a:ext>
              </a:extLst>
            </p:cNvPr>
            <p:cNvSpPr/>
            <p:nvPr/>
          </p:nvSpPr>
          <p:spPr>
            <a:xfrm>
              <a:off x="11259564" y="4124272"/>
              <a:ext cx="51867" cy="74173"/>
            </a:xfrm>
            <a:custGeom>
              <a:avLst/>
              <a:gdLst/>
              <a:ahLst/>
              <a:cxnLst/>
              <a:rect l="0" t="0" r="0" b="0"/>
              <a:pathLst>
                <a:path w="120000" h="120000" extrusionOk="0">
                  <a:moveTo>
                    <a:pt x="115000" y="58064"/>
                  </a:moveTo>
                  <a:lnTo>
                    <a:pt x="105000" y="50322"/>
                  </a:lnTo>
                  <a:lnTo>
                    <a:pt x="105000" y="46451"/>
                  </a:lnTo>
                  <a:lnTo>
                    <a:pt x="90000" y="42580"/>
                  </a:lnTo>
                  <a:lnTo>
                    <a:pt x="80000" y="38709"/>
                  </a:lnTo>
                  <a:lnTo>
                    <a:pt x="80000" y="27096"/>
                  </a:lnTo>
                  <a:lnTo>
                    <a:pt x="65000" y="19354"/>
                  </a:lnTo>
                  <a:lnTo>
                    <a:pt x="50000" y="0"/>
                  </a:lnTo>
                  <a:lnTo>
                    <a:pt x="0" y="19354"/>
                  </a:lnTo>
                  <a:lnTo>
                    <a:pt x="30000" y="120000"/>
                  </a:lnTo>
                  <a:lnTo>
                    <a:pt x="40000" y="112258"/>
                  </a:lnTo>
                  <a:lnTo>
                    <a:pt x="50000" y="108387"/>
                  </a:lnTo>
                  <a:lnTo>
                    <a:pt x="70000" y="100645"/>
                  </a:lnTo>
                  <a:lnTo>
                    <a:pt x="70000" y="89032"/>
                  </a:lnTo>
                  <a:lnTo>
                    <a:pt x="70000" y="85161"/>
                  </a:lnTo>
                  <a:lnTo>
                    <a:pt x="70000" y="77419"/>
                  </a:lnTo>
                  <a:lnTo>
                    <a:pt x="70000" y="65806"/>
                  </a:lnTo>
                  <a:lnTo>
                    <a:pt x="70000" y="58064"/>
                  </a:lnTo>
                  <a:lnTo>
                    <a:pt x="70000" y="54193"/>
                  </a:lnTo>
                  <a:lnTo>
                    <a:pt x="75000" y="50322"/>
                  </a:lnTo>
                  <a:lnTo>
                    <a:pt x="80000" y="50322"/>
                  </a:lnTo>
                  <a:lnTo>
                    <a:pt x="95000" y="54193"/>
                  </a:lnTo>
                  <a:lnTo>
                    <a:pt x="95000" y="61935"/>
                  </a:lnTo>
                  <a:lnTo>
                    <a:pt x="105000" y="77419"/>
                  </a:lnTo>
                  <a:lnTo>
                    <a:pt x="105000" y="81290"/>
                  </a:lnTo>
                  <a:lnTo>
                    <a:pt x="110000" y="85161"/>
                  </a:lnTo>
                  <a:lnTo>
                    <a:pt x="120000" y="81290"/>
                  </a:lnTo>
                  <a:lnTo>
                    <a:pt x="120000" y="77419"/>
                  </a:lnTo>
                  <a:lnTo>
                    <a:pt x="120000" y="73548"/>
                  </a:lnTo>
                  <a:lnTo>
                    <a:pt x="115000" y="58064"/>
                  </a:lnTo>
                  <a:close/>
                </a:path>
              </a:pathLst>
            </a:custGeom>
            <a:solidFill>
              <a:srgbClr val="92D05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7" name="Shape 1408">
              <a:extLst>
                <a:ext uri="{FF2B5EF4-FFF2-40B4-BE49-F238E27FC236}">
                  <a16:creationId xmlns:a16="http://schemas.microsoft.com/office/drawing/2014/main" id="{954B77AA-EDB9-331D-8C2A-68D2612A5614}"/>
                </a:ext>
              </a:extLst>
            </p:cNvPr>
            <p:cNvSpPr/>
            <p:nvPr/>
          </p:nvSpPr>
          <p:spPr>
            <a:xfrm>
              <a:off x="11151510" y="4038136"/>
              <a:ext cx="235560" cy="131599"/>
            </a:xfrm>
            <a:custGeom>
              <a:avLst/>
              <a:gdLst/>
              <a:ahLst/>
              <a:cxnLst/>
              <a:rect l="0" t="0" r="0" b="0"/>
              <a:pathLst>
                <a:path w="120000" h="120000" extrusionOk="0">
                  <a:moveTo>
                    <a:pt x="117798" y="76363"/>
                  </a:moveTo>
                  <a:lnTo>
                    <a:pt x="115596" y="69818"/>
                  </a:lnTo>
                  <a:lnTo>
                    <a:pt x="114495" y="67636"/>
                  </a:lnTo>
                  <a:lnTo>
                    <a:pt x="111192" y="63272"/>
                  </a:lnTo>
                  <a:lnTo>
                    <a:pt x="107889" y="58909"/>
                  </a:lnTo>
                  <a:lnTo>
                    <a:pt x="106788" y="54545"/>
                  </a:lnTo>
                  <a:lnTo>
                    <a:pt x="105688" y="58909"/>
                  </a:lnTo>
                  <a:lnTo>
                    <a:pt x="106788" y="63272"/>
                  </a:lnTo>
                  <a:lnTo>
                    <a:pt x="110091" y="69818"/>
                  </a:lnTo>
                  <a:lnTo>
                    <a:pt x="112293" y="76363"/>
                  </a:lnTo>
                  <a:lnTo>
                    <a:pt x="108990" y="78545"/>
                  </a:lnTo>
                  <a:lnTo>
                    <a:pt x="104587" y="78545"/>
                  </a:lnTo>
                  <a:lnTo>
                    <a:pt x="97981" y="85090"/>
                  </a:lnTo>
                  <a:lnTo>
                    <a:pt x="96880" y="80727"/>
                  </a:lnTo>
                  <a:lnTo>
                    <a:pt x="95779" y="78545"/>
                  </a:lnTo>
                  <a:lnTo>
                    <a:pt x="93577" y="76363"/>
                  </a:lnTo>
                  <a:lnTo>
                    <a:pt x="90275" y="72000"/>
                  </a:lnTo>
                  <a:lnTo>
                    <a:pt x="89174" y="69818"/>
                  </a:lnTo>
                  <a:lnTo>
                    <a:pt x="90275" y="65454"/>
                  </a:lnTo>
                  <a:lnTo>
                    <a:pt x="89174" y="58909"/>
                  </a:lnTo>
                  <a:lnTo>
                    <a:pt x="84770" y="52363"/>
                  </a:lnTo>
                  <a:lnTo>
                    <a:pt x="80366" y="48000"/>
                  </a:lnTo>
                  <a:lnTo>
                    <a:pt x="78165" y="48000"/>
                  </a:lnTo>
                  <a:lnTo>
                    <a:pt x="75963" y="48000"/>
                  </a:lnTo>
                  <a:lnTo>
                    <a:pt x="74862" y="43636"/>
                  </a:lnTo>
                  <a:lnTo>
                    <a:pt x="74862" y="34909"/>
                  </a:lnTo>
                  <a:lnTo>
                    <a:pt x="77064" y="30545"/>
                  </a:lnTo>
                  <a:lnTo>
                    <a:pt x="78165" y="28363"/>
                  </a:lnTo>
                  <a:lnTo>
                    <a:pt x="80366" y="24000"/>
                  </a:lnTo>
                  <a:lnTo>
                    <a:pt x="84770" y="19636"/>
                  </a:lnTo>
                  <a:lnTo>
                    <a:pt x="84770" y="17454"/>
                  </a:lnTo>
                  <a:lnTo>
                    <a:pt x="83669" y="13090"/>
                  </a:lnTo>
                  <a:lnTo>
                    <a:pt x="80366" y="13090"/>
                  </a:lnTo>
                  <a:lnTo>
                    <a:pt x="78165" y="13090"/>
                  </a:lnTo>
                  <a:lnTo>
                    <a:pt x="77064" y="6545"/>
                  </a:lnTo>
                  <a:lnTo>
                    <a:pt x="74862" y="0"/>
                  </a:lnTo>
                  <a:lnTo>
                    <a:pt x="66055" y="6545"/>
                  </a:lnTo>
                  <a:lnTo>
                    <a:pt x="64954" y="17454"/>
                  </a:lnTo>
                  <a:lnTo>
                    <a:pt x="24220" y="37090"/>
                  </a:lnTo>
                  <a:lnTo>
                    <a:pt x="0" y="43636"/>
                  </a:lnTo>
                  <a:lnTo>
                    <a:pt x="0" y="72000"/>
                  </a:lnTo>
                  <a:lnTo>
                    <a:pt x="0" y="109090"/>
                  </a:lnTo>
                  <a:lnTo>
                    <a:pt x="26422" y="100363"/>
                  </a:lnTo>
                  <a:lnTo>
                    <a:pt x="55045" y="89454"/>
                  </a:lnTo>
                  <a:lnTo>
                    <a:pt x="66055" y="78545"/>
                  </a:lnTo>
                  <a:lnTo>
                    <a:pt x="69357" y="89454"/>
                  </a:lnTo>
                  <a:lnTo>
                    <a:pt x="72660" y="93818"/>
                  </a:lnTo>
                  <a:lnTo>
                    <a:pt x="72660" y="100363"/>
                  </a:lnTo>
                  <a:lnTo>
                    <a:pt x="74862" y="102545"/>
                  </a:lnTo>
                  <a:lnTo>
                    <a:pt x="78165" y="104727"/>
                  </a:lnTo>
                  <a:lnTo>
                    <a:pt x="78165" y="106909"/>
                  </a:lnTo>
                  <a:lnTo>
                    <a:pt x="80366" y="111272"/>
                  </a:lnTo>
                  <a:lnTo>
                    <a:pt x="81467" y="120000"/>
                  </a:lnTo>
                  <a:lnTo>
                    <a:pt x="81467" y="120000"/>
                  </a:lnTo>
                  <a:lnTo>
                    <a:pt x="83669" y="120000"/>
                  </a:lnTo>
                  <a:lnTo>
                    <a:pt x="84770" y="120000"/>
                  </a:lnTo>
                  <a:lnTo>
                    <a:pt x="86972" y="115636"/>
                  </a:lnTo>
                  <a:lnTo>
                    <a:pt x="86972" y="106909"/>
                  </a:lnTo>
                  <a:lnTo>
                    <a:pt x="90275" y="102545"/>
                  </a:lnTo>
                  <a:lnTo>
                    <a:pt x="90275" y="98181"/>
                  </a:lnTo>
                  <a:lnTo>
                    <a:pt x="93577" y="93818"/>
                  </a:lnTo>
                  <a:lnTo>
                    <a:pt x="94678" y="100363"/>
                  </a:lnTo>
                  <a:lnTo>
                    <a:pt x="95779" y="106909"/>
                  </a:lnTo>
                  <a:lnTo>
                    <a:pt x="95779" y="111272"/>
                  </a:lnTo>
                  <a:lnTo>
                    <a:pt x="99082" y="106909"/>
                  </a:lnTo>
                  <a:lnTo>
                    <a:pt x="101284" y="102545"/>
                  </a:lnTo>
                  <a:lnTo>
                    <a:pt x="101284" y="98181"/>
                  </a:lnTo>
                  <a:lnTo>
                    <a:pt x="103486" y="98181"/>
                  </a:lnTo>
                  <a:lnTo>
                    <a:pt x="106788" y="93818"/>
                  </a:lnTo>
                  <a:lnTo>
                    <a:pt x="111192" y="93818"/>
                  </a:lnTo>
                  <a:lnTo>
                    <a:pt x="113394" y="89454"/>
                  </a:lnTo>
                  <a:lnTo>
                    <a:pt x="116697" y="87272"/>
                  </a:lnTo>
                  <a:lnTo>
                    <a:pt x="118899" y="82909"/>
                  </a:lnTo>
                  <a:lnTo>
                    <a:pt x="120000" y="78545"/>
                  </a:lnTo>
                  <a:lnTo>
                    <a:pt x="117798" y="76363"/>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8" name="Shape 1409">
              <a:extLst>
                <a:ext uri="{FF2B5EF4-FFF2-40B4-BE49-F238E27FC236}">
                  <a16:creationId xmlns:a16="http://schemas.microsoft.com/office/drawing/2014/main" id="{72F972E7-011D-4A3B-73F0-302CEC0509AD}"/>
                </a:ext>
              </a:extLst>
            </p:cNvPr>
            <p:cNvSpPr/>
            <p:nvPr/>
          </p:nvSpPr>
          <p:spPr>
            <a:xfrm>
              <a:off x="11333043" y="4160165"/>
              <a:ext cx="21609" cy="16750"/>
            </a:xfrm>
            <a:custGeom>
              <a:avLst/>
              <a:gdLst/>
              <a:ahLst/>
              <a:cxnLst/>
              <a:rect l="0" t="0" r="0" b="0"/>
              <a:pathLst>
                <a:path w="120000" h="120000" extrusionOk="0">
                  <a:moveTo>
                    <a:pt x="30000" y="120000"/>
                  </a:moveTo>
                  <a:cubicBezTo>
                    <a:pt x="70000" y="120000"/>
                    <a:pt x="70000" y="120000"/>
                    <a:pt x="70000" y="120000"/>
                  </a:cubicBezTo>
                  <a:cubicBezTo>
                    <a:pt x="100000" y="80000"/>
                    <a:pt x="100000" y="80000"/>
                    <a:pt x="100000" y="80000"/>
                  </a:cubicBezTo>
                  <a:cubicBezTo>
                    <a:pt x="120000" y="53333"/>
                    <a:pt x="120000" y="53333"/>
                    <a:pt x="120000" y="53333"/>
                  </a:cubicBezTo>
                  <a:cubicBezTo>
                    <a:pt x="80000" y="26666"/>
                    <a:pt x="80000" y="26666"/>
                    <a:pt x="80000" y="26666"/>
                  </a:cubicBezTo>
                  <a:cubicBezTo>
                    <a:pt x="80000" y="26666"/>
                    <a:pt x="50000" y="0"/>
                    <a:pt x="40000" y="13333"/>
                  </a:cubicBezTo>
                  <a:cubicBezTo>
                    <a:pt x="40000" y="26666"/>
                    <a:pt x="0" y="93333"/>
                    <a:pt x="0" y="93333"/>
                  </a:cubicBezTo>
                  <a:lnTo>
                    <a:pt x="30000" y="120000"/>
                  </a:lnTo>
                  <a:close/>
                </a:path>
              </a:pathLst>
            </a:custGeom>
            <a:solidFill>
              <a:srgbClr val="92D05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389" name="Shape 1410">
              <a:extLst>
                <a:ext uri="{FF2B5EF4-FFF2-40B4-BE49-F238E27FC236}">
                  <a16:creationId xmlns:a16="http://schemas.microsoft.com/office/drawing/2014/main" id="{B6B02434-FD77-43BA-9C44-726518257324}"/>
                </a:ext>
              </a:extLst>
            </p:cNvPr>
            <p:cNvSpPr/>
            <p:nvPr/>
          </p:nvSpPr>
          <p:spPr>
            <a:xfrm>
              <a:off x="11060743" y="4251087"/>
              <a:ext cx="90765" cy="224913"/>
            </a:xfrm>
            <a:custGeom>
              <a:avLst/>
              <a:gdLst/>
              <a:ahLst/>
              <a:cxnLst/>
              <a:rect l="0" t="0" r="0" b="0"/>
              <a:pathLst>
                <a:path w="120000" h="120000" extrusionOk="0">
                  <a:moveTo>
                    <a:pt x="102857" y="16595"/>
                  </a:moveTo>
                  <a:lnTo>
                    <a:pt x="102857" y="11489"/>
                  </a:lnTo>
                  <a:lnTo>
                    <a:pt x="97142" y="8936"/>
                  </a:lnTo>
                  <a:lnTo>
                    <a:pt x="60000" y="3829"/>
                  </a:lnTo>
                  <a:lnTo>
                    <a:pt x="25714" y="0"/>
                  </a:lnTo>
                  <a:lnTo>
                    <a:pt x="22857" y="3829"/>
                  </a:lnTo>
                  <a:lnTo>
                    <a:pt x="17142" y="8936"/>
                  </a:lnTo>
                  <a:lnTo>
                    <a:pt x="8571" y="11489"/>
                  </a:lnTo>
                  <a:lnTo>
                    <a:pt x="5714" y="17872"/>
                  </a:lnTo>
                  <a:lnTo>
                    <a:pt x="8571" y="25531"/>
                  </a:lnTo>
                  <a:lnTo>
                    <a:pt x="8571" y="31914"/>
                  </a:lnTo>
                  <a:lnTo>
                    <a:pt x="5714" y="38297"/>
                  </a:lnTo>
                  <a:lnTo>
                    <a:pt x="14285" y="40851"/>
                  </a:lnTo>
                  <a:lnTo>
                    <a:pt x="25714" y="43404"/>
                  </a:lnTo>
                  <a:lnTo>
                    <a:pt x="31428" y="48510"/>
                  </a:lnTo>
                  <a:lnTo>
                    <a:pt x="42857" y="53617"/>
                  </a:lnTo>
                  <a:lnTo>
                    <a:pt x="57142" y="58723"/>
                  </a:lnTo>
                  <a:lnTo>
                    <a:pt x="57142" y="60000"/>
                  </a:lnTo>
                  <a:lnTo>
                    <a:pt x="51428" y="67659"/>
                  </a:lnTo>
                  <a:lnTo>
                    <a:pt x="28571" y="74042"/>
                  </a:lnTo>
                  <a:lnTo>
                    <a:pt x="8571" y="81702"/>
                  </a:lnTo>
                  <a:lnTo>
                    <a:pt x="5714" y="85531"/>
                  </a:lnTo>
                  <a:lnTo>
                    <a:pt x="0" y="91914"/>
                  </a:lnTo>
                  <a:lnTo>
                    <a:pt x="2857" y="95744"/>
                  </a:lnTo>
                  <a:lnTo>
                    <a:pt x="8571" y="100851"/>
                  </a:lnTo>
                  <a:lnTo>
                    <a:pt x="22857" y="105957"/>
                  </a:lnTo>
                  <a:lnTo>
                    <a:pt x="34285" y="108510"/>
                  </a:lnTo>
                  <a:lnTo>
                    <a:pt x="42857" y="109787"/>
                  </a:lnTo>
                  <a:lnTo>
                    <a:pt x="57142" y="109787"/>
                  </a:lnTo>
                  <a:lnTo>
                    <a:pt x="68571" y="109787"/>
                  </a:lnTo>
                  <a:lnTo>
                    <a:pt x="71428" y="109787"/>
                  </a:lnTo>
                  <a:lnTo>
                    <a:pt x="68571" y="114893"/>
                  </a:lnTo>
                  <a:lnTo>
                    <a:pt x="68571" y="118723"/>
                  </a:lnTo>
                  <a:lnTo>
                    <a:pt x="71428" y="120000"/>
                  </a:lnTo>
                  <a:lnTo>
                    <a:pt x="74285" y="120000"/>
                  </a:lnTo>
                  <a:lnTo>
                    <a:pt x="77142" y="111063"/>
                  </a:lnTo>
                  <a:lnTo>
                    <a:pt x="80000" y="109787"/>
                  </a:lnTo>
                  <a:lnTo>
                    <a:pt x="88571" y="104680"/>
                  </a:lnTo>
                  <a:lnTo>
                    <a:pt x="102857" y="99574"/>
                  </a:lnTo>
                  <a:lnTo>
                    <a:pt x="102857" y="88085"/>
                  </a:lnTo>
                  <a:lnTo>
                    <a:pt x="102857" y="82978"/>
                  </a:lnTo>
                  <a:lnTo>
                    <a:pt x="114285" y="77872"/>
                  </a:lnTo>
                  <a:lnTo>
                    <a:pt x="117142" y="67659"/>
                  </a:lnTo>
                  <a:lnTo>
                    <a:pt x="120000" y="61276"/>
                  </a:lnTo>
                  <a:lnTo>
                    <a:pt x="120000" y="51063"/>
                  </a:lnTo>
                  <a:lnTo>
                    <a:pt x="120000" y="45957"/>
                  </a:lnTo>
                  <a:lnTo>
                    <a:pt x="114285" y="38297"/>
                  </a:lnTo>
                  <a:lnTo>
                    <a:pt x="102857" y="38297"/>
                  </a:lnTo>
                  <a:lnTo>
                    <a:pt x="97142" y="38297"/>
                  </a:lnTo>
                  <a:lnTo>
                    <a:pt x="100000" y="31914"/>
                  </a:lnTo>
                  <a:lnTo>
                    <a:pt x="105714" y="25531"/>
                  </a:lnTo>
                  <a:lnTo>
                    <a:pt x="111428" y="22978"/>
                  </a:lnTo>
                  <a:lnTo>
                    <a:pt x="108571" y="21702"/>
                  </a:lnTo>
                  <a:lnTo>
                    <a:pt x="102857" y="16595"/>
                  </a:lnTo>
                  <a:close/>
                </a:path>
              </a:pathLst>
            </a:custGeom>
            <a:solidFill>
              <a:srgbClr val="009900"/>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cxnSp>
          <p:nvCxnSpPr>
            <p:cNvPr id="390" name="Shape 1428">
              <a:extLst>
                <a:ext uri="{FF2B5EF4-FFF2-40B4-BE49-F238E27FC236}">
                  <a16:creationId xmlns:a16="http://schemas.microsoft.com/office/drawing/2014/main" id="{D1D066EE-DE8F-638A-B58D-A541E8D692FB}"/>
                </a:ext>
              </a:extLst>
            </p:cNvPr>
            <p:cNvCxnSpPr/>
            <p:nvPr/>
          </p:nvCxnSpPr>
          <p:spPr>
            <a:xfrm>
              <a:off x="9930482" y="3889788"/>
              <a:ext cx="0" cy="0"/>
            </a:xfrm>
            <a:prstGeom prst="straightConnector1">
              <a:avLst/>
            </a:prstGeom>
            <a:solidFill>
              <a:srgbClr val="FF3636"/>
            </a:solidFill>
            <a:ln w="3175" cap="flat" cmpd="sng">
              <a:solidFill>
                <a:schemeClr val="bg1"/>
              </a:solidFill>
              <a:prstDash val="solid"/>
              <a:round/>
              <a:headEnd type="none" w="med" len="med"/>
              <a:tailEnd type="none" w="med" len="med"/>
            </a:ln>
          </p:spPr>
        </p:cxnSp>
        <p:cxnSp>
          <p:nvCxnSpPr>
            <p:cNvPr id="391" name="Shape 1429">
              <a:extLst>
                <a:ext uri="{FF2B5EF4-FFF2-40B4-BE49-F238E27FC236}">
                  <a16:creationId xmlns:a16="http://schemas.microsoft.com/office/drawing/2014/main" id="{B57E9385-3369-FF5E-BDB8-4D8F7B09321B}"/>
                </a:ext>
              </a:extLst>
            </p:cNvPr>
            <p:cNvCxnSpPr/>
            <p:nvPr/>
          </p:nvCxnSpPr>
          <p:spPr>
            <a:xfrm>
              <a:off x="9930482" y="3889788"/>
              <a:ext cx="0" cy="0"/>
            </a:xfrm>
            <a:prstGeom prst="straightConnector1">
              <a:avLst/>
            </a:prstGeom>
            <a:solidFill>
              <a:srgbClr val="FF3636"/>
            </a:solidFill>
            <a:ln w="3175" cap="flat" cmpd="sng">
              <a:solidFill>
                <a:schemeClr val="bg1"/>
              </a:solidFill>
              <a:prstDash val="solid"/>
              <a:miter/>
              <a:headEnd type="none" w="med" len="med"/>
              <a:tailEnd type="none" w="med" len="med"/>
            </a:ln>
          </p:spPr>
        </p:cxnSp>
        <p:sp>
          <p:nvSpPr>
            <p:cNvPr id="392" name="Freeform 29">
              <a:extLst>
                <a:ext uri="{FF2B5EF4-FFF2-40B4-BE49-F238E27FC236}">
                  <a16:creationId xmlns:a16="http://schemas.microsoft.com/office/drawing/2014/main" id="{A14D20A3-45F4-0101-1438-9B7270860E94}"/>
                </a:ext>
              </a:extLst>
            </p:cNvPr>
            <p:cNvSpPr>
              <a:spLocks/>
            </p:cNvSpPr>
            <p:nvPr/>
          </p:nvSpPr>
          <p:spPr bwMode="auto">
            <a:xfrm rot="21097436">
              <a:off x="11844345" y="2672044"/>
              <a:ext cx="39110" cy="42847"/>
            </a:xfrm>
            <a:custGeom>
              <a:avLst/>
              <a:gdLst>
                <a:gd name="T0" fmla="*/ 91831 w 17"/>
                <a:gd name="T1" fmla="*/ 0 h 17"/>
                <a:gd name="T2" fmla="*/ 70639 w 17"/>
                <a:gd name="T3" fmla="*/ 6426 h 17"/>
                <a:gd name="T4" fmla="*/ 14128 w 17"/>
                <a:gd name="T5" fmla="*/ 64264 h 17"/>
                <a:gd name="T6" fmla="*/ 7064 w 17"/>
                <a:gd name="T7" fmla="*/ 102823 h 17"/>
                <a:gd name="T8" fmla="*/ 28256 w 17"/>
                <a:gd name="T9" fmla="*/ 109249 h 17"/>
                <a:gd name="T10" fmla="*/ 56512 w 17"/>
                <a:gd name="T11" fmla="*/ 102823 h 17"/>
                <a:gd name="T12" fmla="*/ 77703 w 17"/>
                <a:gd name="T13" fmla="*/ 70691 h 17"/>
                <a:gd name="T14" fmla="*/ 84767 w 17"/>
                <a:gd name="T15" fmla="*/ 64264 h 17"/>
                <a:gd name="T16" fmla="*/ 84767 w 17"/>
                <a:gd name="T17" fmla="*/ 64264 h 17"/>
                <a:gd name="T18" fmla="*/ 120087 w 17"/>
                <a:gd name="T19" fmla="*/ 25706 h 17"/>
                <a:gd name="T20" fmla="*/ 91831 w 17"/>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7">
                  <a:moveTo>
                    <a:pt x="13" y="0"/>
                  </a:moveTo>
                  <a:cubicBezTo>
                    <a:pt x="12" y="0"/>
                    <a:pt x="11" y="1"/>
                    <a:pt x="10" y="1"/>
                  </a:cubicBezTo>
                  <a:cubicBezTo>
                    <a:pt x="7" y="3"/>
                    <a:pt x="3" y="7"/>
                    <a:pt x="2" y="10"/>
                  </a:cubicBezTo>
                  <a:cubicBezTo>
                    <a:pt x="0" y="12"/>
                    <a:pt x="0" y="14"/>
                    <a:pt x="1" y="16"/>
                  </a:cubicBezTo>
                  <a:cubicBezTo>
                    <a:pt x="2" y="17"/>
                    <a:pt x="3" y="17"/>
                    <a:pt x="4" y="17"/>
                  </a:cubicBezTo>
                  <a:cubicBezTo>
                    <a:pt x="6" y="17"/>
                    <a:pt x="7" y="17"/>
                    <a:pt x="8" y="16"/>
                  </a:cubicBezTo>
                  <a:cubicBezTo>
                    <a:pt x="10" y="15"/>
                    <a:pt x="11" y="13"/>
                    <a:pt x="11" y="11"/>
                  </a:cubicBezTo>
                  <a:cubicBezTo>
                    <a:pt x="12" y="11"/>
                    <a:pt x="12" y="10"/>
                    <a:pt x="12" y="10"/>
                  </a:cubicBezTo>
                  <a:cubicBezTo>
                    <a:pt x="12" y="10"/>
                    <a:pt x="12" y="10"/>
                    <a:pt x="12" y="10"/>
                  </a:cubicBezTo>
                  <a:cubicBezTo>
                    <a:pt x="16" y="9"/>
                    <a:pt x="17" y="7"/>
                    <a:pt x="17" y="4"/>
                  </a:cubicBezTo>
                  <a:cubicBezTo>
                    <a:pt x="17" y="0"/>
                    <a:pt x="14" y="0"/>
                    <a:pt x="13" y="0"/>
                  </a:cubicBezTo>
                  <a:close/>
                </a:path>
              </a:pathLst>
            </a:custGeom>
            <a:solidFill>
              <a:srgbClr val="92D05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3" name="Freeform 30">
              <a:extLst>
                <a:ext uri="{FF2B5EF4-FFF2-40B4-BE49-F238E27FC236}">
                  <a16:creationId xmlns:a16="http://schemas.microsoft.com/office/drawing/2014/main" id="{23A34CAE-7713-B2D7-A9F9-6825F339936A}"/>
                </a:ext>
              </a:extLst>
            </p:cNvPr>
            <p:cNvSpPr>
              <a:spLocks/>
            </p:cNvSpPr>
            <p:nvPr/>
          </p:nvSpPr>
          <p:spPr bwMode="auto">
            <a:xfrm rot="21097436">
              <a:off x="11875081" y="2647604"/>
              <a:ext cx="29550" cy="27613"/>
            </a:xfrm>
            <a:custGeom>
              <a:avLst/>
              <a:gdLst>
                <a:gd name="T0" fmla="*/ 83754 w 13"/>
                <a:gd name="T1" fmla="*/ 12801 h 11"/>
                <a:gd name="T2" fmla="*/ 48856 w 13"/>
                <a:gd name="T3" fmla="*/ 0 h 11"/>
                <a:gd name="T4" fmla="*/ 0 w 13"/>
                <a:gd name="T5" fmla="*/ 25602 h 11"/>
                <a:gd name="T6" fmla="*/ 6979 w 13"/>
                <a:gd name="T7" fmla="*/ 57604 h 11"/>
                <a:gd name="T8" fmla="*/ 41877 w 13"/>
                <a:gd name="T9" fmla="*/ 70405 h 11"/>
                <a:gd name="T10" fmla="*/ 41877 w 13"/>
                <a:gd name="T11" fmla="*/ 70405 h 11"/>
                <a:gd name="T12" fmla="*/ 90733 w 13"/>
                <a:gd name="T13" fmla="*/ 32002 h 11"/>
                <a:gd name="T14" fmla="*/ 83754 w 13"/>
                <a:gd name="T15" fmla="*/ 12801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1">
                  <a:moveTo>
                    <a:pt x="12" y="2"/>
                  </a:moveTo>
                  <a:cubicBezTo>
                    <a:pt x="11" y="1"/>
                    <a:pt x="10" y="0"/>
                    <a:pt x="7" y="0"/>
                  </a:cubicBezTo>
                  <a:cubicBezTo>
                    <a:pt x="5" y="0"/>
                    <a:pt x="1" y="1"/>
                    <a:pt x="0" y="4"/>
                  </a:cubicBezTo>
                  <a:cubicBezTo>
                    <a:pt x="0" y="5"/>
                    <a:pt x="0" y="7"/>
                    <a:pt x="1" y="9"/>
                  </a:cubicBezTo>
                  <a:cubicBezTo>
                    <a:pt x="2" y="10"/>
                    <a:pt x="4" y="11"/>
                    <a:pt x="6" y="11"/>
                  </a:cubicBezTo>
                  <a:cubicBezTo>
                    <a:pt x="6" y="11"/>
                    <a:pt x="6" y="11"/>
                    <a:pt x="6" y="11"/>
                  </a:cubicBezTo>
                  <a:cubicBezTo>
                    <a:pt x="9" y="10"/>
                    <a:pt x="12" y="8"/>
                    <a:pt x="13" y="5"/>
                  </a:cubicBezTo>
                  <a:cubicBezTo>
                    <a:pt x="13" y="4"/>
                    <a:pt x="13" y="3"/>
                    <a:pt x="12" y="2"/>
                  </a:cubicBezTo>
                  <a:close/>
                </a:path>
              </a:pathLst>
            </a:custGeom>
            <a:solidFill>
              <a:srgbClr val="92D05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4" name="Freeform 32">
              <a:extLst>
                <a:ext uri="{FF2B5EF4-FFF2-40B4-BE49-F238E27FC236}">
                  <a16:creationId xmlns:a16="http://schemas.microsoft.com/office/drawing/2014/main" id="{882276B3-A7A1-8DC0-1F1C-9766FD909321}"/>
                </a:ext>
              </a:extLst>
            </p:cNvPr>
            <p:cNvSpPr>
              <a:spLocks/>
            </p:cNvSpPr>
            <p:nvPr/>
          </p:nvSpPr>
          <p:spPr bwMode="auto">
            <a:xfrm rot="21097436">
              <a:off x="11702976" y="2917173"/>
              <a:ext cx="36503" cy="45704"/>
            </a:xfrm>
            <a:custGeom>
              <a:avLst/>
              <a:gdLst>
                <a:gd name="T0" fmla="*/ 98071 w 16"/>
                <a:gd name="T1" fmla="*/ 19422 h 18"/>
                <a:gd name="T2" fmla="*/ 70051 w 16"/>
                <a:gd name="T3" fmla="*/ 0 h 18"/>
                <a:gd name="T4" fmla="*/ 49035 w 16"/>
                <a:gd name="T5" fmla="*/ 6474 h 18"/>
                <a:gd name="T6" fmla="*/ 7005 w 16"/>
                <a:gd name="T7" fmla="*/ 64740 h 18"/>
                <a:gd name="T8" fmla="*/ 14010 w 16"/>
                <a:gd name="T9" fmla="*/ 103584 h 18"/>
                <a:gd name="T10" fmla="*/ 42030 w 16"/>
                <a:gd name="T11" fmla="*/ 116532 h 18"/>
                <a:gd name="T12" fmla="*/ 63046 w 16"/>
                <a:gd name="T13" fmla="*/ 103584 h 18"/>
                <a:gd name="T14" fmla="*/ 105076 w 16"/>
                <a:gd name="T15" fmla="*/ 58266 h 18"/>
                <a:gd name="T16" fmla="*/ 98071 w 16"/>
                <a:gd name="T17" fmla="*/ 19422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8">
                  <a:moveTo>
                    <a:pt x="14" y="3"/>
                  </a:moveTo>
                  <a:cubicBezTo>
                    <a:pt x="13" y="1"/>
                    <a:pt x="11" y="0"/>
                    <a:pt x="10" y="0"/>
                  </a:cubicBezTo>
                  <a:cubicBezTo>
                    <a:pt x="9" y="0"/>
                    <a:pt x="8" y="1"/>
                    <a:pt x="7" y="1"/>
                  </a:cubicBezTo>
                  <a:cubicBezTo>
                    <a:pt x="4" y="2"/>
                    <a:pt x="1" y="8"/>
                    <a:pt x="1" y="10"/>
                  </a:cubicBezTo>
                  <a:cubicBezTo>
                    <a:pt x="0" y="12"/>
                    <a:pt x="1" y="15"/>
                    <a:pt x="2" y="16"/>
                  </a:cubicBezTo>
                  <a:cubicBezTo>
                    <a:pt x="3" y="17"/>
                    <a:pt x="4" y="18"/>
                    <a:pt x="6" y="18"/>
                  </a:cubicBezTo>
                  <a:cubicBezTo>
                    <a:pt x="7" y="18"/>
                    <a:pt x="8" y="17"/>
                    <a:pt x="9" y="16"/>
                  </a:cubicBezTo>
                  <a:cubicBezTo>
                    <a:pt x="12" y="15"/>
                    <a:pt x="14" y="12"/>
                    <a:pt x="15" y="9"/>
                  </a:cubicBezTo>
                  <a:cubicBezTo>
                    <a:pt x="16" y="7"/>
                    <a:pt x="16" y="5"/>
                    <a:pt x="14" y="3"/>
                  </a:cubicBezTo>
                  <a:close/>
                </a:path>
              </a:pathLst>
            </a:custGeom>
            <a:solidFill>
              <a:srgbClr val="92D05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5" name="Freeform 35">
              <a:extLst>
                <a:ext uri="{FF2B5EF4-FFF2-40B4-BE49-F238E27FC236}">
                  <a16:creationId xmlns:a16="http://schemas.microsoft.com/office/drawing/2014/main" id="{B6AB9683-8EB3-62A1-E99E-B581D69E727A}"/>
                </a:ext>
              </a:extLst>
            </p:cNvPr>
            <p:cNvSpPr>
              <a:spLocks/>
            </p:cNvSpPr>
            <p:nvPr/>
          </p:nvSpPr>
          <p:spPr bwMode="auto">
            <a:xfrm rot="21097436">
              <a:off x="10253497" y="2065813"/>
              <a:ext cx="25204" cy="27613"/>
            </a:xfrm>
            <a:custGeom>
              <a:avLst/>
              <a:gdLst>
                <a:gd name="T0" fmla="*/ 70355 w 11"/>
                <a:gd name="T1" fmla="*/ 19201 h 11"/>
                <a:gd name="T2" fmla="*/ 49248 w 11"/>
                <a:gd name="T3" fmla="*/ 0 h 11"/>
                <a:gd name="T4" fmla="*/ 21106 w 11"/>
                <a:gd name="T5" fmla="*/ 12801 h 11"/>
                <a:gd name="T6" fmla="*/ 7035 w 11"/>
                <a:gd name="T7" fmla="*/ 57604 h 11"/>
                <a:gd name="T8" fmla="*/ 28142 w 11"/>
                <a:gd name="T9" fmla="*/ 70405 h 11"/>
                <a:gd name="T10" fmla="*/ 56284 w 11"/>
                <a:gd name="T11" fmla="*/ 57604 h 11"/>
                <a:gd name="T12" fmla="*/ 56284 w 11"/>
                <a:gd name="T13" fmla="*/ 57604 h 11"/>
                <a:gd name="T14" fmla="*/ 70355 w 11"/>
                <a:gd name="T15" fmla="*/ 44803 h 11"/>
                <a:gd name="T16" fmla="*/ 70355 w 11"/>
                <a:gd name="T17" fmla="*/ 1920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11">
                  <a:moveTo>
                    <a:pt x="10" y="3"/>
                  </a:moveTo>
                  <a:cubicBezTo>
                    <a:pt x="10" y="1"/>
                    <a:pt x="8" y="0"/>
                    <a:pt x="7" y="0"/>
                  </a:cubicBezTo>
                  <a:cubicBezTo>
                    <a:pt x="5" y="0"/>
                    <a:pt x="3" y="1"/>
                    <a:pt x="3" y="2"/>
                  </a:cubicBezTo>
                  <a:cubicBezTo>
                    <a:pt x="1" y="4"/>
                    <a:pt x="0" y="6"/>
                    <a:pt x="1" y="9"/>
                  </a:cubicBezTo>
                  <a:cubicBezTo>
                    <a:pt x="1" y="10"/>
                    <a:pt x="3" y="11"/>
                    <a:pt x="4" y="11"/>
                  </a:cubicBezTo>
                  <a:cubicBezTo>
                    <a:pt x="5" y="11"/>
                    <a:pt x="7" y="10"/>
                    <a:pt x="8" y="9"/>
                  </a:cubicBezTo>
                  <a:cubicBezTo>
                    <a:pt x="8" y="9"/>
                    <a:pt x="8" y="9"/>
                    <a:pt x="8" y="9"/>
                  </a:cubicBezTo>
                  <a:cubicBezTo>
                    <a:pt x="9" y="9"/>
                    <a:pt x="10" y="8"/>
                    <a:pt x="10" y="7"/>
                  </a:cubicBezTo>
                  <a:cubicBezTo>
                    <a:pt x="11" y="6"/>
                    <a:pt x="11" y="4"/>
                    <a:pt x="10" y="3"/>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6" name="Freeform 50">
              <a:extLst>
                <a:ext uri="{FF2B5EF4-FFF2-40B4-BE49-F238E27FC236}">
                  <a16:creationId xmlns:a16="http://schemas.microsoft.com/office/drawing/2014/main" id="{235184E2-FB71-6AD2-E70E-16F98735F0C4}"/>
                </a:ext>
              </a:extLst>
            </p:cNvPr>
            <p:cNvSpPr>
              <a:spLocks noEditPoints="1"/>
            </p:cNvSpPr>
            <p:nvPr/>
          </p:nvSpPr>
          <p:spPr bwMode="auto">
            <a:xfrm rot="21097436">
              <a:off x="8807837" y="2508330"/>
              <a:ext cx="655305" cy="1169270"/>
            </a:xfrm>
            <a:custGeom>
              <a:avLst/>
              <a:gdLst>
                <a:gd name="T0" fmla="*/ 1990873 w 284"/>
                <a:gd name="T1" fmla="*/ 232307 h 462"/>
                <a:gd name="T2" fmla="*/ 991894 w 284"/>
                <a:gd name="T3" fmla="*/ 6453 h 462"/>
                <a:gd name="T4" fmla="*/ 970639 w 284"/>
                <a:gd name="T5" fmla="*/ 0 h 462"/>
                <a:gd name="T6" fmla="*/ 906875 w 284"/>
                <a:gd name="T7" fmla="*/ 174231 h 462"/>
                <a:gd name="T8" fmla="*/ 963554 w 284"/>
                <a:gd name="T9" fmla="*/ 135513 h 462"/>
                <a:gd name="T10" fmla="*/ 991894 w 284"/>
                <a:gd name="T11" fmla="*/ 122607 h 462"/>
                <a:gd name="T12" fmla="*/ 998979 w 284"/>
                <a:gd name="T13" fmla="*/ 122607 h 462"/>
                <a:gd name="T14" fmla="*/ 1027319 w 284"/>
                <a:gd name="T15" fmla="*/ 154872 h 462"/>
                <a:gd name="T16" fmla="*/ 1076914 w 284"/>
                <a:gd name="T17" fmla="*/ 200043 h 462"/>
                <a:gd name="T18" fmla="*/ 1119423 w 284"/>
                <a:gd name="T19" fmla="*/ 206496 h 462"/>
                <a:gd name="T20" fmla="*/ 1176103 w 284"/>
                <a:gd name="T21" fmla="*/ 219401 h 462"/>
                <a:gd name="T22" fmla="*/ 1169018 w 284"/>
                <a:gd name="T23" fmla="*/ 219401 h 462"/>
                <a:gd name="T24" fmla="*/ 1119423 w 284"/>
                <a:gd name="T25" fmla="*/ 232307 h 462"/>
                <a:gd name="T26" fmla="*/ 1098168 w 284"/>
                <a:gd name="T27" fmla="*/ 232307 h 462"/>
                <a:gd name="T28" fmla="*/ 1027319 w 284"/>
                <a:gd name="T29" fmla="*/ 219401 h 462"/>
                <a:gd name="T30" fmla="*/ 921045 w 284"/>
                <a:gd name="T31" fmla="*/ 200043 h 462"/>
                <a:gd name="T32" fmla="*/ 913960 w 284"/>
                <a:gd name="T33" fmla="*/ 200043 h 462"/>
                <a:gd name="T34" fmla="*/ 899790 w 284"/>
                <a:gd name="T35" fmla="*/ 200043 h 462"/>
                <a:gd name="T36" fmla="*/ 0 w 284"/>
                <a:gd name="T37" fmla="*/ 2613459 h 462"/>
                <a:gd name="T38" fmla="*/ 21255 w 284"/>
                <a:gd name="T39" fmla="*/ 2619912 h 462"/>
                <a:gd name="T40" fmla="*/ 899790 w 284"/>
                <a:gd name="T41" fmla="*/ 2852219 h 462"/>
                <a:gd name="T42" fmla="*/ 1254038 w 284"/>
                <a:gd name="T43" fmla="*/ 2929655 h 462"/>
                <a:gd name="T44" fmla="*/ 1303632 w 284"/>
                <a:gd name="T45" fmla="*/ 2936108 h 462"/>
                <a:gd name="T46" fmla="*/ 1537436 w 284"/>
                <a:gd name="T47" fmla="*/ 2974826 h 462"/>
                <a:gd name="T48" fmla="*/ 1558691 w 284"/>
                <a:gd name="T49" fmla="*/ 2981279 h 462"/>
                <a:gd name="T50" fmla="*/ 1565776 w 284"/>
                <a:gd name="T51" fmla="*/ 2961920 h 462"/>
                <a:gd name="T52" fmla="*/ 1891684 w 284"/>
                <a:gd name="T53" fmla="*/ 929230 h 462"/>
                <a:gd name="T54" fmla="*/ 1849174 w 284"/>
                <a:gd name="T55" fmla="*/ 922777 h 462"/>
                <a:gd name="T56" fmla="*/ 1849174 w 284"/>
                <a:gd name="T57" fmla="*/ 935683 h 462"/>
                <a:gd name="T58" fmla="*/ 1820834 w 284"/>
                <a:gd name="T59" fmla="*/ 967948 h 462"/>
                <a:gd name="T60" fmla="*/ 1806664 w 284"/>
                <a:gd name="T61" fmla="*/ 974401 h 462"/>
                <a:gd name="T62" fmla="*/ 1792494 w 284"/>
                <a:gd name="T63" fmla="*/ 993760 h 462"/>
                <a:gd name="T64" fmla="*/ 1792494 w 284"/>
                <a:gd name="T65" fmla="*/ 955042 h 462"/>
                <a:gd name="T66" fmla="*/ 1785409 w 284"/>
                <a:gd name="T67" fmla="*/ 935683 h 462"/>
                <a:gd name="T68" fmla="*/ 1785409 w 284"/>
                <a:gd name="T69" fmla="*/ 929230 h 462"/>
                <a:gd name="T70" fmla="*/ 1778324 w 284"/>
                <a:gd name="T71" fmla="*/ 922777 h 462"/>
                <a:gd name="T72" fmla="*/ 1778324 w 284"/>
                <a:gd name="T73" fmla="*/ 916324 h 462"/>
                <a:gd name="T74" fmla="*/ 1778324 w 284"/>
                <a:gd name="T75" fmla="*/ 903418 h 462"/>
                <a:gd name="T76" fmla="*/ 1771239 w 284"/>
                <a:gd name="T77" fmla="*/ 877606 h 462"/>
                <a:gd name="T78" fmla="*/ 1764154 w 284"/>
                <a:gd name="T79" fmla="*/ 871153 h 462"/>
                <a:gd name="T80" fmla="*/ 1820834 w 284"/>
                <a:gd name="T81" fmla="*/ 806623 h 462"/>
                <a:gd name="T82" fmla="*/ 1827919 w 284"/>
                <a:gd name="T83" fmla="*/ 793717 h 462"/>
                <a:gd name="T84" fmla="*/ 1842089 w 284"/>
                <a:gd name="T85" fmla="*/ 780811 h 462"/>
                <a:gd name="T86" fmla="*/ 1905854 w 284"/>
                <a:gd name="T87" fmla="*/ 735640 h 462"/>
                <a:gd name="T88" fmla="*/ 1927109 w 284"/>
                <a:gd name="T89" fmla="*/ 729187 h 462"/>
                <a:gd name="T90" fmla="*/ 1927109 w 284"/>
                <a:gd name="T91" fmla="*/ 716281 h 462"/>
                <a:gd name="T92" fmla="*/ 2012128 w 284"/>
                <a:gd name="T93" fmla="*/ 251666 h 462"/>
                <a:gd name="T94" fmla="*/ 2012128 w 284"/>
                <a:gd name="T95" fmla="*/ 232307 h 462"/>
                <a:gd name="T96" fmla="*/ 1990873 w 284"/>
                <a:gd name="T97" fmla="*/ 232307 h 462"/>
                <a:gd name="T98" fmla="*/ 1650795 w 284"/>
                <a:gd name="T99" fmla="*/ 1071195 h 462"/>
                <a:gd name="T100" fmla="*/ 1679135 w 284"/>
                <a:gd name="T101" fmla="*/ 1032478 h 462"/>
                <a:gd name="T102" fmla="*/ 1693305 w 284"/>
                <a:gd name="T103" fmla="*/ 1058290 h 462"/>
                <a:gd name="T104" fmla="*/ 1686220 w 284"/>
                <a:gd name="T105" fmla="*/ 1064743 h 462"/>
                <a:gd name="T106" fmla="*/ 1650795 w 284"/>
                <a:gd name="T107" fmla="*/ 1077648 h 462"/>
                <a:gd name="T108" fmla="*/ 1650795 w 284"/>
                <a:gd name="T109" fmla="*/ 1077648 h 462"/>
                <a:gd name="T110" fmla="*/ 1650795 w 284"/>
                <a:gd name="T111" fmla="*/ 1071195 h 4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4" h="462">
                  <a:moveTo>
                    <a:pt x="281" y="36"/>
                  </a:moveTo>
                  <a:cubicBezTo>
                    <a:pt x="267" y="34"/>
                    <a:pt x="214" y="25"/>
                    <a:pt x="140" y="1"/>
                  </a:cubicBezTo>
                  <a:cubicBezTo>
                    <a:pt x="137" y="0"/>
                    <a:pt x="137" y="0"/>
                    <a:pt x="137" y="0"/>
                  </a:cubicBezTo>
                  <a:cubicBezTo>
                    <a:pt x="128" y="27"/>
                    <a:pt x="128" y="27"/>
                    <a:pt x="128" y="27"/>
                  </a:cubicBezTo>
                  <a:cubicBezTo>
                    <a:pt x="136" y="21"/>
                    <a:pt x="136" y="21"/>
                    <a:pt x="136" y="21"/>
                  </a:cubicBezTo>
                  <a:cubicBezTo>
                    <a:pt x="137" y="20"/>
                    <a:pt x="139" y="19"/>
                    <a:pt x="140" y="19"/>
                  </a:cubicBezTo>
                  <a:cubicBezTo>
                    <a:pt x="140" y="19"/>
                    <a:pt x="141" y="19"/>
                    <a:pt x="141" y="19"/>
                  </a:cubicBezTo>
                  <a:cubicBezTo>
                    <a:pt x="143" y="20"/>
                    <a:pt x="144" y="22"/>
                    <a:pt x="145" y="24"/>
                  </a:cubicBezTo>
                  <a:cubicBezTo>
                    <a:pt x="147" y="26"/>
                    <a:pt x="149" y="29"/>
                    <a:pt x="152" y="31"/>
                  </a:cubicBezTo>
                  <a:cubicBezTo>
                    <a:pt x="154" y="32"/>
                    <a:pt x="156" y="32"/>
                    <a:pt x="158" y="32"/>
                  </a:cubicBezTo>
                  <a:cubicBezTo>
                    <a:pt x="163" y="32"/>
                    <a:pt x="165" y="33"/>
                    <a:pt x="166" y="34"/>
                  </a:cubicBezTo>
                  <a:cubicBezTo>
                    <a:pt x="166" y="34"/>
                    <a:pt x="166" y="34"/>
                    <a:pt x="165" y="34"/>
                  </a:cubicBezTo>
                  <a:cubicBezTo>
                    <a:pt x="165" y="35"/>
                    <a:pt x="162" y="36"/>
                    <a:pt x="158" y="36"/>
                  </a:cubicBezTo>
                  <a:cubicBezTo>
                    <a:pt x="156" y="36"/>
                    <a:pt x="155" y="36"/>
                    <a:pt x="155" y="36"/>
                  </a:cubicBezTo>
                  <a:cubicBezTo>
                    <a:pt x="152" y="36"/>
                    <a:pt x="148" y="35"/>
                    <a:pt x="145" y="34"/>
                  </a:cubicBezTo>
                  <a:cubicBezTo>
                    <a:pt x="140" y="32"/>
                    <a:pt x="135" y="31"/>
                    <a:pt x="130" y="31"/>
                  </a:cubicBezTo>
                  <a:cubicBezTo>
                    <a:pt x="129" y="31"/>
                    <a:pt x="129" y="31"/>
                    <a:pt x="129" y="31"/>
                  </a:cubicBezTo>
                  <a:cubicBezTo>
                    <a:pt x="127" y="31"/>
                    <a:pt x="127" y="31"/>
                    <a:pt x="127" y="31"/>
                  </a:cubicBezTo>
                  <a:cubicBezTo>
                    <a:pt x="0" y="405"/>
                    <a:pt x="0" y="405"/>
                    <a:pt x="0" y="405"/>
                  </a:cubicBezTo>
                  <a:cubicBezTo>
                    <a:pt x="3" y="406"/>
                    <a:pt x="3" y="406"/>
                    <a:pt x="3" y="406"/>
                  </a:cubicBezTo>
                  <a:cubicBezTo>
                    <a:pt x="42" y="418"/>
                    <a:pt x="83" y="430"/>
                    <a:pt x="127" y="442"/>
                  </a:cubicBezTo>
                  <a:cubicBezTo>
                    <a:pt x="143" y="447"/>
                    <a:pt x="160" y="450"/>
                    <a:pt x="177" y="454"/>
                  </a:cubicBezTo>
                  <a:cubicBezTo>
                    <a:pt x="184" y="455"/>
                    <a:pt x="184" y="455"/>
                    <a:pt x="184" y="455"/>
                  </a:cubicBezTo>
                  <a:cubicBezTo>
                    <a:pt x="194" y="457"/>
                    <a:pt x="205" y="459"/>
                    <a:pt x="217" y="461"/>
                  </a:cubicBezTo>
                  <a:cubicBezTo>
                    <a:pt x="220" y="462"/>
                    <a:pt x="220" y="462"/>
                    <a:pt x="220" y="462"/>
                  </a:cubicBezTo>
                  <a:cubicBezTo>
                    <a:pt x="221" y="459"/>
                    <a:pt x="221" y="459"/>
                    <a:pt x="221" y="459"/>
                  </a:cubicBezTo>
                  <a:cubicBezTo>
                    <a:pt x="226" y="419"/>
                    <a:pt x="247" y="277"/>
                    <a:pt x="267" y="144"/>
                  </a:cubicBezTo>
                  <a:cubicBezTo>
                    <a:pt x="261" y="143"/>
                    <a:pt x="261" y="143"/>
                    <a:pt x="261" y="143"/>
                  </a:cubicBezTo>
                  <a:cubicBezTo>
                    <a:pt x="261" y="143"/>
                    <a:pt x="261" y="144"/>
                    <a:pt x="261" y="145"/>
                  </a:cubicBezTo>
                  <a:cubicBezTo>
                    <a:pt x="260" y="147"/>
                    <a:pt x="258" y="148"/>
                    <a:pt x="257" y="150"/>
                  </a:cubicBezTo>
                  <a:cubicBezTo>
                    <a:pt x="256" y="150"/>
                    <a:pt x="256" y="151"/>
                    <a:pt x="255" y="151"/>
                  </a:cubicBezTo>
                  <a:cubicBezTo>
                    <a:pt x="254" y="152"/>
                    <a:pt x="253" y="153"/>
                    <a:pt x="253" y="154"/>
                  </a:cubicBezTo>
                  <a:cubicBezTo>
                    <a:pt x="253" y="152"/>
                    <a:pt x="253" y="150"/>
                    <a:pt x="253" y="148"/>
                  </a:cubicBezTo>
                  <a:cubicBezTo>
                    <a:pt x="253" y="147"/>
                    <a:pt x="252" y="146"/>
                    <a:pt x="252" y="145"/>
                  </a:cubicBezTo>
                  <a:cubicBezTo>
                    <a:pt x="252" y="144"/>
                    <a:pt x="252" y="144"/>
                    <a:pt x="252" y="144"/>
                  </a:cubicBezTo>
                  <a:cubicBezTo>
                    <a:pt x="251" y="143"/>
                    <a:pt x="251" y="143"/>
                    <a:pt x="251" y="143"/>
                  </a:cubicBezTo>
                  <a:cubicBezTo>
                    <a:pt x="251" y="142"/>
                    <a:pt x="251" y="142"/>
                    <a:pt x="251" y="142"/>
                  </a:cubicBezTo>
                  <a:cubicBezTo>
                    <a:pt x="251" y="141"/>
                    <a:pt x="251" y="141"/>
                    <a:pt x="251" y="140"/>
                  </a:cubicBezTo>
                  <a:cubicBezTo>
                    <a:pt x="251" y="138"/>
                    <a:pt x="250" y="137"/>
                    <a:pt x="250" y="136"/>
                  </a:cubicBezTo>
                  <a:cubicBezTo>
                    <a:pt x="250" y="136"/>
                    <a:pt x="250" y="135"/>
                    <a:pt x="249" y="135"/>
                  </a:cubicBezTo>
                  <a:cubicBezTo>
                    <a:pt x="248" y="132"/>
                    <a:pt x="254" y="127"/>
                    <a:pt x="257" y="125"/>
                  </a:cubicBezTo>
                  <a:cubicBezTo>
                    <a:pt x="258" y="123"/>
                    <a:pt x="258" y="123"/>
                    <a:pt x="258" y="123"/>
                  </a:cubicBezTo>
                  <a:cubicBezTo>
                    <a:pt x="258" y="123"/>
                    <a:pt x="259" y="122"/>
                    <a:pt x="260" y="121"/>
                  </a:cubicBezTo>
                  <a:cubicBezTo>
                    <a:pt x="262" y="119"/>
                    <a:pt x="267" y="114"/>
                    <a:pt x="269" y="114"/>
                  </a:cubicBezTo>
                  <a:cubicBezTo>
                    <a:pt x="272" y="113"/>
                    <a:pt x="272" y="113"/>
                    <a:pt x="272" y="113"/>
                  </a:cubicBezTo>
                  <a:cubicBezTo>
                    <a:pt x="272" y="111"/>
                    <a:pt x="272" y="111"/>
                    <a:pt x="272" y="111"/>
                  </a:cubicBezTo>
                  <a:cubicBezTo>
                    <a:pt x="276" y="86"/>
                    <a:pt x="280" y="62"/>
                    <a:pt x="284" y="39"/>
                  </a:cubicBezTo>
                  <a:cubicBezTo>
                    <a:pt x="284" y="36"/>
                    <a:pt x="284" y="36"/>
                    <a:pt x="284" y="36"/>
                  </a:cubicBezTo>
                  <a:lnTo>
                    <a:pt x="281" y="36"/>
                  </a:lnTo>
                  <a:close/>
                  <a:moveTo>
                    <a:pt x="233" y="166"/>
                  </a:moveTo>
                  <a:cubicBezTo>
                    <a:pt x="233" y="164"/>
                    <a:pt x="235" y="161"/>
                    <a:pt x="237" y="160"/>
                  </a:cubicBezTo>
                  <a:cubicBezTo>
                    <a:pt x="237" y="161"/>
                    <a:pt x="237" y="163"/>
                    <a:pt x="239" y="164"/>
                  </a:cubicBezTo>
                  <a:cubicBezTo>
                    <a:pt x="238" y="164"/>
                    <a:pt x="238" y="165"/>
                    <a:pt x="238" y="165"/>
                  </a:cubicBezTo>
                  <a:cubicBezTo>
                    <a:pt x="236" y="166"/>
                    <a:pt x="235" y="167"/>
                    <a:pt x="233" y="167"/>
                  </a:cubicBezTo>
                  <a:cubicBezTo>
                    <a:pt x="233" y="167"/>
                    <a:pt x="233" y="167"/>
                    <a:pt x="233" y="167"/>
                  </a:cubicBezTo>
                  <a:cubicBezTo>
                    <a:pt x="233" y="167"/>
                    <a:pt x="233" y="167"/>
                    <a:pt x="233" y="166"/>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highlight>
                  <a:srgbClr val="000080"/>
                </a:highlight>
                <a:uLnTx/>
                <a:uFillTx/>
                <a:latin typeface="Honeywell Sans"/>
                <a:ea typeface="+mn-ea"/>
                <a:cs typeface="+mn-cs"/>
              </a:endParaRPr>
            </a:p>
          </p:txBody>
        </p:sp>
        <p:sp>
          <p:nvSpPr>
            <p:cNvPr id="397" name="Freeform 53">
              <a:extLst>
                <a:ext uri="{FF2B5EF4-FFF2-40B4-BE49-F238E27FC236}">
                  <a16:creationId xmlns:a16="http://schemas.microsoft.com/office/drawing/2014/main" id="{73864E62-66C3-AACD-33AD-D1E9BFD747CF}"/>
                </a:ext>
              </a:extLst>
            </p:cNvPr>
            <p:cNvSpPr>
              <a:spLocks/>
            </p:cNvSpPr>
            <p:nvPr/>
          </p:nvSpPr>
          <p:spPr bwMode="auto">
            <a:xfrm rot="21097436">
              <a:off x="11255963" y="3218505"/>
              <a:ext cx="345903" cy="326596"/>
            </a:xfrm>
            <a:custGeom>
              <a:avLst/>
              <a:gdLst>
                <a:gd name="T0" fmla="*/ 1040863 w 150"/>
                <a:gd name="T1" fmla="*/ 348580 h 129"/>
                <a:gd name="T2" fmla="*/ 1005459 w 150"/>
                <a:gd name="T3" fmla="*/ 342125 h 129"/>
                <a:gd name="T4" fmla="*/ 991298 w 150"/>
                <a:gd name="T5" fmla="*/ 342125 h 129"/>
                <a:gd name="T6" fmla="*/ 955895 w 150"/>
                <a:gd name="T7" fmla="*/ 342125 h 129"/>
                <a:gd name="T8" fmla="*/ 920491 w 150"/>
                <a:gd name="T9" fmla="*/ 322759 h 129"/>
                <a:gd name="T10" fmla="*/ 899249 w 150"/>
                <a:gd name="T11" fmla="*/ 309849 h 129"/>
                <a:gd name="T12" fmla="*/ 870926 w 150"/>
                <a:gd name="T13" fmla="*/ 271118 h 129"/>
                <a:gd name="T14" fmla="*/ 821361 w 150"/>
                <a:gd name="T15" fmla="*/ 238842 h 129"/>
                <a:gd name="T16" fmla="*/ 821361 w 150"/>
                <a:gd name="T17" fmla="*/ 200111 h 129"/>
                <a:gd name="T18" fmla="*/ 722231 w 150"/>
                <a:gd name="T19" fmla="*/ 193656 h 129"/>
                <a:gd name="T20" fmla="*/ 729312 w 150"/>
                <a:gd name="T21" fmla="*/ 187200 h 129"/>
                <a:gd name="T22" fmla="*/ 679747 w 150"/>
                <a:gd name="T23" fmla="*/ 0 h 129"/>
                <a:gd name="T24" fmla="*/ 587698 w 150"/>
                <a:gd name="T25" fmla="*/ 64552 h 129"/>
                <a:gd name="T26" fmla="*/ 580617 w 150"/>
                <a:gd name="T27" fmla="*/ 64552 h 129"/>
                <a:gd name="T28" fmla="*/ 516891 w 150"/>
                <a:gd name="T29" fmla="*/ 32276 h 129"/>
                <a:gd name="T30" fmla="*/ 488568 w 150"/>
                <a:gd name="T31" fmla="*/ 38731 h 129"/>
                <a:gd name="T32" fmla="*/ 481488 w 150"/>
                <a:gd name="T33" fmla="*/ 38731 h 129"/>
                <a:gd name="T34" fmla="*/ 346954 w 150"/>
                <a:gd name="T35" fmla="*/ 109738 h 129"/>
                <a:gd name="T36" fmla="*/ 304470 w 150"/>
                <a:gd name="T37" fmla="*/ 135559 h 129"/>
                <a:gd name="T38" fmla="*/ 269067 w 150"/>
                <a:gd name="T39" fmla="*/ 142014 h 129"/>
                <a:gd name="T40" fmla="*/ 233663 w 150"/>
                <a:gd name="T41" fmla="*/ 135559 h 129"/>
                <a:gd name="T42" fmla="*/ 92049 w 150"/>
                <a:gd name="T43" fmla="*/ 200111 h 129"/>
                <a:gd name="T44" fmla="*/ 92049 w 150"/>
                <a:gd name="T45" fmla="*/ 251752 h 129"/>
                <a:gd name="T46" fmla="*/ 56646 w 150"/>
                <a:gd name="T47" fmla="*/ 361490 h 129"/>
                <a:gd name="T48" fmla="*/ 0 w 150"/>
                <a:gd name="T49" fmla="*/ 413132 h 129"/>
                <a:gd name="T50" fmla="*/ 106211 w 150"/>
                <a:gd name="T51" fmla="*/ 387311 h 129"/>
                <a:gd name="T52" fmla="*/ 148695 w 150"/>
                <a:gd name="T53" fmla="*/ 374401 h 129"/>
                <a:gd name="T54" fmla="*/ 304470 w 150"/>
                <a:gd name="T55" fmla="*/ 522870 h 129"/>
                <a:gd name="T56" fmla="*/ 339874 w 150"/>
                <a:gd name="T57" fmla="*/ 587422 h 129"/>
                <a:gd name="T58" fmla="*/ 346954 w 150"/>
                <a:gd name="T59" fmla="*/ 639063 h 129"/>
                <a:gd name="T60" fmla="*/ 424842 w 150"/>
                <a:gd name="T61" fmla="*/ 716526 h 129"/>
                <a:gd name="T62" fmla="*/ 453165 w 150"/>
                <a:gd name="T63" fmla="*/ 716526 h 129"/>
                <a:gd name="T64" fmla="*/ 460246 w 150"/>
                <a:gd name="T65" fmla="*/ 729436 h 129"/>
                <a:gd name="T66" fmla="*/ 523972 w 150"/>
                <a:gd name="T67" fmla="*/ 832719 h 129"/>
                <a:gd name="T68" fmla="*/ 587698 w 150"/>
                <a:gd name="T69" fmla="*/ 813353 h 129"/>
                <a:gd name="T70" fmla="*/ 623102 w 150"/>
                <a:gd name="T71" fmla="*/ 800443 h 129"/>
                <a:gd name="T72" fmla="*/ 651424 w 150"/>
                <a:gd name="T73" fmla="*/ 800443 h 129"/>
                <a:gd name="T74" fmla="*/ 686828 w 150"/>
                <a:gd name="T75" fmla="*/ 787533 h 129"/>
                <a:gd name="T76" fmla="*/ 715151 w 150"/>
                <a:gd name="T77" fmla="*/ 768167 h 129"/>
                <a:gd name="T78" fmla="*/ 878007 w 150"/>
                <a:gd name="T79" fmla="*/ 632608 h 129"/>
                <a:gd name="T80" fmla="*/ 913410 w 150"/>
                <a:gd name="T81" fmla="*/ 600332 h 129"/>
                <a:gd name="T82" fmla="*/ 941733 w 150"/>
                <a:gd name="T83" fmla="*/ 593877 h 129"/>
                <a:gd name="T84" fmla="*/ 1019621 w 150"/>
                <a:gd name="T85" fmla="*/ 619698 h 129"/>
                <a:gd name="T86" fmla="*/ 1019621 w 150"/>
                <a:gd name="T87" fmla="*/ 503505 h 129"/>
                <a:gd name="T88" fmla="*/ 1062105 w 150"/>
                <a:gd name="T89" fmla="*/ 380856 h 1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50" h="129">
                  <a:moveTo>
                    <a:pt x="150" y="57"/>
                  </a:moveTo>
                  <a:cubicBezTo>
                    <a:pt x="149" y="56"/>
                    <a:pt x="149" y="54"/>
                    <a:pt x="147" y="54"/>
                  </a:cubicBezTo>
                  <a:cubicBezTo>
                    <a:pt x="146" y="53"/>
                    <a:pt x="145" y="53"/>
                    <a:pt x="144" y="53"/>
                  </a:cubicBezTo>
                  <a:cubicBezTo>
                    <a:pt x="144" y="53"/>
                    <a:pt x="143" y="53"/>
                    <a:pt x="142" y="53"/>
                  </a:cubicBezTo>
                  <a:cubicBezTo>
                    <a:pt x="142" y="53"/>
                    <a:pt x="142" y="53"/>
                    <a:pt x="142" y="53"/>
                  </a:cubicBezTo>
                  <a:cubicBezTo>
                    <a:pt x="140" y="53"/>
                    <a:pt x="140" y="53"/>
                    <a:pt x="140" y="53"/>
                  </a:cubicBezTo>
                  <a:cubicBezTo>
                    <a:pt x="139" y="53"/>
                    <a:pt x="137" y="53"/>
                    <a:pt x="136" y="53"/>
                  </a:cubicBezTo>
                  <a:cubicBezTo>
                    <a:pt x="135" y="53"/>
                    <a:pt x="135" y="53"/>
                    <a:pt x="135" y="53"/>
                  </a:cubicBezTo>
                  <a:cubicBezTo>
                    <a:pt x="134" y="53"/>
                    <a:pt x="133" y="53"/>
                    <a:pt x="132" y="52"/>
                  </a:cubicBezTo>
                  <a:cubicBezTo>
                    <a:pt x="132" y="51"/>
                    <a:pt x="131" y="51"/>
                    <a:pt x="130" y="50"/>
                  </a:cubicBezTo>
                  <a:cubicBezTo>
                    <a:pt x="130" y="49"/>
                    <a:pt x="129" y="49"/>
                    <a:pt x="128" y="48"/>
                  </a:cubicBezTo>
                  <a:cubicBezTo>
                    <a:pt x="128" y="48"/>
                    <a:pt x="127" y="48"/>
                    <a:pt x="127" y="48"/>
                  </a:cubicBezTo>
                  <a:cubicBezTo>
                    <a:pt x="127" y="47"/>
                    <a:pt x="126" y="47"/>
                    <a:pt x="126" y="46"/>
                  </a:cubicBezTo>
                  <a:cubicBezTo>
                    <a:pt x="126" y="45"/>
                    <a:pt x="125" y="44"/>
                    <a:pt x="123" y="42"/>
                  </a:cubicBezTo>
                  <a:cubicBezTo>
                    <a:pt x="122" y="41"/>
                    <a:pt x="121" y="41"/>
                    <a:pt x="120" y="40"/>
                  </a:cubicBezTo>
                  <a:cubicBezTo>
                    <a:pt x="118" y="39"/>
                    <a:pt x="117" y="38"/>
                    <a:pt x="116" y="37"/>
                  </a:cubicBezTo>
                  <a:cubicBezTo>
                    <a:pt x="116" y="37"/>
                    <a:pt x="116" y="36"/>
                    <a:pt x="116" y="36"/>
                  </a:cubicBezTo>
                  <a:cubicBezTo>
                    <a:pt x="116" y="34"/>
                    <a:pt x="116" y="33"/>
                    <a:pt x="116" y="31"/>
                  </a:cubicBezTo>
                  <a:cubicBezTo>
                    <a:pt x="115" y="29"/>
                    <a:pt x="113" y="27"/>
                    <a:pt x="110" y="27"/>
                  </a:cubicBezTo>
                  <a:cubicBezTo>
                    <a:pt x="108" y="27"/>
                    <a:pt x="105" y="28"/>
                    <a:pt x="102" y="30"/>
                  </a:cubicBezTo>
                  <a:cubicBezTo>
                    <a:pt x="102" y="30"/>
                    <a:pt x="102" y="30"/>
                    <a:pt x="102" y="30"/>
                  </a:cubicBezTo>
                  <a:cubicBezTo>
                    <a:pt x="103" y="29"/>
                    <a:pt x="103" y="29"/>
                    <a:pt x="103" y="29"/>
                  </a:cubicBezTo>
                  <a:cubicBezTo>
                    <a:pt x="106" y="24"/>
                    <a:pt x="107" y="11"/>
                    <a:pt x="104" y="4"/>
                  </a:cubicBezTo>
                  <a:cubicBezTo>
                    <a:pt x="102" y="1"/>
                    <a:pt x="100" y="0"/>
                    <a:pt x="96" y="0"/>
                  </a:cubicBezTo>
                  <a:cubicBezTo>
                    <a:pt x="90" y="0"/>
                    <a:pt x="86" y="6"/>
                    <a:pt x="84" y="9"/>
                  </a:cubicBezTo>
                  <a:cubicBezTo>
                    <a:pt x="84" y="9"/>
                    <a:pt x="83" y="10"/>
                    <a:pt x="83" y="10"/>
                  </a:cubicBezTo>
                  <a:cubicBezTo>
                    <a:pt x="83" y="10"/>
                    <a:pt x="83" y="11"/>
                    <a:pt x="83" y="11"/>
                  </a:cubicBezTo>
                  <a:cubicBezTo>
                    <a:pt x="82" y="11"/>
                    <a:pt x="82" y="11"/>
                    <a:pt x="82" y="10"/>
                  </a:cubicBezTo>
                  <a:cubicBezTo>
                    <a:pt x="81" y="9"/>
                    <a:pt x="80" y="8"/>
                    <a:pt x="79" y="7"/>
                  </a:cubicBezTo>
                  <a:cubicBezTo>
                    <a:pt x="77" y="6"/>
                    <a:pt x="75" y="5"/>
                    <a:pt x="73" y="5"/>
                  </a:cubicBezTo>
                  <a:cubicBezTo>
                    <a:pt x="72" y="5"/>
                    <a:pt x="71" y="5"/>
                    <a:pt x="71" y="5"/>
                  </a:cubicBezTo>
                  <a:cubicBezTo>
                    <a:pt x="70" y="5"/>
                    <a:pt x="69" y="6"/>
                    <a:pt x="69" y="6"/>
                  </a:cubicBezTo>
                  <a:cubicBezTo>
                    <a:pt x="68" y="6"/>
                    <a:pt x="68" y="6"/>
                    <a:pt x="68" y="6"/>
                  </a:cubicBezTo>
                  <a:cubicBezTo>
                    <a:pt x="68" y="6"/>
                    <a:pt x="68" y="6"/>
                    <a:pt x="68" y="6"/>
                  </a:cubicBezTo>
                  <a:cubicBezTo>
                    <a:pt x="61" y="8"/>
                    <a:pt x="55" y="12"/>
                    <a:pt x="51" y="15"/>
                  </a:cubicBezTo>
                  <a:cubicBezTo>
                    <a:pt x="50" y="15"/>
                    <a:pt x="49" y="16"/>
                    <a:pt x="49" y="17"/>
                  </a:cubicBezTo>
                  <a:cubicBezTo>
                    <a:pt x="48" y="17"/>
                    <a:pt x="48" y="17"/>
                    <a:pt x="48" y="17"/>
                  </a:cubicBezTo>
                  <a:cubicBezTo>
                    <a:pt x="46" y="19"/>
                    <a:pt x="45" y="21"/>
                    <a:pt x="43" y="21"/>
                  </a:cubicBezTo>
                  <a:cubicBezTo>
                    <a:pt x="42" y="22"/>
                    <a:pt x="41" y="22"/>
                    <a:pt x="40" y="22"/>
                  </a:cubicBezTo>
                  <a:cubicBezTo>
                    <a:pt x="39" y="22"/>
                    <a:pt x="38" y="22"/>
                    <a:pt x="38" y="22"/>
                  </a:cubicBezTo>
                  <a:cubicBezTo>
                    <a:pt x="37" y="21"/>
                    <a:pt x="36" y="21"/>
                    <a:pt x="35" y="21"/>
                  </a:cubicBezTo>
                  <a:cubicBezTo>
                    <a:pt x="34" y="21"/>
                    <a:pt x="34" y="21"/>
                    <a:pt x="33" y="21"/>
                  </a:cubicBezTo>
                  <a:cubicBezTo>
                    <a:pt x="30" y="22"/>
                    <a:pt x="16" y="28"/>
                    <a:pt x="13" y="30"/>
                  </a:cubicBezTo>
                  <a:cubicBezTo>
                    <a:pt x="13" y="31"/>
                    <a:pt x="13" y="31"/>
                    <a:pt x="13" y="31"/>
                  </a:cubicBezTo>
                  <a:cubicBezTo>
                    <a:pt x="13" y="31"/>
                    <a:pt x="13" y="31"/>
                    <a:pt x="13" y="31"/>
                  </a:cubicBezTo>
                  <a:cubicBezTo>
                    <a:pt x="12" y="33"/>
                    <a:pt x="12" y="36"/>
                    <a:pt x="13" y="39"/>
                  </a:cubicBezTo>
                  <a:cubicBezTo>
                    <a:pt x="14" y="42"/>
                    <a:pt x="15" y="46"/>
                    <a:pt x="12" y="51"/>
                  </a:cubicBezTo>
                  <a:cubicBezTo>
                    <a:pt x="11" y="53"/>
                    <a:pt x="9" y="54"/>
                    <a:pt x="8" y="56"/>
                  </a:cubicBezTo>
                  <a:cubicBezTo>
                    <a:pt x="7" y="56"/>
                    <a:pt x="7" y="57"/>
                    <a:pt x="6" y="58"/>
                  </a:cubicBezTo>
                  <a:cubicBezTo>
                    <a:pt x="0" y="64"/>
                    <a:pt x="0" y="64"/>
                    <a:pt x="0" y="64"/>
                  </a:cubicBezTo>
                  <a:cubicBezTo>
                    <a:pt x="9" y="63"/>
                    <a:pt x="9" y="63"/>
                    <a:pt x="9" y="63"/>
                  </a:cubicBezTo>
                  <a:cubicBezTo>
                    <a:pt x="11" y="62"/>
                    <a:pt x="13" y="61"/>
                    <a:pt x="15" y="60"/>
                  </a:cubicBezTo>
                  <a:cubicBezTo>
                    <a:pt x="17" y="59"/>
                    <a:pt x="18" y="59"/>
                    <a:pt x="20" y="58"/>
                  </a:cubicBezTo>
                  <a:cubicBezTo>
                    <a:pt x="20" y="58"/>
                    <a:pt x="21" y="58"/>
                    <a:pt x="21" y="58"/>
                  </a:cubicBezTo>
                  <a:cubicBezTo>
                    <a:pt x="24" y="58"/>
                    <a:pt x="26" y="59"/>
                    <a:pt x="29" y="61"/>
                  </a:cubicBezTo>
                  <a:cubicBezTo>
                    <a:pt x="36" y="67"/>
                    <a:pt x="41" y="75"/>
                    <a:pt x="43" y="81"/>
                  </a:cubicBezTo>
                  <a:cubicBezTo>
                    <a:pt x="44" y="82"/>
                    <a:pt x="45" y="84"/>
                    <a:pt x="45" y="85"/>
                  </a:cubicBezTo>
                  <a:cubicBezTo>
                    <a:pt x="46" y="87"/>
                    <a:pt x="48" y="89"/>
                    <a:pt x="48" y="91"/>
                  </a:cubicBezTo>
                  <a:cubicBezTo>
                    <a:pt x="48" y="92"/>
                    <a:pt x="48" y="93"/>
                    <a:pt x="48" y="94"/>
                  </a:cubicBezTo>
                  <a:cubicBezTo>
                    <a:pt x="49" y="96"/>
                    <a:pt x="49" y="97"/>
                    <a:pt x="49" y="99"/>
                  </a:cubicBezTo>
                  <a:cubicBezTo>
                    <a:pt x="50" y="102"/>
                    <a:pt x="52" y="107"/>
                    <a:pt x="55" y="110"/>
                  </a:cubicBezTo>
                  <a:cubicBezTo>
                    <a:pt x="57" y="111"/>
                    <a:pt x="58" y="111"/>
                    <a:pt x="60" y="111"/>
                  </a:cubicBezTo>
                  <a:cubicBezTo>
                    <a:pt x="61" y="111"/>
                    <a:pt x="61" y="111"/>
                    <a:pt x="62" y="111"/>
                  </a:cubicBezTo>
                  <a:cubicBezTo>
                    <a:pt x="63" y="111"/>
                    <a:pt x="64" y="111"/>
                    <a:pt x="64" y="111"/>
                  </a:cubicBezTo>
                  <a:cubicBezTo>
                    <a:pt x="65" y="111"/>
                    <a:pt x="65" y="111"/>
                    <a:pt x="65" y="111"/>
                  </a:cubicBezTo>
                  <a:cubicBezTo>
                    <a:pt x="65" y="111"/>
                    <a:pt x="66" y="111"/>
                    <a:pt x="65" y="113"/>
                  </a:cubicBezTo>
                  <a:cubicBezTo>
                    <a:pt x="65" y="115"/>
                    <a:pt x="66" y="117"/>
                    <a:pt x="66" y="119"/>
                  </a:cubicBezTo>
                  <a:cubicBezTo>
                    <a:pt x="67" y="122"/>
                    <a:pt x="68" y="128"/>
                    <a:pt x="74" y="129"/>
                  </a:cubicBezTo>
                  <a:cubicBezTo>
                    <a:pt x="75" y="129"/>
                    <a:pt x="75" y="129"/>
                    <a:pt x="76" y="129"/>
                  </a:cubicBezTo>
                  <a:cubicBezTo>
                    <a:pt x="79" y="129"/>
                    <a:pt x="81" y="128"/>
                    <a:pt x="83" y="126"/>
                  </a:cubicBezTo>
                  <a:cubicBezTo>
                    <a:pt x="84" y="126"/>
                    <a:pt x="85" y="126"/>
                    <a:pt x="85" y="125"/>
                  </a:cubicBezTo>
                  <a:cubicBezTo>
                    <a:pt x="86" y="125"/>
                    <a:pt x="87" y="124"/>
                    <a:pt x="88" y="124"/>
                  </a:cubicBezTo>
                  <a:cubicBezTo>
                    <a:pt x="90" y="124"/>
                    <a:pt x="90" y="124"/>
                    <a:pt x="90" y="124"/>
                  </a:cubicBezTo>
                  <a:cubicBezTo>
                    <a:pt x="90" y="124"/>
                    <a:pt x="91" y="124"/>
                    <a:pt x="92" y="124"/>
                  </a:cubicBezTo>
                  <a:cubicBezTo>
                    <a:pt x="92" y="124"/>
                    <a:pt x="93" y="124"/>
                    <a:pt x="93" y="124"/>
                  </a:cubicBezTo>
                  <a:cubicBezTo>
                    <a:pt x="94" y="124"/>
                    <a:pt x="96" y="124"/>
                    <a:pt x="97" y="122"/>
                  </a:cubicBezTo>
                  <a:cubicBezTo>
                    <a:pt x="98" y="122"/>
                    <a:pt x="99" y="121"/>
                    <a:pt x="99" y="121"/>
                  </a:cubicBezTo>
                  <a:cubicBezTo>
                    <a:pt x="100" y="120"/>
                    <a:pt x="100" y="120"/>
                    <a:pt x="101" y="119"/>
                  </a:cubicBezTo>
                  <a:cubicBezTo>
                    <a:pt x="108" y="114"/>
                    <a:pt x="115" y="108"/>
                    <a:pt x="122" y="100"/>
                  </a:cubicBezTo>
                  <a:cubicBezTo>
                    <a:pt x="124" y="98"/>
                    <a:pt x="124" y="98"/>
                    <a:pt x="124" y="98"/>
                  </a:cubicBezTo>
                  <a:cubicBezTo>
                    <a:pt x="125" y="97"/>
                    <a:pt x="127" y="95"/>
                    <a:pt x="128" y="94"/>
                  </a:cubicBezTo>
                  <a:cubicBezTo>
                    <a:pt x="129" y="93"/>
                    <a:pt x="129" y="93"/>
                    <a:pt x="129" y="93"/>
                  </a:cubicBezTo>
                  <a:cubicBezTo>
                    <a:pt x="130" y="93"/>
                    <a:pt x="131" y="91"/>
                    <a:pt x="131" y="91"/>
                  </a:cubicBezTo>
                  <a:cubicBezTo>
                    <a:pt x="132" y="91"/>
                    <a:pt x="132" y="92"/>
                    <a:pt x="133" y="92"/>
                  </a:cubicBezTo>
                  <a:cubicBezTo>
                    <a:pt x="134" y="94"/>
                    <a:pt x="135" y="95"/>
                    <a:pt x="138" y="96"/>
                  </a:cubicBezTo>
                  <a:cubicBezTo>
                    <a:pt x="144" y="96"/>
                    <a:pt x="144" y="96"/>
                    <a:pt x="144" y="96"/>
                  </a:cubicBezTo>
                  <a:cubicBezTo>
                    <a:pt x="141" y="91"/>
                    <a:pt x="141" y="91"/>
                    <a:pt x="141" y="91"/>
                  </a:cubicBezTo>
                  <a:cubicBezTo>
                    <a:pt x="142" y="87"/>
                    <a:pt x="144" y="82"/>
                    <a:pt x="144" y="78"/>
                  </a:cubicBezTo>
                  <a:cubicBezTo>
                    <a:pt x="146" y="72"/>
                    <a:pt x="148" y="66"/>
                    <a:pt x="150" y="60"/>
                  </a:cubicBezTo>
                  <a:cubicBezTo>
                    <a:pt x="150" y="59"/>
                    <a:pt x="150" y="59"/>
                    <a:pt x="150" y="59"/>
                  </a:cubicBezTo>
                  <a:lnTo>
                    <a:pt x="150" y="57"/>
                  </a:ln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8" name="Freeform 54">
              <a:extLst>
                <a:ext uri="{FF2B5EF4-FFF2-40B4-BE49-F238E27FC236}">
                  <a16:creationId xmlns:a16="http://schemas.microsoft.com/office/drawing/2014/main" id="{52592F76-1784-BEB6-99EA-AB8DE7E8D7CC}"/>
                </a:ext>
              </a:extLst>
            </p:cNvPr>
            <p:cNvSpPr>
              <a:spLocks/>
            </p:cNvSpPr>
            <p:nvPr/>
          </p:nvSpPr>
          <p:spPr bwMode="auto">
            <a:xfrm rot="21097436">
              <a:off x="11528370" y="3282935"/>
              <a:ext cx="284197" cy="333261"/>
            </a:xfrm>
            <a:custGeom>
              <a:avLst/>
              <a:gdLst>
                <a:gd name="T0" fmla="*/ 830066 w 123"/>
                <a:gd name="T1" fmla="*/ 51498 h 132"/>
                <a:gd name="T2" fmla="*/ 780404 w 123"/>
                <a:gd name="T3" fmla="*/ 0 h 132"/>
                <a:gd name="T4" fmla="*/ 723648 w 123"/>
                <a:gd name="T5" fmla="*/ 19312 h 132"/>
                <a:gd name="T6" fmla="*/ 681080 w 123"/>
                <a:gd name="T7" fmla="*/ 32186 h 132"/>
                <a:gd name="T8" fmla="*/ 645607 w 123"/>
                <a:gd name="T9" fmla="*/ 25749 h 132"/>
                <a:gd name="T10" fmla="*/ 560472 w 123"/>
                <a:gd name="T11" fmla="*/ 70809 h 132"/>
                <a:gd name="T12" fmla="*/ 510810 w 123"/>
                <a:gd name="T13" fmla="*/ 64372 h 132"/>
                <a:gd name="T14" fmla="*/ 454053 w 123"/>
                <a:gd name="T15" fmla="*/ 90121 h 132"/>
                <a:gd name="T16" fmla="*/ 432770 w 123"/>
                <a:gd name="T17" fmla="*/ 109433 h 132"/>
                <a:gd name="T18" fmla="*/ 418581 w 123"/>
                <a:gd name="T19" fmla="*/ 109433 h 132"/>
                <a:gd name="T20" fmla="*/ 383108 w 123"/>
                <a:gd name="T21" fmla="*/ 115870 h 132"/>
                <a:gd name="T22" fmla="*/ 333446 w 123"/>
                <a:gd name="T23" fmla="*/ 122307 h 132"/>
                <a:gd name="T24" fmla="*/ 283783 w 123"/>
                <a:gd name="T25" fmla="*/ 122307 h 132"/>
                <a:gd name="T26" fmla="*/ 262500 w 123"/>
                <a:gd name="T27" fmla="*/ 135182 h 132"/>
                <a:gd name="T28" fmla="*/ 205743 w 123"/>
                <a:gd name="T29" fmla="*/ 302549 h 132"/>
                <a:gd name="T30" fmla="*/ 241216 w 123"/>
                <a:gd name="T31" fmla="*/ 321861 h 132"/>
                <a:gd name="T32" fmla="*/ 305067 w 123"/>
                <a:gd name="T33" fmla="*/ 308987 h 132"/>
                <a:gd name="T34" fmla="*/ 312162 w 123"/>
                <a:gd name="T35" fmla="*/ 315424 h 132"/>
                <a:gd name="T36" fmla="*/ 283783 w 123"/>
                <a:gd name="T37" fmla="*/ 328298 h 132"/>
                <a:gd name="T38" fmla="*/ 248310 w 123"/>
                <a:gd name="T39" fmla="*/ 321861 h 132"/>
                <a:gd name="T40" fmla="*/ 170270 w 123"/>
                <a:gd name="T41" fmla="*/ 379796 h 132"/>
                <a:gd name="T42" fmla="*/ 21284 w 123"/>
                <a:gd name="T43" fmla="*/ 663034 h 132"/>
                <a:gd name="T44" fmla="*/ 85135 w 123"/>
                <a:gd name="T45" fmla="*/ 766029 h 132"/>
                <a:gd name="T46" fmla="*/ 99324 w 123"/>
                <a:gd name="T47" fmla="*/ 785341 h 132"/>
                <a:gd name="T48" fmla="*/ 163175 w 123"/>
                <a:gd name="T49" fmla="*/ 843276 h 132"/>
                <a:gd name="T50" fmla="*/ 255405 w 123"/>
                <a:gd name="T51" fmla="*/ 823964 h 132"/>
                <a:gd name="T52" fmla="*/ 283783 w 123"/>
                <a:gd name="T53" fmla="*/ 791778 h 132"/>
                <a:gd name="T54" fmla="*/ 305067 w 123"/>
                <a:gd name="T55" fmla="*/ 759592 h 132"/>
                <a:gd name="T56" fmla="*/ 347635 w 123"/>
                <a:gd name="T57" fmla="*/ 669471 h 132"/>
                <a:gd name="T58" fmla="*/ 368918 w 123"/>
                <a:gd name="T59" fmla="*/ 617973 h 132"/>
                <a:gd name="T60" fmla="*/ 390202 w 123"/>
                <a:gd name="T61" fmla="*/ 534289 h 132"/>
                <a:gd name="T62" fmla="*/ 397297 w 123"/>
                <a:gd name="T63" fmla="*/ 476354 h 132"/>
                <a:gd name="T64" fmla="*/ 489526 w 123"/>
                <a:gd name="T65" fmla="*/ 431294 h 132"/>
                <a:gd name="T66" fmla="*/ 539188 w 123"/>
                <a:gd name="T67" fmla="*/ 411982 h 132"/>
                <a:gd name="T68" fmla="*/ 624324 w 123"/>
                <a:gd name="T69" fmla="*/ 347610 h 132"/>
                <a:gd name="T70" fmla="*/ 709459 w 123"/>
                <a:gd name="T71" fmla="*/ 263926 h 132"/>
                <a:gd name="T72" fmla="*/ 808783 w 123"/>
                <a:gd name="T73" fmla="*/ 167368 h 132"/>
                <a:gd name="T74" fmla="*/ 844256 w 123"/>
                <a:gd name="T75" fmla="*/ 57935 h 1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3" h="132">
                  <a:moveTo>
                    <a:pt x="119" y="9"/>
                  </a:moveTo>
                  <a:cubicBezTo>
                    <a:pt x="118" y="8"/>
                    <a:pt x="117" y="8"/>
                    <a:pt x="117" y="8"/>
                  </a:cubicBezTo>
                  <a:cubicBezTo>
                    <a:pt x="116" y="7"/>
                    <a:pt x="116" y="6"/>
                    <a:pt x="116" y="5"/>
                  </a:cubicBezTo>
                  <a:cubicBezTo>
                    <a:pt x="115" y="3"/>
                    <a:pt x="114" y="0"/>
                    <a:pt x="110" y="0"/>
                  </a:cubicBezTo>
                  <a:cubicBezTo>
                    <a:pt x="109" y="0"/>
                    <a:pt x="109" y="0"/>
                    <a:pt x="108" y="0"/>
                  </a:cubicBezTo>
                  <a:cubicBezTo>
                    <a:pt x="105" y="0"/>
                    <a:pt x="104" y="2"/>
                    <a:pt x="102" y="3"/>
                  </a:cubicBezTo>
                  <a:cubicBezTo>
                    <a:pt x="100" y="4"/>
                    <a:pt x="99" y="5"/>
                    <a:pt x="97" y="5"/>
                  </a:cubicBezTo>
                  <a:cubicBezTo>
                    <a:pt x="97" y="5"/>
                    <a:pt x="96" y="5"/>
                    <a:pt x="96" y="5"/>
                  </a:cubicBezTo>
                  <a:cubicBezTo>
                    <a:pt x="94" y="4"/>
                    <a:pt x="94" y="4"/>
                    <a:pt x="94" y="4"/>
                  </a:cubicBezTo>
                  <a:cubicBezTo>
                    <a:pt x="93" y="4"/>
                    <a:pt x="92" y="4"/>
                    <a:pt x="91" y="4"/>
                  </a:cubicBezTo>
                  <a:cubicBezTo>
                    <a:pt x="88" y="4"/>
                    <a:pt x="85" y="5"/>
                    <a:pt x="83" y="8"/>
                  </a:cubicBezTo>
                  <a:cubicBezTo>
                    <a:pt x="80" y="11"/>
                    <a:pt x="80" y="11"/>
                    <a:pt x="79" y="11"/>
                  </a:cubicBezTo>
                  <a:cubicBezTo>
                    <a:pt x="78" y="11"/>
                    <a:pt x="77" y="11"/>
                    <a:pt x="76" y="10"/>
                  </a:cubicBezTo>
                  <a:cubicBezTo>
                    <a:pt x="74" y="10"/>
                    <a:pt x="73" y="10"/>
                    <a:pt x="72" y="10"/>
                  </a:cubicBezTo>
                  <a:cubicBezTo>
                    <a:pt x="69" y="10"/>
                    <a:pt x="67" y="10"/>
                    <a:pt x="66" y="12"/>
                  </a:cubicBezTo>
                  <a:cubicBezTo>
                    <a:pt x="65" y="13"/>
                    <a:pt x="64" y="14"/>
                    <a:pt x="64" y="14"/>
                  </a:cubicBezTo>
                  <a:cubicBezTo>
                    <a:pt x="64" y="15"/>
                    <a:pt x="64" y="15"/>
                    <a:pt x="63" y="15"/>
                  </a:cubicBezTo>
                  <a:cubicBezTo>
                    <a:pt x="63" y="16"/>
                    <a:pt x="62" y="17"/>
                    <a:pt x="61" y="17"/>
                  </a:cubicBezTo>
                  <a:cubicBezTo>
                    <a:pt x="60" y="17"/>
                    <a:pt x="60" y="17"/>
                    <a:pt x="60" y="17"/>
                  </a:cubicBezTo>
                  <a:cubicBezTo>
                    <a:pt x="59" y="17"/>
                    <a:pt x="59" y="17"/>
                    <a:pt x="59" y="17"/>
                  </a:cubicBezTo>
                  <a:cubicBezTo>
                    <a:pt x="58" y="17"/>
                    <a:pt x="57" y="17"/>
                    <a:pt x="57" y="18"/>
                  </a:cubicBezTo>
                  <a:cubicBezTo>
                    <a:pt x="56" y="18"/>
                    <a:pt x="55" y="18"/>
                    <a:pt x="54" y="18"/>
                  </a:cubicBezTo>
                  <a:cubicBezTo>
                    <a:pt x="53" y="19"/>
                    <a:pt x="52" y="19"/>
                    <a:pt x="52" y="19"/>
                  </a:cubicBezTo>
                  <a:cubicBezTo>
                    <a:pt x="50" y="19"/>
                    <a:pt x="48" y="19"/>
                    <a:pt x="47" y="19"/>
                  </a:cubicBezTo>
                  <a:cubicBezTo>
                    <a:pt x="45" y="19"/>
                    <a:pt x="43" y="19"/>
                    <a:pt x="42" y="19"/>
                  </a:cubicBezTo>
                  <a:cubicBezTo>
                    <a:pt x="41" y="19"/>
                    <a:pt x="40" y="19"/>
                    <a:pt x="40" y="19"/>
                  </a:cubicBezTo>
                  <a:cubicBezTo>
                    <a:pt x="38" y="19"/>
                    <a:pt x="38" y="19"/>
                    <a:pt x="38" y="19"/>
                  </a:cubicBezTo>
                  <a:cubicBezTo>
                    <a:pt x="37" y="21"/>
                    <a:pt x="37" y="21"/>
                    <a:pt x="37" y="21"/>
                  </a:cubicBezTo>
                  <a:cubicBezTo>
                    <a:pt x="34" y="27"/>
                    <a:pt x="33" y="33"/>
                    <a:pt x="32" y="38"/>
                  </a:cubicBezTo>
                  <a:cubicBezTo>
                    <a:pt x="31" y="41"/>
                    <a:pt x="30" y="44"/>
                    <a:pt x="29" y="47"/>
                  </a:cubicBezTo>
                  <a:cubicBezTo>
                    <a:pt x="27" y="54"/>
                    <a:pt x="27" y="54"/>
                    <a:pt x="27" y="54"/>
                  </a:cubicBezTo>
                  <a:cubicBezTo>
                    <a:pt x="34" y="50"/>
                    <a:pt x="34" y="50"/>
                    <a:pt x="34" y="50"/>
                  </a:cubicBezTo>
                  <a:cubicBezTo>
                    <a:pt x="35" y="49"/>
                    <a:pt x="37" y="49"/>
                    <a:pt x="38" y="49"/>
                  </a:cubicBezTo>
                  <a:cubicBezTo>
                    <a:pt x="40" y="48"/>
                    <a:pt x="41" y="48"/>
                    <a:pt x="43" y="48"/>
                  </a:cubicBezTo>
                  <a:cubicBezTo>
                    <a:pt x="44" y="47"/>
                    <a:pt x="44" y="47"/>
                    <a:pt x="45" y="46"/>
                  </a:cubicBezTo>
                  <a:cubicBezTo>
                    <a:pt x="45" y="47"/>
                    <a:pt x="44" y="48"/>
                    <a:pt x="44" y="49"/>
                  </a:cubicBezTo>
                  <a:cubicBezTo>
                    <a:pt x="43" y="50"/>
                    <a:pt x="43" y="51"/>
                    <a:pt x="42" y="52"/>
                  </a:cubicBezTo>
                  <a:cubicBezTo>
                    <a:pt x="42" y="52"/>
                    <a:pt x="41" y="52"/>
                    <a:pt x="40" y="51"/>
                  </a:cubicBezTo>
                  <a:cubicBezTo>
                    <a:pt x="39" y="51"/>
                    <a:pt x="37" y="50"/>
                    <a:pt x="36" y="50"/>
                  </a:cubicBezTo>
                  <a:cubicBezTo>
                    <a:pt x="35" y="50"/>
                    <a:pt x="35" y="50"/>
                    <a:pt x="35" y="50"/>
                  </a:cubicBezTo>
                  <a:cubicBezTo>
                    <a:pt x="30" y="51"/>
                    <a:pt x="28" y="55"/>
                    <a:pt x="26" y="57"/>
                  </a:cubicBezTo>
                  <a:cubicBezTo>
                    <a:pt x="25" y="58"/>
                    <a:pt x="25" y="59"/>
                    <a:pt x="24" y="59"/>
                  </a:cubicBezTo>
                  <a:cubicBezTo>
                    <a:pt x="23" y="60"/>
                    <a:pt x="22" y="62"/>
                    <a:pt x="21" y="63"/>
                  </a:cubicBezTo>
                  <a:cubicBezTo>
                    <a:pt x="12" y="74"/>
                    <a:pt x="0" y="88"/>
                    <a:pt x="3" y="103"/>
                  </a:cubicBezTo>
                  <a:cubicBezTo>
                    <a:pt x="4" y="107"/>
                    <a:pt x="6" y="111"/>
                    <a:pt x="9" y="116"/>
                  </a:cubicBezTo>
                  <a:cubicBezTo>
                    <a:pt x="10" y="117"/>
                    <a:pt x="11" y="118"/>
                    <a:pt x="12" y="119"/>
                  </a:cubicBezTo>
                  <a:cubicBezTo>
                    <a:pt x="12" y="120"/>
                    <a:pt x="13" y="120"/>
                    <a:pt x="13" y="121"/>
                  </a:cubicBezTo>
                  <a:cubicBezTo>
                    <a:pt x="13" y="121"/>
                    <a:pt x="14" y="121"/>
                    <a:pt x="14" y="122"/>
                  </a:cubicBezTo>
                  <a:cubicBezTo>
                    <a:pt x="14" y="123"/>
                    <a:pt x="14" y="124"/>
                    <a:pt x="15" y="125"/>
                  </a:cubicBezTo>
                  <a:cubicBezTo>
                    <a:pt x="17" y="128"/>
                    <a:pt x="21" y="130"/>
                    <a:pt x="23" y="131"/>
                  </a:cubicBezTo>
                  <a:cubicBezTo>
                    <a:pt x="25" y="132"/>
                    <a:pt x="26" y="132"/>
                    <a:pt x="28" y="132"/>
                  </a:cubicBezTo>
                  <a:cubicBezTo>
                    <a:pt x="31" y="132"/>
                    <a:pt x="34" y="131"/>
                    <a:pt x="36" y="128"/>
                  </a:cubicBezTo>
                  <a:cubicBezTo>
                    <a:pt x="37" y="127"/>
                    <a:pt x="38" y="126"/>
                    <a:pt x="39" y="125"/>
                  </a:cubicBezTo>
                  <a:cubicBezTo>
                    <a:pt x="39" y="124"/>
                    <a:pt x="39" y="123"/>
                    <a:pt x="40" y="123"/>
                  </a:cubicBezTo>
                  <a:cubicBezTo>
                    <a:pt x="40" y="122"/>
                    <a:pt x="41" y="122"/>
                    <a:pt x="41" y="121"/>
                  </a:cubicBezTo>
                  <a:cubicBezTo>
                    <a:pt x="42" y="120"/>
                    <a:pt x="43" y="119"/>
                    <a:pt x="43" y="118"/>
                  </a:cubicBezTo>
                  <a:cubicBezTo>
                    <a:pt x="45" y="115"/>
                    <a:pt x="47" y="111"/>
                    <a:pt x="49" y="106"/>
                  </a:cubicBezTo>
                  <a:cubicBezTo>
                    <a:pt x="49" y="105"/>
                    <a:pt x="49" y="105"/>
                    <a:pt x="49" y="104"/>
                  </a:cubicBezTo>
                  <a:cubicBezTo>
                    <a:pt x="50" y="102"/>
                    <a:pt x="50" y="100"/>
                    <a:pt x="51" y="98"/>
                  </a:cubicBezTo>
                  <a:cubicBezTo>
                    <a:pt x="52" y="97"/>
                    <a:pt x="52" y="97"/>
                    <a:pt x="52" y="96"/>
                  </a:cubicBezTo>
                  <a:cubicBezTo>
                    <a:pt x="54" y="94"/>
                    <a:pt x="55" y="91"/>
                    <a:pt x="55" y="88"/>
                  </a:cubicBezTo>
                  <a:cubicBezTo>
                    <a:pt x="55" y="86"/>
                    <a:pt x="55" y="84"/>
                    <a:pt x="55" y="83"/>
                  </a:cubicBezTo>
                  <a:cubicBezTo>
                    <a:pt x="54" y="82"/>
                    <a:pt x="54" y="82"/>
                    <a:pt x="54" y="81"/>
                  </a:cubicBezTo>
                  <a:cubicBezTo>
                    <a:pt x="54" y="77"/>
                    <a:pt x="54" y="75"/>
                    <a:pt x="56" y="74"/>
                  </a:cubicBezTo>
                  <a:cubicBezTo>
                    <a:pt x="60" y="72"/>
                    <a:pt x="63" y="70"/>
                    <a:pt x="66" y="68"/>
                  </a:cubicBezTo>
                  <a:cubicBezTo>
                    <a:pt x="69" y="67"/>
                    <a:pt x="69" y="67"/>
                    <a:pt x="69" y="67"/>
                  </a:cubicBezTo>
                  <a:cubicBezTo>
                    <a:pt x="70" y="66"/>
                    <a:pt x="71" y="66"/>
                    <a:pt x="72" y="65"/>
                  </a:cubicBezTo>
                  <a:cubicBezTo>
                    <a:pt x="74" y="65"/>
                    <a:pt x="75" y="65"/>
                    <a:pt x="76" y="64"/>
                  </a:cubicBezTo>
                  <a:cubicBezTo>
                    <a:pt x="79" y="63"/>
                    <a:pt x="82" y="60"/>
                    <a:pt x="84" y="58"/>
                  </a:cubicBezTo>
                  <a:cubicBezTo>
                    <a:pt x="85" y="56"/>
                    <a:pt x="87" y="55"/>
                    <a:pt x="88" y="54"/>
                  </a:cubicBezTo>
                  <a:cubicBezTo>
                    <a:pt x="92" y="51"/>
                    <a:pt x="94" y="48"/>
                    <a:pt x="97" y="44"/>
                  </a:cubicBezTo>
                  <a:cubicBezTo>
                    <a:pt x="98" y="43"/>
                    <a:pt x="99" y="42"/>
                    <a:pt x="100" y="41"/>
                  </a:cubicBezTo>
                  <a:cubicBezTo>
                    <a:pt x="104" y="36"/>
                    <a:pt x="108" y="31"/>
                    <a:pt x="113" y="27"/>
                  </a:cubicBezTo>
                  <a:cubicBezTo>
                    <a:pt x="113" y="27"/>
                    <a:pt x="114" y="26"/>
                    <a:pt x="114" y="26"/>
                  </a:cubicBezTo>
                  <a:cubicBezTo>
                    <a:pt x="119" y="21"/>
                    <a:pt x="123" y="18"/>
                    <a:pt x="123" y="14"/>
                  </a:cubicBezTo>
                  <a:cubicBezTo>
                    <a:pt x="123" y="11"/>
                    <a:pt x="120" y="10"/>
                    <a:pt x="119" y="9"/>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399" name="Freeform 57">
              <a:extLst>
                <a:ext uri="{FF2B5EF4-FFF2-40B4-BE49-F238E27FC236}">
                  <a16:creationId xmlns:a16="http://schemas.microsoft.com/office/drawing/2014/main" id="{DCCF32BD-BDE6-6231-2328-7024DE2B80A9}"/>
                </a:ext>
              </a:extLst>
            </p:cNvPr>
            <p:cNvSpPr>
              <a:spLocks/>
            </p:cNvSpPr>
            <p:nvPr/>
          </p:nvSpPr>
          <p:spPr bwMode="auto">
            <a:xfrm rot="21097436">
              <a:off x="11711768" y="3109503"/>
              <a:ext cx="112983" cy="159965"/>
            </a:xfrm>
            <a:custGeom>
              <a:avLst/>
              <a:gdLst>
                <a:gd name="T0" fmla="*/ 332759 w 49"/>
                <a:gd name="T1" fmla="*/ 174798 h 63"/>
                <a:gd name="T2" fmla="*/ 297359 w 49"/>
                <a:gd name="T3" fmla="*/ 155376 h 63"/>
                <a:gd name="T4" fmla="*/ 290279 w 49"/>
                <a:gd name="T5" fmla="*/ 155376 h 63"/>
                <a:gd name="T6" fmla="*/ 283199 w 49"/>
                <a:gd name="T7" fmla="*/ 148902 h 63"/>
                <a:gd name="T8" fmla="*/ 261959 w 49"/>
                <a:gd name="T9" fmla="*/ 142428 h 63"/>
                <a:gd name="T10" fmla="*/ 240719 w 49"/>
                <a:gd name="T11" fmla="*/ 135954 h 63"/>
                <a:gd name="T12" fmla="*/ 184079 w 49"/>
                <a:gd name="T13" fmla="*/ 148902 h 63"/>
                <a:gd name="T14" fmla="*/ 184079 w 49"/>
                <a:gd name="T15" fmla="*/ 123006 h 63"/>
                <a:gd name="T16" fmla="*/ 176999 w 49"/>
                <a:gd name="T17" fmla="*/ 97110 h 63"/>
                <a:gd name="T18" fmla="*/ 162840 w 49"/>
                <a:gd name="T19" fmla="*/ 51792 h 63"/>
                <a:gd name="T20" fmla="*/ 127440 w 49"/>
                <a:gd name="T21" fmla="*/ 38844 h 63"/>
                <a:gd name="T22" fmla="*/ 127440 w 49"/>
                <a:gd name="T23" fmla="*/ 32370 h 63"/>
                <a:gd name="T24" fmla="*/ 127440 w 49"/>
                <a:gd name="T25" fmla="*/ 38844 h 63"/>
                <a:gd name="T26" fmla="*/ 127440 w 49"/>
                <a:gd name="T27" fmla="*/ 32370 h 63"/>
                <a:gd name="T28" fmla="*/ 120360 w 49"/>
                <a:gd name="T29" fmla="*/ 25896 h 63"/>
                <a:gd name="T30" fmla="*/ 84960 w 49"/>
                <a:gd name="T31" fmla="*/ 0 h 63"/>
                <a:gd name="T32" fmla="*/ 56640 w 49"/>
                <a:gd name="T33" fmla="*/ 12948 h 63"/>
                <a:gd name="T34" fmla="*/ 35400 w 49"/>
                <a:gd name="T35" fmla="*/ 77688 h 63"/>
                <a:gd name="T36" fmla="*/ 35400 w 49"/>
                <a:gd name="T37" fmla="*/ 97110 h 63"/>
                <a:gd name="T38" fmla="*/ 21240 w 49"/>
                <a:gd name="T39" fmla="*/ 194220 h 63"/>
                <a:gd name="T40" fmla="*/ 14160 w 49"/>
                <a:gd name="T41" fmla="*/ 284856 h 63"/>
                <a:gd name="T42" fmla="*/ 49560 w 49"/>
                <a:gd name="T43" fmla="*/ 388440 h 63"/>
                <a:gd name="T44" fmla="*/ 99120 w 49"/>
                <a:gd name="T45" fmla="*/ 407862 h 63"/>
                <a:gd name="T46" fmla="*/ 141600 w 49"/>
                <a:gd name="T47" fmla="*/ 394914 h 63"/>
                <a:gd name="T48" fmla="*/ 162840 w 49"/>
                <a:gd name="T49" fmla="*/ 356070 h 63"/>
                <a:gd name="T50" fmla="*/ 169920 w 49"/>
                <a:gd name="T51" fmla="*/ 349596 h 63"/>
                <a:gd name="T52" fmla="*/ 191159 w 49"/>
                <a:gd name="T53" fmla="*/ 394914 h 63"/>
                <a:gd name="T54" fmla="*/ 212399 w 49"/>
                <a:gd name="T55" fmla="*/ 401388 h 63"/>
                <a:gd name="T56" fmla="*/ 212399 w 49"/>
                <a:gd name="T57" fmla="*/ 401388 h 63"/>
                <a:gd name="T58" fmla="*/ 290279 w 49"/>
                <a:gd name="T59" fmla="*/ 343122 h 63"/>
                <a:gd name="T60" fmla="*/ 290279 w 49"/>
                <a:gd name="T61" fmla="*/ 343122 h 63"/>
                <a:gd name="T62" fmla="*/ 332759 w 49"/>
                <a:gd name="T63" fmla="*/ 252486 h 63"/>
                <a:gd name="T64" fmla="*/ 339839 w 49"/>
                <a:gd name="T65" fmla="*/ 239538 h 63"/>
                <a:gd name="T66" fmla="*/ 332759 w 49"/>
                <a:gd name="T67" fmla="*/ 174798 h 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 h="63">
                  <a:moveTo>
                    <a:pt x="47" y="27"/>
                  </a:moveTo>
                  <a:cubicBezTo>
                    <a:pt x="46" y="25"/>
                    <a:pt x="44" y="24"/>
                    <a:pt x="42" y="24"/>
                  </a:cubicBezTo>
                  <a:cubicBezTo>
                    <a:pt x="42" y="24"/>
                    <a:pt x="41" y="24"/>
                    <a:pt x="41" y="24"/>
                  </a:cubicBezTo>
                  <a:cubicBezTo>
                    <a:pt x="41" y="24"/>
                    <a:pt x="40" y="23"/>
                    <a:pt x="40" y="23"/>
                  </a:cubicBezTo>
                  <a:cubicBezTo>
                    <a:pt x="39" y="23"/>
                    <a:pt x="38" y="22"/>
                    <a:pt x="37" y="22"/>
                  </a:cubicBezTo>
                  <a:cubicBezTo>
                    <a:pt x="36" y="22"/>
                    <a:pt x="35" y="21"/>
                    <a:pt x="34" y="21"/>
                  </a:cubicBezTo>
                  <a:cubicBezTo>
                    <a:pt x="31" y="21"/>
                    <a:pt x="28" y="22"/>
                    <a:pt x="26" y="23"/>
                  </a:cubicBezTo>
                  <a:cubicBezTo>
                    <a:pt x="26" y="22"/>
                    <a:pt x="26" y="20"/>
                    <a:pt x="26" y="19"/>
                  </a:cubicBezTo>
                  <a:cubicBezTo>
                    <a:pt x="25" y="17"/>
                    <a:pt x="25" y="16"/>
                    <a:pt x="25" y="15"/>
                  </a:cubicBezTo>
                  <a:cubicBezTo>
                    <a:pt x="25" y="13"/>
                    <a:pt x="24" y="10"/>
                    <a:pt x="23" y="8"/>
                  </a:cubicBezTo>
                  <a:cubicBezTo>
                    <a:pt x="21" y="6"/>
                    <a:pt x="19" y="6"/>
                    <a:pt x="18" y="6"/>
                  </a:cubicBezTo>
                  <a:cubicBezTo>
                    <a:pt x="18" y="6"/>
                    <a:pt x="18" y="5"/>
                    <a:pt x="18" y="5"/>
                  </a:cubicBezTo>
                  <a:cubicBezTo>
                    <a:pt x="18" y="5"/>
                    <a:pt x="18" y="6"/>
                    <a:pt x="18" y="6"/>
                  </a:cubicBezTo>
                  <a:cubicBezTo>
                    <a:pt x="18" y="5"/>
                    <a:pt x="18" y="5"/>
                    <a:pt x="18" y="5"/>
                  </a:cubicBezTo>
                  <a:cubicBezTo>
                    <a:pt x="18" y="5"/>
                    <a:pt x="17" y="4"/>
                    <a:pt x="17" y="4"/>
                  </a:cubicBezTo>
                  <a:cubicBezTo>
                    <a:pt x="16" y="2"/>
                    <a:pt x="15" y="0"/>
                    <a:pt x="12" y="0"/>
                  </a:cubicBezTo>
                  <a:cubicBezTo>
                    <a:pt x="10" y="0"/>
                    <a:pt x="9" y="1"/>
                    <a:pt x="8" y="2"/>
                  </a:cubicBezTo>
                  <a:cubicBezTo>
                    <a:pt x="4" y="4"/>
                    <a:pt x="5" y="9"/>
                    <a:pt x="5" y="12"/>
                  </a:cubicBezTo>
                  <a:cubicBezTo>
                    <a:pt x="5" y="13"/>
                    <a:pt x="5" y="14"/>
                    <a:pt x="5" y="15"/>
                  </a:cubicBezTo>
                  <a:cubicBezTo>
                    <a:pt x="3" y="20"/>
                    <a:pt x="3" y="25"/>
                    <a:pt x="3" y="30"/>
                  </a:cubicBezTo>
                  <a:cubicBezTo>
                    <a:pt x="4" y="35"/>
                    <a:pt x="3" y="39"/>
                    <a:pt x="2" y="44"/>
                  </a:cubicBezTo>
                  <a:cubicBezTo>
                    <a:pt x="0" y="51"/>
                    <a:pt x="2" y="57"/>
                    <a:pt x="7" y="60"/>
                  </a:cubicBezTo>
                  <a:cubicBezTo>
                    <a:pt x="9" y="62"/>
                    <a:pt x="12" y="63"/>
                    <a:pt x="14" y="63"/>
                  </a:cubicBezTo>
                  <a:cubicBezTo>
                    <a:pt x="16" y="63"/>
                    <a:pt x="18" y="62"/>
                    <a:pt x="20" y="61"/>
                  </a:cubicBezTo>
                  <a:cubicBezTo>
                    <a:pt x="22" y="59"/>
                    <a:pt x="23" y="57"/>
                    <a:pt x="23" y="55"/>
                  </a:cubicBezTo>
                  <a:cubicBezTo>
                    <a:pt x="23" y="55"/>
                    <a:pt x="23" y="55"/>
                    <a:pt x="24" y="54"/>
                  </a:cubicBezTo>
                  <a:cubicBezTo>
                    <a:pt x="23" y="57"/>
                    <a:pt x="24" y="59"/>
                    <a:pt x="27" y="61"/>
                  </a:cubicBezTo>
                  <a:cubicBezTo>
                    <a:pt x="28" y="61"/>
                    <a:pt x="29" y="62"/>
                    <a:pt x="30" y="62"/>
                  </a:cubicBezTo>
                  <a:cubicBezTo>
                    <a:pt x="30" y="62"/>
                    <a:pt x="30" y="62"/>
                    <a:pt x="30" y="62"/>
                  </a:cubicBezTo>
                  <a:cubicBezTo>
                    <a:pt x="34" y="62"/>
                    <a:pt x="38" y="57"/>
                    <a:pt x="41" y="53"/>
                  </a:cubicBezTo>
                  <a:cubicBezTo>
                    <a:pt x="41" y="53"/>
                    <a:pt x="41" y="53"/>
                    <a:pt x="41" y="53"/>
                  </a:cubicBezTo>
                  <a:cubicBezTo>
                    <a:pt x="44" y="49"/>
                    <a:pt x="47" y="45"/>
                    <a:pt x="47" y="39"/>
                  </a:cubicBezTo>
                  <a:cubicBezTo>
                    <a:pt x="47" y="39"/>
                    <a:pt x="47" y="38"/>
                    <a:pt x="48" y="37"/>
                  </a:cubicBezTo>
                  <a:cubicBezTo>
                    <a:pt x="48" y="34"/>
                    <a:pt x="49" y="30"/>
                    <a:pt x="47" y="27"/>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0" name="Freeform 58">
              <a:extLst>
                <a:ext uri="{FF2B5EF4-FFF2-40B4-BE49-F238E27FC236}">
                  <a16:creationId xmlns:a16="http://schemas.microsoft.com/office/drawing/2014/main" id="{40936D81-EAEE-1BCD-AE32-18687B16E6BA}"/>
                </a:ext>
              </a:extLst>
            </p:cNvPr>
            <p:cNvSpPr>
              <a:spLocks/>
            </p:cNvSpPr>
            <p:nvPr/>
          </p:nvSpPr>
          <p:spPr bwMode="auto">
            <a:xfrm rot="21097436">
              <a:off x="11379504" y="2976815"/>
              <a:ext cx="191202" cy="66653"/>
            </a:xfrm>
            <a:custGeom>
              <a:avLst/>
              <a:gdLst>
                <a:gd name="T0" fmla="*/ 580020 w 83"/>
                <a:gd name="T1" fmla="*/ 65363 h 26"/>
                <a:gd name="T2" fmla="*/ 502212 w 83"/>
                <a:gd name="T3" fmla="*/ 19609 h 26"/>
                <a:gd name="T4" fmla="*/ 466845 w 83"/>
                <a:gd name="T5" fmla="*/ 19609 h 26"/>
                <a:gd name="T6" fmla="*/ 431478 w 83"/>
                <a:gd name="T7" fmla="*/ 26145 h 26"/>
                <a:gd name="T8" fmla="*/ 417331 w 83"/>
                <a:gd name="T9" fmla="*/ 19609 h 26"/>
                <a:gd name="T10" fmla="*/ 367817 w 83"/>
                <a:gd name="T11" fmla="*/ 13073 h 26"/>
                <a:gd name="T12" fmla="*/ 275863 w 83"/>
                <a:gd name="T13" fmla="*/ 0 h 26"/>
                <a:gd name="T14" fmla="*/ 233423 w 83"/>
                <a:gd name="T15" fmla="*/ 6536 h 26"/>
                <a:gd name="T16" fmla="*/ 212202 w 83"/>
                <a:gd name="T17" fmla="*/ 6536 h 26"/>
                <a:gd name="T18" fmla="*/ 106101 w 83"/>
                <a:gd name="T19" fmla="*/ 26145 h 26"/>
                <a:gd name="T20" fmla="*/ 7073 w 83"/>
                <a:gd name="T21" fmla="*/ 71899 h 26"/>
                <a:gd name="T22" fmla="*/ 14147 w 83"/>
                <a:gd name="T23" fmla="*/ 104580 h 26"/>
                <a:gd name="T24" fmla="*/ 77808 w 83"/>
                <a:gd name="T25" fmla="*/ 124189 h 26"/>
                <a:gd name="T26" fmla="*/ 91954 w 83"/>
                <a:gd name="T27" fmla="*/ 124189 h 26"/>
                <a:gd name="T28" fmla="*/ 113175 w 83"/>
                <a:gd name="T29" fmla="*/ 124189 h 26"/>
                <a:gd name="T30" fmla="*/ 162688 w 83"/>
                <a:gd name="T31" fmla="*/ 130725 h 26"/>
                <a:gd name="T32" fmla="*/ 169762 w 83"/>
                <a:gd name="T33" fmla="*/ 143798 h 26"/>
                <a:gd name="T34" fmla="*/ 198055 w 83"/>
                <a:gd name="T35" fmla="*/ 156870 h 26"/>
                <a:gd name="T36" fmla="*/ 247569 w 83"/>
                <a:gd name="T37" fmla="*/ 163407 h 26"/>
                <a:gd name="T38" fmla="*/ 261716 w 83"/>
                <a:gd name="T39" fmla="*/ 163407 h 26"/>
                <a:gd name="T40" fmla="*/ 282936 w 83"/>
                <a:gd name="T41" fmla="*/ 163407 h 26"/>
                <a:gd name="T42" fmla="*/ 297083 w 83"/>
                <a:gd name="T43" fmla="*/ 169943 h 26"/>
                <a:gd name="T44" fmla="*/ 325377 w 83"/>
                <a:gd name="T45" fmla="*/ 169943 h 26"/>
                <a:gd name="T46" fmla="*/ 339524 w 83"/>
                <a:gd name="T47" fmla="*/ 169943 h 26"/>
                <a:gd name="T48" fmla="*/ 389038 w 83"/>
                <a:gd name="T49" fmla="*/ 163407 h 26"/>
                <a:gd name="T50" fmla="*/ 452698 w 83"/>
                <a:gd name="T51" fmla="*/ 156870 h 26"/>
                <a:gd name="T52" fmla="*/ 537579 w 83"/>
                <a:gd name="T53" fmla="*/ 130725 h 26"/>
                <a:gd name="T54" fmla="*/ 544653 w 83"/>
                <a:gd name="T55" fmla="*/ 124189 h 26"/>
                <a:gd name="T56" fmla="*/ 580020 w 83"/>
                <a:gd name="T57" fmla="*/ 65363 h 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3" h="26">
                  <a:moveTo>
                    <a:pt x="82" y="10"/>
                  </a:moveTo>
                  <a:cubicBezTo>
                    <a:pt x="81" y="5"/>
                    <a:pt x="74" y="3"/>
                    <a:pt x="71" y="3"/>
                  </a:cubicBezTo>
                  <a:cubicBezTo>
                    <a:pt x="69" y="3"/>
                    <a:pt x="67" y="3"/>
                    <a:pt x="66" y="3"/>
                  </a:cubicBezTo>
                  <a:cubicBezTo>
                    <a:pt x="64" y="4"/>
                    <a:pt x="63" y="4"/>
                    <a:pt x="61" y="4"/>
                  </a:cubicBezTo>
                  <a:cubicBezTo>
                    <a:pt x="60" y="4"/>
                    <a:pt x="59" y="4"/>
                    <a:pt x="59" y="3"/>
                  </a:cubicBezTo>
                  <a:cubicBezTo>
                    <a:pt x="56" y="3"/>
                    <a:pt x="54" y="3"/>
                    <a:pt x="52" y="2"/>
                  </a:cubicBezTo>
                  <a:cubicBezTo>
                    <a:pt x="48" y="1"/>
                    <a:pt x="43" y="0"/>
                    <a:pt x="39" y="0"/>
                  </a:cubicBezTo>
                  <a:cubicBezTo>
                    <a:pt x="37" y="0"/>
                    <a:pt x="35" y="0"/>
                    <a:pt x="33" y="1"/>
                  </a:cubicBezTo>
                  <a:cubicBezTo>
                    <a:pt x="30" y="1"/>
                    <a:pt x="30" y="1"/>
                    <a:pt x="30" y="1"/>
                  </a:cubicBezTo>
                  <a:cubicBezTo>
                    <a:pt x="25" y="3"/>
                    <a:pt x="20" y="4"/>
                    <a:pt x="15" y="4"/>
                  </a:cubicBezTo>
                  <a:cubicBezTo>
                    <a:pt x="11" y="5"/>
                    <a:pt x="3" y="5"/>
                    <a:pt x="1" y="11"/>
                  </a:cubicBezTo>
                  <a:cubicBezTo>
                    <a:pt x="0" y="13"/>
                    <a:pt x="1" y="15"/>
                    <a:pt x="2" y="16"/>
                  </a:cubicBezTo>
                  <a:cubicBezTo>
                    <a:pt x="4" y="19"/>
                    <a:pt x="8" y="19"/>
                    <a:pt x="11" y="19"/>
                  </a:cubicBezTo>
                  <a:cubicBezTo>
                    <a:pt x="12" y="19"/>
                    <a:pt x="12" y="19"/>
                    <a:pt x="13" y="19"/>
                  </a:cubicBezTo>
                  <a:cubicBezTo>
                    <a:pt x="13" y="19"/>
                    <a:pt x="15" y="19"/>
                    <a:pt x="16" y="19"/>
                  </a:cubicBezTo>
                  <a:cubicBezTo>
                    <a:pt x="18" y="19"/>
                    <a:pt x="21" y="19"/>
                    <a:pt x="23" y="20"/>
                  </a:cubicBezTo>
                  <a:cubicBezTo>
                    <a:pt x="23" y="20"/>
                    <a:pt x="23" y="21"/>
                    <a:pt x="24" y="22"/>
                  </a:cubicBezTo>
                  <a:cubicBezTo>
                    <a:pt x="25" y="23"/>
                    <a:pt x="27" y="24"/>
                    <a:pt x="28" y="24"/>
                  </a:cubicBezTo>
                  <a:cubicBezTo>
                    <a:pt x="30" y="25"/>
                    <a:pt x="33" y="25"/>
                    <a:pt x="35" y="25"/>
                  </a:cubicBezTo>
                  <a:cubicBezTo>
                    <a:pt x="37" y="25"/>
                    <a:pt x="37" y="25"/>
                    <a:pt x="37" y="25"/>
                  </a:cubicBezTo>
                  <a:cubicBezTo>
                    <a:pt x="38" y="25"/>
                    <a:pt x="39" y="25"/>
                    <a:pt x="40" y="25"/>
                  </a:cubicBezTo>
                  <a:cubicBezTo>
                    <a:pt x="40" y="25"/>
                    <a:pt x="41" y="26"/>
                    <a:pt x="42" y="26"/>
                  </a:cubicBezTo>
                  <a:cubicBezTo>
                    <a:pt x="43" y="26"/>
                    <a:pt x="45" y="26"/>
                    <a:pt x="46" y="26"/>
                  </a:cubicBezTo>
                  <a:cubicBezTo>
                    <a:pt x="47" y="26"/>
                    <a:pt x="47" y="26"/>
                    <a:pt x="48" y="26"/>
                  </a:cubicBezTo>
                  <a:cubicBezTo>
                    <a:pt x="50" y="26"/>
                    <a:pt x="53" y="26"/>
                    <a:pt x="55" y="25"/>
                  </a:cubicBezTo>
                  <a:cubicBezTo>
                    <a:pt x="58" y="25"/>
                    <a:pt x="61" y="24"/>
                    <a:pt x="64" y="24"/>
                  </a:cubicBezTo>
                  <a:cubicBezTo>
                    <a:pt x="68" y="24"/>
                    <a:pt x="72" y="23"/>
                    <a:pt x="76" y="20"/>
                  </a:cubicBezTo>
                  <a:cubicBezTo>
                    <a:pt x="76" y="19"/>
                    <a:pt x="77" y="19"/>
                    <a:pt x="77" y="19"/>
                  </a:cubicBezTo>
                  <a:cubicBezTo>
                    <a:pt x="79" y="17"/>
                    <a:pt x="83" y="14"/>
                    <a:pt x="82" y="10"/>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1" name="Freeform 62">
              <a:extLst>
                <a:ext uri="{FF2B5EF4-FFF2-40B4-BE49-F238E27FC236}">
                  <a16:creationId xmlns:a16="http://schemas.microsoft.com/office/drawing/2014/main" id="{57673655-5C68-40A2-9D02-EC8561A8A3F1}"/>
                </a:ext>
              </a:extLst>
            </p:cNvPr>
            <p:cNvSpPr>
              <a:spLocks/>
            </p:cNvSpPr>
            <p:nvPr/>
          </p:nvSpPr>
          <p:spPr bwMode="auto">
            <a:xfrm rot="21097436">
              <a:off x="9741291" y="2772088"/>
              <a:ext cx="1255882" cy="1523574"/>
            </a:xfrm>
            <a:custGeom>
              <a:avLst/>
              <a:gdLst>
                <a:gd name="T0" fmla="*/ 3962298 w 570"/>
                <a:gd name="T1" fmla="*/ 2541977 h 581"/>
                <a:gd name="T2" fmla="*/ 3728388 w 570"/>
                <a:gd name="T3" fmla="*/ 2612946 h 581"/>
                <a:gd name="T4" fmla="*/ 3480301 w 570"/>
                <a:gd name="T5" fmla="*/ 2548429 h 581"/>
                <a:gd name="T6" fmla="*/ 3118803 w 570"/>
                <a:gd name="T7" fmla="*/ 2483911 h 581"/>
                <a:gd name="T8" fmla="*/ 2906158 w 570"/>
                <a:gd name="T9" fmla="*/ 2193584 h 581"/>
                <a:gd name="T10" fmla="*/ 2721865 w 570"/>
                <a:gd name="T11" fmla="*/ 1251633 h 581"/>
                <a:gd name="T12" fmla="*/ 2693512 w 570"/>
                <a:gd name="T13" fmla="*/ 1277440 h 581"/>
                <a:gd name="T14" fmla="*/ 2509219 w 570"/>
                <a:gd name="T15" fmla="*/ 1135502 h 581"/>
                <a:gd name="T16" fmla="*/ 2388720 w 570"/>
                <a:gd name="T17" fmla="*/ 1064533 h 581"/>
                <a:gd name="T18" fmla="*/ 2254044 w 570"/>
                <a:gd name="T19" fmla="*/ 916144 h 581"/>
                <a:gd name="T20" fmla="*/ 2239868 w 570"/>
                <a:gd name="T21" fmla="*/ 851627 h 581"/>
                <a:gd name="T22" fmla="*/ 2232780 w 570"/>
                <a:gd name="T23" fmla="*/ 741948 h 581"/>
                <a:gd name="T24" fmla="*/ 2197339 w 570"/>
                <a:gd name="T25" fmla="*/ 612913 h 581"/>
                <a:gd name="T26" fmla="*/ 2190251 w 570"/>
                <a:gd name="T27" fmla="*/ 470975 h 581"/>
                <a:gd name="T28" fmla="*/ 2098104 w 570"/>
                <a:gd name="T29" fmla="*/ 348393 h 581"/>
                <a:gd name="T30" fmla="*/ 1998869 w 570"/>
                <a:gd name="T31" fmla="*/ 348393 h 581"/>
                <a:gd name="T32" fmla="*/ 1906723 w 570"/>
                <a:gd name="T33" fmla="*/ 329038 h 581"/>
                <a:gd name="T34" fmla="*/ 1743695 w 570"/>
                <a:gd name="T35" fmla="*/ 361296 h 581"/>
                <a:gd name="T36" fmla="*/ 1686989 w 570"/>
                <a:gd name="T37" fmla="*/ 329038 h 581"/>
                <a:gd name="T38" fmla="*/ 1601931 w 570"/>
                <a:gd name="T39" fmla="*/ 270972 h 581"/>
                <a:gd name="T40" fmla="*/ 1474343 w 570"/>
                <a:gd name="T41" fmla="*/ 232262 h 581"/>
                <a:gd name="T42" fmla="*/ 1368021 w 570"/>
                <a:gd name="T43" fmla="*/ 193552 h 581"/>
                <a:gd name="T44" fmla="*/ 1254610 w 570"/>
                <a:gd name="T45" fmla="*/ 83872 h 581"/>
                <a:gd name="T46" fmla="*/ 1141199 w 570"/>
                <a:gd name="T47" fmla="*/ 6452 h 581"/>
                <a:gd name="T48" fmla="*/ 0 w 570"/>
                <a:gd name="T49" fmla="*/ 1858095 h 581"/>
                <a:gd name="T50" fmla="*/ 42529 w 570"/>
                <a:gd name="T51" fmla="*/ 1916160 h 581"/>
                <a:gd name="T52" fmla="*/ 333145 w 570"/>
                <a:gd name="T53" fmla="*/ 2077453 h 581"/>
                <a:gd name="T54" fmla="*/ 489085 w 570"/>
                <a:gd name="T55" fmla="*/ 2174229 h 581"/>
                <a:gd name="T56" fmla="*/ 616672 w 570"/>
                <a:gd name="T57" fmla="*/ 2232294 h 581"/>
                <a:gd name="T58" fmla="*/ 857671 w 570"/>
                <a:gd name="T59" fmla="*/ 2225843 h 581"/>
                <a:gd name="T60" fmla="*/ 1134110 w 570"/>
                <a:gd name="T61" fmla="*/ 2141970 h 581"/>
                <a:gd name="T62" fmla="*/ 1290050 w 570"/>
                <a:gd name="T63" fmla="*/ 2000032 h 581"/>
                <a:gd name="T64" fmla="*/ 1474343 w 570"/>
                <a:gd name="T65" fmla="*/ 2038743 h 581"/>
                <a:gd name="T66" fmla="*/ 1609019 w 570"/>
                <a:gd name="T67" fmla="*/ 2096808 h 581"/>
                <a:gd name="T68" fmla="*/ 1722430 w 570"/>
                <a:gd name="T69" fmla="*/ 2245198 h 581"/>
                <a:gd name="T70" fmla="*/ 1885458 w 570"/>
                <a:gd name="T71" fmla="*/ 2232294 h 581"/>
                <a:gd name="T72" fmla="*/ 1949252 w 570"/>
                <a:gd name="T73" fmla="*/ 2387136 h 581"/>
                <a:gd name="T74" fmla="*/ 1998869 w 570"/>
                <a:gd name="T75" fmla="*/ 2509718 h 581"/>
                <a:gd name="T76" fmla="*/ 2317838 w 570"/>
                <a:gd name="T77" fmla="*/ 2664559 h 581"/>
                <a:gd name="T78" fmla="*/ 2728953 w 570"/>
                <a:gd name="T79" fmla="*/ 2696818 h 581"/>
                <a:gd name="T80" fmla="*/ 2785658 w 570"/>
                <a:gd name="T81" fmla="*/ 2716173 h 581"/>
                <a:gd name="T82" fmla="*/ 2941599 w 570"/>
                <a:gd name="T83" fmla="*/ 2890370 h 581"/>
                <a:gd name="T84" fmla="*/ 2934510 w 570"/>
                <a:gd name="T85" fmla="*/ 2967790 h 581"/>
                <a:gd name="T86" fmla="*/ 2821099 w 570"/>
                <a:gd name="T87" fmla="*/ 2954887 h 581"/>
                <a:gd name="T88" fmla="*/ 2721865 w 570"/>
                <a:gd name="T89" fmla="*/ 2883918 h 581"/>
                <a:gd name="T90" fmla="*/ 2587189 w 570"/>
                <a:gd name="T91" fmla="*/ 2845208 h 581"/>
                <a:gd name="T92" fmla="*/ 2650983 w 570"/>
                <a:gd name="T93" fmla="*/ 3038759 h 581"/>
                <a:gd name="T94" fmla="*/ 2622630 w 570"/>
                <a:gd name="T95" fmla="*/ 3193600 h 581"/>
                <a:gd name="T96" fmla="*/ 2551748 w 570"/>
                <a:gd name="T97" fmla="*/ 3419410 h 581"/>
                <a:gd name="T98" fmla="*/ 2573013 w 570"/>
                <a:gd name="T99" fmla="*/ 3554896 h 581"/>
                <a:gd name="T100" fmla="*/ 2409984 w 570"/>
                <a:gd name="T101" fmla="*/ 3722641 h 581"/>
                <a:gd name="T102" fmla="*/ 2736041 w 570"/>
                <a:gd name="T103" fmla="*/ 3580703 h 581"/>
                <a:gd name="T104" fmla="*/ 2899069 w 570"/>
                <a:gd name="T105" fmla="*/ 3529090 h 581"/>
                <a:gd name="T106" fmla="*/ 3111715 w 570"/>
                <a:gd name="T107" fmla="*/ 3451669 h 581"/>
                <a:gd name="T108" fmla="*/ 3239303 w 570"/>
                <a:gd name="T109" fmla="*/ 3303279 h 581"/>
                <a:gd name="T110" fmla="*/ 3125892 w 570"/>
                <a:gd name="T111" fmla="*/ 3238762 h 581"/>
                <a:gd name="T112" fmla="*/ 3487389 w 570"/>
                <a:gd name="T113" fmla="*/ 3077469 h 581"/>
                <a:gd name="T114" fmla="*/ 3692947 w 570"/>
                <a:gd name="T115" fmla="*/ 2967790 h 581"/>
                <a:gd name="T116" fmla="*/ 4040268 w 570"/>
                <a:gd name="T117" fmla="*/ 2683915 h 58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70" h="581">
                  <a:moveTo>
                    <a:pt x="569" y="413"/>
                  </a:moveTo>
                  <a:cubicBezTo>
                    <a:pt x="568" y="411"/>
                    <a:pt x="568" y="410"/>
                    <a:pt x="567" y="408"/>
                  </a:cubicBezTo>
                  <a:cubicBezTo>
                    <a:pt x="567" y="408"/>
                    <a:pt x="566" y="405"/>
                    <a:pt x="566" y="404"/>
                  </a:cubicBezTo>
                  <a:cubicBezTo>
                    <a:pt x="565" y="399"/>
                    <a:pt x="563" y="396"/>
                    <a:pt x="561" y="395"/>
                  </a:cubicBezTo>
                  <a:cubicBezTo>
                    <a:pt x="560" y="394"/>
                    <a:pt x="560" y="394"/>
                    <a:pt x="559" y="394"/>
                  </a:cubicBezTo>
                  <a:cubicBezTo>
                    <a:pt x="556" y="394"/>
                    <a:pt x="553" y="395"/>
                    <a:pt x="550" y="397"/>
                  </a:cubicBezTo>
                  <a:cubicBezTo>
                    <a:pt x="547" y="397"/>
                    <a:pt x="544" y="398"/>
                    <a:pt x="542" y="399"/>
                  </a:cubicBezTo>
                  <a:cubicBezTo>
                    <a:pt x="537" y="400"/>
                    <a:pt x="533" y="401"/>
                    <a:pt x="529" y="403"/>
                  </a:cubicBezTo>
                  <a:cubicBezTo>
                    <a:pt x="528" y="404"/>
                    <a:pt x="527" y="405"/>
                    <a:pt x="526" y="405"/>
                  </a:cubicBezTo>
                  <a:cubicBezTo>
                    <a:pt x="526" y="405"/>
                    <a:pt x="526" y="405"/>
                    <a:pt x="526" y="405"/>
                  </a:cubicBezTo>
                  <a:cubicBezTo>
                    <a:pt x="523" y="407"/>
                    <a:pt x="521" y="408"/>
                    <a:pt x="518" y="408"/>
                  </a:cubicBezTo>
                  <a:cubicBezTo>
                    <a:pt x="516" y="408"/>
                    <a:pt x="514" y="407"/>
                    <a:pt x="511" y="406"/>
                  </a:cubicBezTo>
                  <a:cubicBezTo>
                    <a:pt x="508" y="405"/>
                    <a:pt x="506" y="403"/>
                    <a:pt x="504" y="401"/>
                  </a:cubicBezTo>
                  <a:cubicBezTo>
                    <a:pt x="500" y="398"/>
                    <a:pt x="496" y="395"/>
                    <a:pt x="492" y="395"/>
                  </a:cubicBezTo>
                  <a:cubicBezTo>
                    <a:pt x="491" y="395"/>
                    <a:pt x="491" y="395"/>
                    <a:pt x="491" y="395"/>
                  </a:cubicBezTo>
                  <a:cubicBezTo>
                    <a:pt x="487" y="395"/>
                    <a:pt x="481" y="397"/>
                    <a:pt x="476" y="398"/>
                  </a:cubicBezTo>
                  <a:cubicBezTo>
                    <a:pt x="473" y="398"/>
                    <a:pt x="470" y="399"/>
                    <a:pt x="468" y="399"/>
                  </a:cubicBezTo>
                  <a:cubicBezTo>
                    <a:pt x="466" y="400"/>
                    <a:pt x="464" y="400"/>
                    <a:pt x="462" y="400"/>
                  </a:cubicBezTo>
                  <a:cubicBezTo>
                    <a:pt x="451" y="400"/>
                    <a:pt x="447" y="394"/>
                    <a:pt x="441" y="386"/>
                  </a:cubicBezTo>
                  <a:cubicBezTo>
                    <a:pt x="440" y="385"/>
                    <a:pt x="440" y="385"/>
                    <a:pt x="440" y="385"/>
                  </a:cubicBezTo>
                  <a:cubicBezTo>
                    <a:pt x="439" y="383"/>
                    <a:pt x="438" y="382"/>
                    <a:pt x="436" y="380"/>
                  </a:cubicBezTo>
                  <a:cubicBezTo>
                    <a:pt x="434" y="377"/>
                    <a:pt x="432" y="375"/>
                    <a:pt x="430" y="373"/>
                  </a:cubicBezTo>
                  <a:cubicBezTo>
                    <a:pt x="427" y="371"/>
                    <a:pt x="425" y="369"/>
                    <a:pt x="423" y="366"/>
                  </a:cubicBezTo>
                  <a:cubicBezTo>
                    <a:pt x="422" y="365"/>
                    <a:pt x="421" y="364"/>
                    <a:pt x="420" y="363"/>
                  </a:cubicBezTo>
                  <a:cubicBezTo>
                    <a:pt x="415" y="355"/>
                    <a:pt x="411" y="351"/>
                    <a:pt x="410" y="340"/>
                  </a:cubicBezTo>
                  <a:cubicBezTo>
                    <a:pt x="410" y="336"/>
                    <a:pt x="410" y="332"/>
                    <a:pt x="409" y="328"/>
                  </a:cubicBezTo>
                  <a:cubicBezTo>
                    <a:pt x="409" y="327"/>
                    <a:pt x="408" y="325"/>
                    <a:pt x="408" y="324"/>
                  </a:cubicBezTo>
                  <a:cubicBezTo>
                    <a:pt x="401" y="278"/>
                    <a:pt x="395" y="232"/>
                    <a:pt x="390" y="194"/>
                  </a:cubicBezTo>
                  <a:cubicBezTo>
                    <a:pt x="384" y="194"/>
                    <a:pt x="384" y="194"/>
                    <a:pt x="384" y="194"/>
                  </a:cubicBezTo>
                  <a:cubicBezTo>
                    <a:pt x="384" y="194"/>
                    <a:pt x="384" y="194"/>
                    <a:pt x="384" y="194"/>
                  </a:cubicBezTo>
                  <a:cubicBezTo>
                    <a:pt x="384" y="195"/>
                    <a:pt x="384" y="195"/>
                    <a:pt x="384" y="196"/>
                  </a:cubicBezTo>
                  <a:cubicBezTo>
                    <a:pt x="384" y="197"/>
                    <a:pt x="384" y="197"/>
                    <a:pt x="384" y="197"/>
                  </a:cubicBezTo>
                  <a:cubicBezTo>
                    <a:pt x="384" y="198"/>
                    <a:pt x="383" y="200"/>
                    <a:pt x="383" y="201"/>
                  </a:cubicBezTo>
                  <a:cubicBezTo>
                    <a:pt x="382" y="200"/>
                    <a:pt x="382" y="200"/>
                    <a:pt x="381" y="199"/>
                  </a:cubicBezTo>
                  <a:cubicBezTo>
                    <a:pt x="380" y="199"/>
                    <a:pt x="380" y="198"/>
                    <a:pt x="380" y="198"/>
                  </a:cubicBezTo>
                  <a:cubicBezTo>
                    <a:pt x="377" y="196"/>
                    <a:pt x="374" y="195"/>
                    <a:pt x="371" y="195"/>
                  </a:cubicBezTo>
                  <a:cubicBezTo>
                    <a:pt x="369" y="195"/>
                    <a:pt x="368" y="195"/>
                    <a:pt x="366" y="196"/>
                  </a:cubicBezTo>
                  <a:cubicBezTo>
                    <a:pt x="366" y="195"/>
                    <a:pt x="366" y="195"/>
                    <a:pt x="366" y="195"/>
                  </a:cubicBezTo>
                  <a:cubicBezTo>
                    <a:pt x="367" y="192"/>
                    <a:pt x="367" y="189"/>
                    <a:pt x="364" y="185"/>
                  </a:cubicBezTo>
                  <a:cubicBezTo>
                    <a:pt x="362" y="181"/>
                    <a:pt x="358" y="178"/>
                    <a:pt x="354" y="176"/>
                  </a:cubicBezTo>
                  <a:cubicBezTo>
                    <a:pt x="350" y="173"/>
                    <a:pt x="345" y="170"/>
                    <a:pt x="341" y="168"/>
                  </a:cubicBezTo>
                  <a:cubicBezTo>
                    <a:pt x="340" y="167"/>
                    <a:pt x="340" y="167"/>
                    <a:pt x="340" y="167"/>
                  </a:cubicBezTo>
                  <a:cubicBezTo>
                    <a:pt x="339" y="167"/>
                    <a:pt x="338" y="166"/>
                    <a:pt x="337" y="166"/>
                  </a:cubicBezTo>
                  <a:cubicBezTo>
                    <a:pt x="337" y="166"/>
                    <a:pt x="336" y="166"/>
                    <a:pt x="336" y="166"/>
                  </a:cubicBezTo>
                  <a:cubicBezTo>
                    <a:pt x="336" y="166"/>
                    <a:pt x="337" y="165"/>
                    <a:pt x="337" y="165"/>
                  </a:cubicBezTo>
                  <a:cubicBezTo>
                    <a:pt x="339" y="158"/>
                    <a:pt x="332" y="153"/>
                    <a:pt x="327" y="149"/>
                  </a:cubicBezTo>
                  <a:cubicBezTo>
                    <a:pt x="326" y="148"/>
                    <a:pt x="325" y="148"/>
                    <a:pt x="325" y="147"/>
                  </a:cubicBezTo>
                  <a:cubicBezTo>
                    <a:pt x="324" y="146"/>
                    <a:pt x="322" y="145"/>
                    <a:pt x="321" y="144"/>
                  </a:cubicBezTo>
                  <a:cubicBezTo>
                    <a:pt x="320" y="144"/>
                    <a:pt x="320" y="144"/>
                    <a:pt x="320" y="144"/>
                  </a:cubicBezTo>
                  <a:cubicBezTo>
                    <a:pt x="320" y="143"/>
                    <a:pt x="319" y="143"/>
                    <a:pt x="318" y="142"/>
                  </a:cubicBezTo>
                  <a:cubicBezTo>
                    <a:pt x="318" y="142"/>
                    <a:pt x="317" y="142"/>
                    <a:pt x="317" y="141"/>
                  </a:cubicBezTo>
                  <a:cubicBezTo>
                    <a:pt x="317" y="141"/>
                    <a:pt x="317" y="140"/>
                    <a:pt x="316" y="140"/>
                  </a:cubicBezTo>
                  <a:cubicBezTo>
                    <a:pt x="316" y="138"/>
                    <a:pt x="316" y="138"/>
                    <a:pt x="316" y="138"/>
                  </a:cubicBezTo>
                  <a:cubicBezTo>
                    <a:pt x="316" y="136"/>
                    <a:pt x="316" y="135"/>
                    <a:pt x="316" y="133"/>
                  </a:cubicBezTo>
                  <a:cubicBezTo>
                    <a:pt x="316" y="133"/>
                    <a:pt x="316" y="133"/>
                    <a:pt x="316" y="132"/>
                  </a:cubicBezTo>
                  <a:cubicBezTo>
                    <a:pt x="316" y="131"/>
                    <a:pt x="317" y="131"/>
                    <a:pt x="317" y="130"/>
                  </a:cubicBezTo>
                  <a:cubicBezTo>
                    <a:pt x="318" y="127"/>
                    <a:pt x="318" y="123"/>
                    <a:pt x="317" y="120"/>
                  </a:cubicBezTo>
                  <a:cubicBezTo>
                    <a:pt x="317" y="120"/>
                    <a:pt x="316" y="119"/>
                    <a:pt x="316" y="119"/>
                  </a:cubicBezTo>
                  <a:cubicBezTo>
                    <a:pt x="316" y="118"/>
                    <a:pt x="316" y="118"/>
                    <a:pt x="316" y="118"/>
                  </a:cubicBezTo>
                  <a:cubicBezTo>
                    <a:pt x="315" y="117"/>
                    <a:pt x="315" y="116"/>
                    <a:pt x="315" y="115"/>
                  </a:cubicBezTo>
                  <a:cubicBezTo>
                    <a:pt x="315" y="115"/>
                    <a:pt x="315" y="115"/>
                    <a:pt x="315" y="115"/>
                  </a:cubicBezTo>
                  <a:cubicBezTo>
                    <a:pt x="315" y="113"/>
                    <a:pt x="315" y="111"/>
                    <a:pt x="315" y="109"/>
                  </a:cubicBezTo>
                  <a:cubicBezTo>
                    <a:pt x="315" y="108"/>
                    <a:pt x="315" y="106"/>
                    <a:pt x="315" y="104"/>
                  </a:cubicBezTo>
                  <a:cubicBezTo>
                    <a:pt x="315" y="102"/>
                    <a:pt x="315" y="100"/>
                    <a:pt x="314" y="98"/>
                  </a:cubicBezTo>
                  <a:cubicBezTo>
                    <a:pt x="313" y="96"/>
                    <a:pt x="311" y="95"/>
                    <a:pt x="310" y="95"/>
                  </a:cubicBezTo>
                  <a:cubicBezTo>
                    <a:pt x="309" y="95"/>
                    <a:pt x="309" y="95"/>
                    <a:pt x="309" y="95"/>
                  </a:cubicBezTo>
                  <a:cubicBezTo>
                    <a:pt x="307" y="94"/>
                    <a:pt x="307" y="89"/>
                    <a:pt x="307" y="87"/>
                  </a:cubicBezTo>
                  <a:cubicBezTo>
                    <a:pt x="307" y="85"/>
                    <a:pt x="307" y="84"/>
                    <a:pt x="307" y="84"/>
                  </a:cubicBezTo>
                  <a:cubicBezTo>
                    <a:pt x="307" y="82"/>
                    <a:pt x="308" y="79"/>
                    <a:pt x="308" y="77"/>
                  </a:cubicBezTo>
                  <a:cubicBezTo>
                    <a:pt x="309" y="76"/>
                    <a:pt x="309" y="74"/>
                    <a:pt x="309" y="73"/>
                  </a:cubicBezTo>
                  <a:cubicBezTo>
                    <a:pt x="310" y="70"/>
                    <a:pt x="309" y="68"/>
                    <a:pt x="309" y="67"/>
                  </a:cubicBezTo>
                  <a:cubicBezTo>
                    <a:pt x="308" y="66"/>
                    <a:pt x="308" y="65"/>
                    <a:pt x="308" y="64"/>
                  </a:cubicBezTo>
                  <a:cubicBezTo>
                    <a:pt x="308" y="64"/>
                    <a:pt x="308" y="64"/>
                    <a:pt x="308" y="64"/>
                  </a:cubicBezTo>
                  <a:cubicBezTo>
                    <a:pt x="308" y="62"/>
                    <a:pt x="307" y="59"/>
                    <a:pt x="305" y="57"/>
                  </a:cubicBezTo>
                  <a:cubicBezTo>
                    <a:pt x="302" y="55"/>
                    <a:pt x="299" y="54"/>
                    <a:pt x="296" y="54"/>
                  </a:cubicBezTo>
                  <a:cubicBezTo>
                    <a:pt x="295" y="54"/>
                    <a:pt x="294" y="54"/>
                    <a:pt x="292" y="55"/>
                  </a:cubicBezTo>
                  <a:cubicBezTo>
                    <a:pt x="292" y="55"/>
                    <a:pt x="291" y="55"/>
                    <a:pt x="291" y="55"/>
                  </a:cubicBezTo>
                  <a:cubicBezTo>
                    <a:pt x="289" y="55"/>
                    <a:pt x="288" y="55"/>
                    <a:pt x="287" y="54"/>
                  </a:cubicBezTo>
                  <a:cubicBezTo>
                    <a:pt x="286" y="54"/>
                    <a:pt x="286" y="54"/>
                    <a:pt x="285" y="54"/>
                  </a:cubicBezTo>
                  <a:cubicBezTo>
                    <a:pt x="284" y="54"/>
                    <a:pt x="283" y="54"/>
                    <a:pt x="282" y="54"/>
                  </a:cubicBezTo>
                  <a:cubicBezTo>
                    <a:pt x="281" y="54"/>
                    <a:pt x="280" y="54"/>
                    <a:pt x="279" y="54"/>
                  </a:cubicBezTo>
                  <a:cubicBezTo>
                    <a:pt x="278" y="54"/>
                    <a:pt x="276" y="54"/>
                    <a:pt x="276" y="54"/>
                  </a:cubicBezTo>
                  <a:cubicBezTo>
                    <a:pt x="275" y="54"/>
                    <a:pt x="275" y="54"/>
                    <a:pt x="275" y="53"/>
                  </a:cubicBezTo>
                  <a:cubicBezTo>
                    <a:pt x="274" y="53"/>
                    <a:pt x="273" y="52"/>
                    <a:pt x="272" y="52"/>
                  </a:cubicBezTo>
                  <a:cubicBezTo>
                    <a:pt x="271" y="51"/>
                    <a:pt x="270" y="51"/>
                    <a:pt x="269" y="51"/>
                  </a:cubicBezTo>
                  <a:cubicBezTo>
                    <a:pt x="267" y="51"/>
                    <a:pt x="266" y="51"/>
                    <a:pt x="265" y="52"/>
                  </a:cubicBezTo>
                  <a:cubicBezTo>
                    <a:pt x="262" y="52"/>
                    <a:pt x="259" y="53"/>
                    <a:pt x="256" y="54"/>
                  </a:cubicBezTo>
                  <a:cubicBezTo>
                    <a:pt x="254" y="55"/>
                    <a:pt x="252" y="55"/>
                    <a:pt x="250" y="56"/>
                  </a:cubicBezTo>
                  <a:cubicBezTo>
                    <a:pt x="249" y="56"/>
                    <a:pt x="247" y="56"/>
                    <a:pt x="246" y="56"/>
                  </a:cubicBezTo>
                  <a:cubicBezTo>
                    <a:pt x="246" y="56"/>
                    <a:pt x="246" y="56"/>
                    <a:pt x="246" y="56"/>
                  </a:cubicBezTo>
                  <a:cubicBezTo>
                    <a:pt x="246" y="56"/>
                    <a:pt x="246" y="56"/>
                    <a:pt x="246" y="56"/>
                  </a:cubicBezTo>
                  <a:cubicBezTo>
                    <a:pt x="245" y="56"/>
                    <a:pt x="245" y="56"/>
                    <a:pt x="245" y="56"/>
                  </a:cubicBezTo>
                  <a:cubicBezTo>
                    <a:pt x="245" y="55"/>
                    <a:pt x="244" y="54"/>
                    <a:pt x="243" y="53"/>
                  </a:cubicBezTo>
                  <a:cubicBezTo>
                    <a:pt x="242" y="53"/>
                    <a:pt x="241" y="52"/>
                    <a:pt x="239" y="52"/>
                  </a:cubicBezTo>
                  <a:cubicBezTo>
                    <a:pt x="239" y="51"/>
                    <a:pt x="239" y="51"/>
                    <a:pt x="238" y="51"/>
                  </a:cubicBezTo>
                  <a:cubicBezTo>
                    <a:pt x="238" y="51"/>
                    <a:pt x="238" y="51"/>
                    <a:pt x="237" y="51"/>
                  </a:cubicBezTo>
                  <a:cubicBezTo>
                    <a:pt x="237" y="51"/>
                    <a:pt x="237" y="51"/>
                    <a:pt x="237" y="51"/>
                  </a:cubicBezTo>
                  <a:cubicBezTo>
                    <a:pt x="237" y="50"/>
                    <a:pt x="237" y="48"/>
                    <a:pt x="235" y="46"/>
                  </a:cubicBezTo>
                  <a:cubicBezTo>
                    <a:pt x="233" y="45"/>
                    <a:pt x="230" y="43"/>
                    <a:pt x="227" y="42"/>
                  </a:cubicBezTo>
                  <a:cubicBezTo>
                    <a:pt x="227" y="42"/>
                    <a:pt x="226" y="42"/>
                    <a:pt x="226" y="42"/>
                  </a:cubicBezTo>
                  <a:cubicBezTo>
                    <a:pt x="225" y="41"/>
                    <a:pt x="225" y="41"/>
                    <a:pt x="224" y="41"/>
                  </a:cubicBezTo>
                  <a:cubicBezTo>
                    <a:pt x="224" y="41"/>
                    <a:pt x="224" y="41"/>
                    <a:pt x="224" y="41"/>
                  </a:cubicBezTo>
                  <a:cubicBezTo>
                    <a:pt x="223" y="40"/>
                    <a:pt x="222" y="39"/>
                    <a:pt x="221" y="39"/>
                  </a:cubicBezTo>
                  <a:cubicBezTo>
                    <a:pt x="217" y="38"/>
                    <a:pt x="213" y="37"/>
                    <a:pt x="209" y="36"/>
                  </a:cubicBezTo>
                  <a:cubicBezTo>
                    <a:pt x="208" y="36"/>
                    <a:pt x="208" y="36"/>
                    <a:pt x="208" y="36"/>
                  </a:cubicBezTo>
                  <a:cubicBezTo>
                    <a:pt x="207" y="35"/>
                    <a:pt x="207" y="35"/>
                    <a:pt x="207" y="35"/>
                  </a:cubicBezTo>
                  <a:cubicBezTo>
                    <a:pt x="205" y="34"/>
                    <a:pt x="204" y="33"/>
                    <a:pt x="201" y="32"/>
                  </a:cubicBezTo>
                  <a:cubicBezTo>
                    <a:pt x="200" y="31"/>
                    <a:pt x="199" y="31"/>
                    <a:pt x="198" y="31"/>
                  </a:cubicBezTo>
                  <a:cubicBezTo>
                    <a:pt x="197" y="31"/>
                    <a:pt x="196" y="31"/>
                    <a:pt x="196" y="31"/>
                  </a:cubicBezTo>
                  <a:cubicBezTo>
                    <a:pt x="195" y="31"/>
                    <a:pt x="194" y="31"/>
                    <a:pt x="193" y="30"/>
                  </a:cubicBezTo>
                  <a:cubicBezTo>
                    <a:pt x="192" y="30"/>
                    <a:pt x="192" y="29"/>
                    <a:pt x="191" y="29"/>
                  </a:cubicBezTo>
                  <a:cubicBezTo>
                    <a:pt x="190" y="29"/>
                    <a:pt x="190" y="29"/>
                    <a:pt x="190" y="29"/>
                  </a:cubicBezTo>
                  <a:cubicBezTo>
                    <a:pt x="190" y="28"/>
                    <a:pt x="187" y="27"/>
                    <a:pt x="187" y="26"/>
                  </a:cubicBezTo>
                  <a:cubicBezTo>
                    <a:pt x="186" y="24"/>
                    <a:pt x="185" y="22"/>
                    <a:pt x="184" y="19"/>
                  </a:cubicBezTo>
                  <a:cubicBezTo>
                    <a:pt x="182" y="17"/>
                    <a:pt x="180" y="15"/>
                    <a:pt x="177" y="13"/>
                  </a:cubicBezTo>
                  <a:cubicBezTo>
                    <a:pt x="177" y="13"/>
                    <a:pt x="176" y="12"/>
                    <a:pt x="175" y="12"/>
                  </a:cubicBezTo>
                  <a:cubicBezTo>
                    <a:pt x="174" y="12"/>
                    <a:pt x="173" y="11"/>
                    <a:pt x="172" y="11"/>
                  </a:cubicBezTo>
                  <a:cubicBezTo>
                    <a:pt x="172" y="10"/>
                    <a:pt x="171" y="9"/>
                    <a:pt x="170" y="8"/>
                  </a:cubicBezTo>
                  <a:cubicBezTo>
                    <a:pt x="169" y="7"/>
                    <a:pt x="167" y="6"/>
                    <a:pt x="166" y="5"/>
                  </a:cubicBezTo>
                  <a:cubicBezTo>
                    <a:pt x="165" y="4"/>
                    <a:pt x="163" y="2"/>
                    <a:pt x="161" y="1"/>
                  </a:cubicBezTo>
                  <a:cubicBezTo>
                    <a:pt x="159" y="0"/>
                    <a:pt x="159" y="0"/>
                    <a:pt x="159" y="0"/>
                  </a:cubicBezTo>
                  <a:cubicBezTo>
                    <a:pt x="157" y="2"/>
                    <a:pt x="157" y="2"/>
                    <a:pt x="157" y="2"/>
                  </a:cubicBezTo>
                  <a:cubicBezTo>
                    <a:pt x="137" y="23"/>
                    <a:pt x="37" y="133"/>
                    <a:pt x="12" y="151"/>
                  </a:cubicBezTo>
                  <a:cubicBezTo>
                    <a:pt x="11" y="152"/>
                    <a:pt x="11" y="152"/>
                    <a:pt x="11" y="152"/>
                  </a:cubicBezTo>
                  <a:cubicBezTo>
                    <a:pt x="0" y="288"/>
                    <a:pt x="0" y="288"/>
                    <a:pt x="0" y="288"/>
                  </a:cubicBezTo>
                  <a:cubicBezTo>
                    <a:pt x="3" y="289"/>
                    <a:pt x="3" y="289"/>
                    <a:pt x="3" y="289"/>
                  </a:cubicBezTo>
                  <a:cubicBezTo>
                    <a:pt x="4" y="289"/>
                    <a:pt x="4" y="289"/>
                    <a:pt x="5" y="289"/>
                  </a:cubicBezTo>
                  <a:cubicBezTo>
                    <a:pt x="5" y="289"/>
                    <a:pt x="6" y="289"/>
                    <a:pt x="6" y="292"/>
                  </a:cubicBezTo>
                  <a:cubicBezTo>
                    <a:pt x="6" y="292"/>
                    <a:pt x="6" y="293"/>
                    <a:pt x="6" y="293"/>
                  </a:cubicBezTo>
                  <a:cubicBezTo>
                    <a:pt x="6" y="295"/>
                    <a:pt x="6" y="296"/>
                    <a:pt x="6" y="297"/>
                  </a:cubicBezTo>
                  <a:cubicBezTo>
                    <a:pt x="7" y="298"/>
                    <a:pt x="7" y="300"/>
                    <a:pt x="7" y="301"/>
                  </a:cubicBezTo>
                  <a:cubicBezTo>
                    <a:pt x="7" y="307"/>
                    <a:pt x="7" y="315"/>
                    <a:pt x="15" y="319"/>
                  </a:cubicBezTo>
                  <a:cubicBezTo>
                    <a:pt x="22" y="322"/>
                    <a:pt x="30" y="324"/>
                    <a:pt x="38" y="324"/>
                  </a:cubicBezTo>
                  <a:cubicBezTo>
                    <a:pt x="38" y="324"/>
                    <a:pt x="39" y="324"/>
                    <a:pt x="40" y="324"/>
                  </a:cubicBezTo>
                  <a:cubicBezTo>
                    <a:pt x="42" y="324"/>
                    <a:pt x="45" y="323"/>
                    <a:pt x="47" y="322"/>
                  </a:cubicBezTo>
                  <a:cubicBezTo>
                    <a:pt x="49" y="321"/>
                    <a:pt x="50" y="320"/>
                    <a:pt x="52" y="320"/>
                  </a:cubicBezTo>
                  <a:cubicBezTo>
                    <a:pt x="53" y="320"/>
                    <a:pt x="54" y="320"/>
                    <a:pt x="54" y="321"/>
                  </a:cubicBezTo>
                  <a:cubicBezTo>
                    <a:pt x="57" y="322"/>
                    <a:pt x="62" y="327"/>
                    <a:pt x="64" y="331"/>
                  </a:cubicBezTo>
                  <a:cubicBezTo>
                    <a:pt x="64" y="331"/>
                    <a:pt x="64" y="331"/>
                    <a:pt x="64" y="331"/>
                  </a:cubicBezTo>
                  <a:cubicBezTo>
                    <a:pt x="64" y="333"/>
                    <a:pt x="65" y="335"/>
                    <a:pt x="69" y="337"/>
                  </a:cubicBezTo>
                  <a:cubicBezTo>
                    <a:pt x="69" y="337"/>
                    <a:pt x="70" y="337"/>
                    <a:pt x="70" y="337"/>
                  </a:cubicBezTo>
                  <a:cubicBezTo>
                    <a:pt x="72" y="337"/>
                    <a:pt x="73" y="337"/>
                    <a:pt x="74" y="336"/>
                  </a:cubicBezTo>
                  <a:cubicBezTo>
                    <a:pt x="75" y="336"/>
                    <a:pt x="76" y="335"/>
                    <a:pt x="77" y="335"/>
                  </a:cubicBezTo>
                  <a:cubicBezTo>
                    <a:pt x="78" y="336"/>
                    <a:pt x="80" y="337"/>
                    <a:pt x="82" y="340"/>
                  </a:cubicBezTo>
                  <a:cubicBezTo>
                    <a:pt x="83" y="342"/>
                    <a:pt x="85" y="344"/>
                    <a:pt x="87" y="346"/>
                  </a:cubicBezTo>
                  <a:cubicBezTo>
                    <a:pt x="89" y="347"/>
                    <a:pt x="91" y="348"/>
                    <a:pt x="93" y="348"/>
                  </a:cubicBezTo>
                  <a:cubicBezTo>
                    <a:pt x="98" y="348"/>
                    <a:pt x="101" y="345"/>
                    <a:pt x="104" y="343"/>
                  </a:cubicBezTo>
                  <a:cubicBezTo>
                    <a:pt x="107" y="342"/>
                    <a:pt x="108" y="341"/>
                    <a:pt x="110" y="341"/>
                  </a:cubicBezTo>
                  <a:cubicBezTo>
                    <a:pt x="111" y="341"/>
                    <a:pt x="113" y="342"/>
                    <a:pt x="115" y="342"/>
                  </a:cubicBezTo>
                  <a:cubicBezTo>
                    <a:pt x="116" y="343"/>
                    <a:pt x="118" y="344"/>
                    <a:pt x="121" y="345"/>
                  </a:cubicBezTo>
                  <a:cubicBezTo>
                    <a:pt x="127" y="348"/>
                    <a:pt x="136" y="352"/>
                    <a:pt x="142" y="352"/>
                  </a:cubicBezTo>
                  <a:cubicBezTo>
                    <a:pt x="148" y="352"/>
                    <a:pt x="150" y="349"/>
                    <a:pt x="152" y="347"/>
                  </a:cubicBezTo>
                  <a:cubicBezTo>
                    <a:pt x="153" y="345"/>
                    <a:pt x="154" y="342"/>
                    <a:pt x="154" y="339"/>
                  </a:cubicBezTo>
                  <a:cubicBezTo>
                    <a:pt x="155" y="336"/>
                    <a:pt x="155" y="334"/>
                    <a:pt x="157" y="333"/>
                  </a:cubicBezTo>
                  <a:cubicBezTo>
                    <a:pt x="158" y="333"/>
                    <a:pt x="159" y="332"/>
                    <a:pt x="160" y="332"/>
                  </a:cubicBezTo>
                  <a:cubicBezTo>
                    <a:pt x="161" y="331"/>
                    <a:pt x="163" y="330"/>
                    <a:pt x="165" y="329"/>
                  </a:cubicBezTo>
                  <a:cubicBezTo>
                    <a:pt x="166" y="328"/>
                    <a:pt x="166" y="328"/>
                    <a:pt x="166" y="328"/>
                  </a:cubicBezTo>
                  <a:cubicBezTo>
                    <a:pt x="168" y="326"/>
                    <a:pt x="170" y="324"/>
                    <a:pt x="172" y="322"/>
                  </a:cubicBezTo>
                  <a:cubicBezTo>
                    <a:pt x="173" y="321"/>
                    <a:pt x="173" y="319"/>
                    <a:pt x="174" y="318"/>
                  </a:cubicBezTo>
                  <a:cubicBezTo>
                    <a:pt x="177" y="313"/>
                    <a:pt x="179" y="310"/>
                    <a:pt x="182" y="310"/>
                  </a:cubicBezTo>
                  <a:cubicBezTo>
                    <a:pt x="183" y="310"/>
                    <a:pt x="184" y="311"/>
                    <a:pt x="186" y="311"/>
                  </a:cubicBezTo>
                  <a:cubicBezTo>
                    <a:pt x="187" y="312"/>
                    <a:pt x="188" y="313"/>
                    <a:pt x="189" y="313"/>
                  </a:cubicBezTo>
                  <a:cubicBezTo>
                    <a:pt x="193" y="314"/>
                    <a:pt x="197" y="315"/>
                    <a:pt x="201" y="316"/>
                  </a:cubicBezTo>
                  <a:cubicBezTo>
                    <a:pt x="202" y="316"/>
                    <a:pt x="202" y="316"/>
                    <a:pt x="202" y="316"/>
                  </a:cubicBezTo>
                  <a:cubicBezTo>
                    <a:pt x="204" y="316"/>
                    <a:pt x="206" y="316"/>
                    <a:pt x="208" y="316"/>
                  </a:cubicBezTo>
                  <a:cubicBezTo>
                    <a:pt x="209" y="316"/>
                    <a:pt x="210" y="316"/>
                    <a:pt x="212" y="316"/>
                  </a:cubicBezTo>
                  <a:cubicBezTo>
                    <a:pt x="213" y="316"/>
                    <a:pt x="214" y="316"/>
                    <a:pt x="215" y="316"/>
                  </a:cubicBezTo>
                  <a:cubicBezTo>
                    <a:pt x="216" y="316"/>
                    <a:pt x="218" y="316"/>
                    <a:pt x="219" y="316"/>
                  </a:cubicBezTo>
                  <a:cubicBezTo>
                    <a:pt x="223" y="317"/>
                    <a:pt x="224" y="319"/>
                    <a:pt x="227" y="325"/>
                  </a:cubicBezTo>
                  <a:cubicBezTo>
                    <a:pt x="227" y="325"/>
                    <a:pt x="227" y="325"/>
                    <a:pt x="227" y="325"/>
                  </a:cubicBezTo>
                  <a:cubicBezTo>
                    <a:pt x="227" y="326"/>
                    <a:pt x="227" y="327"/>
                    <a:pt x="227" y="328"/>
                  </a:cubicBezTo>
                  <a:cubicBezTo>
                    <a:pt x="228" y="329"/>
                    <a:pt x="228" y="330"/>
                    <a:pt x="228" y="332"/>
                  </a:cubicBezTo>
                  <a:cubicBezTo>
                    <a:pt x="229" y="333"/>
                    <a:pt x="230" y="334"/>
                    <a:pt x="231" y="336"/>
                  </a:cubicBezTo>
                  <a:cubicBezTo>
                    <a:pt x="231" y="336"/>
                    <a:pt x="232" y="337"/>
                    <a:pt x="232" y="337"/>
                  </a:cubicBezTo>
                  <a:cubicBezTo>
                    <a:pt x="235" y="341"/>
                    <a:pt x="238" y="346"/>
                    <a:pt x="243" y="348"/>
                  </a:cubicBezTo>
                  <a:cubicBezTo>
                    <a:pt x="245" y="349"/>
                    <a:pt x="247" y="349"/>
                    <a:pt x="250" y="349"/>
                  </a:cubicBezTo>
                  <a:cubicBezTo>
                    <a:pt x="252" y="349"/>
                    <a:pt x="254" y="349"/>
                    <a:pt x="257" y="348"/>
                  </a:cubicBezTo>
                  <a:cubicBezTo>
                    <a:pt x="258" y="348"/>
                    <a:pt x="258" y="348"/>
                    <a:pt x="259" y="347"/>
                  </a:cubicBezTo>
                  <a:cubicBezTo>
                    <a:pt x="261" y="346"/>
                    <a:pt x="264" y="345"/>
                    <a:pt x="265" y="345"/>
                  </a:cubicBezTo>
                  <a:cubicBezTo>
                    <a:pt x="265" y="345"/>
                    <a:pt x="266" y="345"/>
                    <a:pt x="266" y="346"/>
                  </a:cubicBezTo>
                  <a:cubicBezTo>
                    <a:pt x="266" y="346"/>
                    <a:pt x="266" y="346"/>
                    <a:pt x="266" y="346"/>
                  </a:cubicBezTo>
                  <a:cubicBezTo>
                    <a:pt x="265" y="347"/>
                    <a:pt x="265" y="347"/>
                    <a:pt x="265" y="348"/>
                  </a:cubicBezTo>
                  <a:cubicBezTo>
                    <a:pt x="263" y="353"/>
                    <a:pt x="264" y="358"/>
                    <a:pt x="266" y="363"/>
                  </a:cubicBezTo>
                  <a:cubicBezTo>
                    <a:pt x="267" y="366"/>
                    <a:pt x="270" y="367"/>
                    <a:pt x="272" y="368"/>
                  </a:cubicBezTo>
                  <a:cubicBezTo>
                    <a:pt x="274" y="369"/>
                    <a:pt x="275" y="369"/>
                    <a:pt x="275" y="370"/>
                  </a:cubicBezTo>
                  <a:cubicBezTo>
                    <a:pt x="275" y="371"/>
                    <a:pt x="275" y="371"/>
                    <a:pt x="274" y="373"/>
                  </a:cubicBezTo>
                  <a:cubicBezTo>
                    <a:pt x="272" y="375"/>
                    <a:pt x="270" y="378"/>
                    <a:pt x="272" y="382"/>
                  </a:cubicBezTo>
                  <a:cubicBezTo>
                    <a:pt x="273" y="386"/>
                    <a:pt x="277" y="386"/>
                    <a:pt x="279" y="387"/>
                  </a:cubicBezTo>
                  <a:cubicBezTo>
                    <a:pt x="280" y="387"/>
                    <a:pt x="282" y="387"/>
                    <a:pt x="282" y="387"/>
                  </a:cubicBezTo>
                  <a:cubicBezTo>
                    <a:pt x="282" y="387"/>
                    <a:pt x="282" y="388"/>
                    <a:pt x="282" y="389"/>
                  </a:cubicBezTo>
                  <a:cubicBezTo>
                    <a:pt x="282" y="390"/>
                    <a:pt x="281" y="391"/>
                    <a:pt x="281" y="392"/>
                  </a:cubicBezTo>
                  <a:cubicBezTo>
                    <a:pt x="282" y="398"/>
                    <a:pt x="285" y="403"/>
                    <a:pt x="292" y="406"/>
                  </a:cubicBezTo>
                  <a:cubicBezTo>
                    <a:pt x="302" y="410"/>
                    <a:pt x="312" y="411"/>
                    <a:pt x="322" y="413"/>
                  </a:cubicBezTo>
                  <a:cubicBezTo>
                    <a:pt x="325" y="413"/>
                    <a:pt x="325" y="413"/>
                    <a:pt x="325" y="413"/>
                  </a:cubicBezTo>
                  <a:cubicBezTo>
                    <a:pt x="325" y="413"/>
                    <a:pt x="326" y="413"/>
                    <a:pt x="327" y="413"/>
                  </a:cubicBezTo>
                  <a:cubicBezTo>
                    <a:pt x="331" y="413"/>
                    <a:pt x="335" y="412"/>
                    <a:pt x="339" y="411"/>
                  </a:cubicBezTo>
                  <a:cubicBezTo>
                    <a:pt x="342" y="409"/>
                    <a:pt x="345" y="408"/>
                    <a:pt x="348" y="408"/>
                  </a:cubicBezTo>
                  <a:cubicBezTo>
                    <a:pt x="349" y="408"/>
                    <a:pt x="349" y="408"/>
                    <a:pt x="350" y="408"/>
                  </a:cubicBezTo>
                  <a:cubicBezTo>
                    <a:pt x="355" y="409"/>
                    <a:pt x="361" y="411"/>
                    <a:pt x="366" y="413"/>
                  </a:cubicBezTo>
                  <a:cubicBezTo>
                    <a:pt x="372" y="416"/>
                    <a:pt x="378" y="418"/>
                    <a:pt x="385" y="418"/>
                  </a:cubicBezTo>
                  <a:cubicBezTo>
                    <a:pt x="385" y="418"/>
                    <a:pt x="386" y="418"/>
                    <a:pt x="387" y="418"/>
                  </a:cubicBezTo>
                  <a:cubicBezTo>
                    <a:pt x="388" y="418"/>
                    <a:pt x="389" y="417"/>
                    <a:pt x="390" y="417"/>
                  </a:cubicBezTo>
                  <a:cubicBezTo>
                    <a:pt x="391" y="417"/>
                    <a:pt x="391" y="417"/>
                    <a:pt x="391" y="417"/>
                  </a:cubicBezTo>
                  <a:cubicBezTo>
                    <a:pt x="391" y="417"/>
                    <a:pt x="391" y="417"/>
                    <a:pt x="392" y="417"/>
                  </a:cubicBezTo>
                  <a:cubicBezTo>
                    <a:pt x="392" y="418"/>
                    <a:pt x="393" y="419"/>
                    <a:pt x="393" y="421"/>
                  </a:cubicBezTo>
                  <a:cubicBezTo>
                    <a:pt x="393" y="422"/>
                    <a:pt x="393" y="425"/>
                    <a:pt x="394" y="426"/>
                  </a:cubicBezTo>
                  <a:cubicBezTo>
                    <a:pt x="396" y="428"/>
                    <a:pt x="399" y="433"/>
                    <a:pt x="403" y="435"/>
                  </a:cubicBezTo>
                  <a:cubicBezTo>
                    <a:pt x="405" y="436"/>
                    <a:pt x="406" y="437"/>
                    <a:pt x="408" y="437"/>
                  </a:cubicBezTo>
                  <a:cubicBezTo>
                    <a:pt x="410" y="437"/>
                    <a:pt x="411" y="438"/>
                    <a:pt x="412" y="439"/>
                  </a:cubicBezTo>
                  <a:cubicBezTo>
                    <a:pt x="414" y="441"/>
                    <a:pt x="416" y="445"/>
                    <a:pt x="415" y="448"/>
                  </a:cubicBezTo>
                  <a:cubicBezTo>
                    <a:pt x="415" y="448"/>
                    <a:pt x="415" y="448"/>
                    <a:pt x="415" y="448"/>
                  </a:cubicBezTo>
                  <a:cubicBezTo>
                    <a:pt x="414" y="448"/>
                    <a:pt x="411" y="449"/>
                    <a:pt x="410" y="452"/>
                  </a:cubicBezTo>
                  <a:cubicBezTo>
                    <a:pt x="409" y="455"/>
                    <a:pt x="411" y="457"/>
                    <a:pt x="413" y="458"/>
                  </a:cubicBezTo>
                  <a:cubicBezTo>
                    <a:pt x="413" y="458"/>
                    <a:pt x="413" y="459"/>
                    <a:pt x="413" y="459"/>
                  </a:cubicBezTo>
                  <a:cubicBezTo>
                    <a:pt x="413" y="459"/>
                    <a:pt x="414" y="460"/>
                    <a:pt x="414" y="460"/>
                  </a:cubicBezTo>
                  <a:cubicBezTo>
                    <a:pt x="414" y="460"/>
                    <a:pt x="414" y="461"/>
                    <a:pt x="414" y="461"/>
                  </a:cubicBezTo>
                  <a:cubicBezTo>
                    <a:pt x="414" y="461"/>
                    <a:pt x="414" y="461"/>
                    <a:pt x="414" y="462"/>
                  </a:cubicBezTo>
                  <a:cubicBezTo>
                    <a:pt x="414" y="464"/>
                    <a:pt x="414" y="464"/>
                    <a:pt x="413" y="464"/>
                  </a:cubicBezTo>
                  <a:cubicBezTo>
                    <a:pt x="412" y="464"/>
                    <a:pt x="409" y="462"/>
                    <a:pt x="407" y="461"/>
                  </a:cubicBezTo>
                  <a:cubicBezTo>
                    <a:pt x="404" y="460"/>
                    <a:pt x="401" y="458"/>
                    <a:pt x="398" y="458"/>
                  </a:cubicBezTo>
                  <a:cubicBezTo>
                    <a:pt x="396" y="458"/>
                    <a:pt x="396" y="458"/>
                    <a:pt x="396" y="458"/>
                  </a:cubicBezTo>
                  <a:cubicBezTo>
                    <a:pt x="394" y="458"/>
                    <a:pt x="393" y="458"/>
                    <a:pt x="393" y="457"/>
                  </a:cubicBezTo>
                  <a:cubicBezTo>
                    <a:pt x="392" y="456"/>
                    <a:pt x="391" y="455"/>
                    <a:pt x="391" y="454"/>
                  </a:cubicBezTo>
                  <a:cubicBezTo>
                    <a:pt x="390" y="452"/>
                    <a:pt x="388" y="450"/>
                    <a:pt x="386" y="448"/>
                  </a:cubicBezTo>
                  <a:cubicBezTo>
                    <a:pt x="385" y="448"/>
                    <a:pt x="385" y="447"/>
                    <a:pt x="384" y="447"/>
                  </a:cubicBezTo>
                  <a:cubicBezTo>
                    <a:pt x="383" y="446"/>
                    <a:pt x="383" y="446"/>
                    <a:pt x="383" y="445"/>
                  </a:cubicBezTo>
                  <a:cubicBezTo>
                    <a:pt x="382" y="445"/>
                    <a:pt x="382" y="445"/>
                    <a:pt x="382" y="444"/>
                  </a:cubicBezTo>
                  <a:cubicBezTo>
                    <a:pt x="382" y="443"/>
                    <a:pt x="382" y="442"/>
                    <a:pt x="381" y="440"/>
                  </a:cubicBezTo>
                  <a:cubicBezTo>
                    <a:pt x="380" y="438"/>
                    <a:pt x="377" y="437"/>
                    <a:pt x="374" y="437"/>
                  </a:cubicBezTo>
                  <a:cubicBezTo>
                    <a:pt x="371" y="437"/>
                    <a:pt x="367" y="438"/>
                    <a:pt x="365" y="441"/>
                  </a:cubicBezTo>
                  <a:cubicBezTo>
                    <a:pt x="364" y="443"/>
                    <a:pt x="364" y="445"/>
                    <a:pt x="364" y="447"/>
                  </a:cubicBezTo>
                  <a:cubicBezTo>
                    <a:pt x="365" y="450"/>
                    <a:pt x="368" y="451"/>
                    <a:pt x="370" y="452"/>
                  </a:cubicBezTo>
                  <a:cubicBezTo>
                    <a:pt x="371" y="453"/>
                    <a:pt x="372" y="454"/>
                    <a:pt x="372" y="454"/>
                  </a:cubicBezTo>
                  <a:cubicBezTo>
                    <a:pt x="375" y="457"/>
                    <a:pt x="380" y="464"/>
                    <a:pt x="376" y="468"/>
                  </a:cubicBezTo>
                  <a:cubicBezTo>
                    <a:pt x="376" y="469"/>
                    <a:pt x="375" y="470"/>
                    <a:pt x="374" y="471"/>
                  </a:cubicBezTo>
                  <a:cubicBezTo>
                    <a:pt x="371" y="473"/>
                    <a:pt x="368" y="475"/>
                    <a:pt x="368" y="479"/>
                  </a:cubicBezTo>
                  <a:cubicBezTo>
                    <a:pt x="367" y="481"/>
                    <a:pt x="368" y="483"/>
                    <a:pt x="368" y="485"/>
                  </a:cubicBezTo>
                  <a:cubicBezTo>
                    <a:pt x="368" y="485"/>
                    <a:pt x="369" y="486"/>
                    <a:pt x="369" y="486"/>
                  </a:cubicBezTo>
                  <a:cubicBezTo>
                    <a:pt x="369" y="488"/>
                    <a:pt x="369" y="490"/>
                    <a:pt x="370" y="491"/>
                  </a:cubicBezTo>
                  <a:cubicBezTo>
                    <a:pt x="370" y="492"/>
                    <a:pt x="370" y="494"/>
                    <a:pt x="370" y="495"/>
                  </a:cubicBezTo>
                  <a:cubicBezTo>
                    <a:pt x="371" y="498"/>
                    <a:pt x="371" y="502"/>
                    <a:pt x="371" y="506"/>
                  </a:cubicBezTo>
                  <a:cubicBezTo>
                    <a:pt x="371" y="508"/>
                    <a:pt x="371" y="508"/>
                    <a:pt x="371" y="508"/>
                  </a:cubicBezTo>
                  <a:cubicBezTo>
                    <a:pt x="372" y="513"/>
                    <a:pt x="370" y="519"/>
                    <a:pt x="367" y="524"/>
                  </a:cubicBezTo>
                  <a:cubicBezTo>
                    <a:pt x="366" y="525"/>
                    <a:pt x="365" y="528"/>
                    <a:pt x="364" y="529"/>
                  </a:cubicBezTo>
                  <a:cubicBezTo>
                    <a:pt x="362" y="529"/>
                    <a:pt x="361" y="530"/>
                    <a:pt x="360" y="530"/>
                  </a:cubicBezTo>
                  <a:cubicBezTo>
                    <a:pt x="357" y="531"/>
                    <a:pt x="354" y="532"/>
                    <a:pt x="351" y="536"/>
                  </a:cubicBezTo>
                  <a:cubicBezTo>
                    <a:pt x="349" y="540"/>
                    <a:pt x="345" y="548"/>
                    <a:pt x="349" y="553"/>
                  </a:cubicBezTo>
                  <a:cubicBezTo>
                    <a:pt x="351" y="554"/>
                    <a:pt x="352" y="555"/>
                    <a:pt x="354" y="555"/>
                  </a:cubicBezTo>
                  <a:cubicBezTo>
                    <a:pt x="356" y="555"/>
                    <a:pt x="358" y="554"/>
                    <a:pt x="360" y="553"/>
                  </a:cubicBezTo>
                  <a:cubicBezTo>
                    <a:pt x="361" y="552"/>
                    <a:pt x="363" y="551"/>
                    <a:pt x="363" y="551"/>
                  </a:cubicBezTo>
                  <a:cubicBezTo>
                    <a:pt x="363" y="551"/>
                    <a:pt x="363" y="551"/>
                    <a:pt x="363" y="551"/>
                  </a:cubicBezTo>
                  <a:cubicBezTo>
                    <a:pt x="363" y="554"/>
                    <a:pt x="356" y="560"/>
                    <a:pt x="354" y="561"/>
                  </a:cubicBezTo>
                  <a:cubicBezTo>
                    <a:pt x="353" y="561"/>
                    <a:pt x="352" y="561"/>
                    <a:pt x="351" y="561"/>
                  </a:cubicBezTo>
                  <a:cubicBezTo>
                    <a:pt x="349" y="562"/>
                    <a:pt x="346" y="562"/>
                    <a:pt x="344" y="564"/>
                  </a:cubicBezTo>
                  <a:cubicBezTo>
                    <a:pt x="340" y="567"/>
                    <a:pt x="338" y="573"/>
                    <a:pt x="340" y="577"/>
                  </a:cubicBezTo>
                  <a:cubicBezTo>
                    <a:pt x="341" y="580"/>
                    <a:pt x="343" y="581"/>
                    <a:pt x="347" y="581"/>
                  </a:cubicBezTo>
                  <a:cubicBezTo>
                    <a:pt x="348" y="581"/>
                    <a:pt x="349" y="581"/>
                    <a:pt x="350" y="581"/>
                  </a:cubicBezTo>
                  <a:cubicBezTo>
                    <a:pt x="357" y="579"/>
                    <a:pt x="366" y="574"/>
                    <a:pt x="373" y="568"/>
                  </a:cubicBezTo>
                  <a:cubicBezTo>
                    <a:pt x="374" y="566"/>
                    <a:pt x="376" y="564"/>
                    <a:pt x="378" y="563"/>
                  </a:cubicBezTo>
                  <a:cubicBezTo>
                    <a:pt x="381" y="560"/>
                    <a:pt x="383" y="557"/>
                    <a:pt x="386" y="555"/>
                  </a:cubicBezTo>
                  <a:cubicBezTo>
                    <a:pt x="387" y="553"/>
                    <a:pt x="389" y="552"/>
                    <a:pt x="390" y="550"/>
                  </a:cubicBezTo>
                  <a:cubicBezTo>
                    <a:pt x="393" y="547"/>
                    <a:pt x="395" y="545"/>
                    <a:pt x="399" y="544"/>
                  </a:cubicBezTo>
                  <a:cubicBezTo>
                    <a:pt x="399" y="543"/>
                    <a:pt x="400" y="543"/>
                    <a:pt x="401" y="543"/>
                  </a:cubicBezTo>
                  <a:cubicBezTo>
                    <a:pt x="402" y="543"/>
                    <a:pt x="403" y="544"/>
                    <a:pt x="405" y="545"/>
                  </a:cubicBezTo>
                  <a:cubicBezTo>
                    <a:pt x="406" y="546"/>
                    <a:pt x="407" y="547"/>
                    <a:pt x="409" y="547"/>
                  </a:cubicBezTo>
                  <a:cubicBezTo>
                    <a:pt x="410" y="548"/>
                    <a:pt x="411" y="548"/>
                    <a:pt x="412" y="548"/>
                  </a:cubicBezTo>
                  <a:cubicBezTo>
                    <a:pt x="416" y="548"/>
                    <a:pt x="419" y="545"/>
                    <a:pt x="421" y="543"/>
                  </a:cubicBezTo>
                  <a:cubicBezTo>
                    <a:pt x="422" y="542"/>
                    <a:pt x="423" y="541"/>
                    <a:pt x="423" y="541"/>
                  </a:cubicBezTo>
                  <a:cubicBezTo>
                    <a:pt x="425" y="539"/>
                    <a:pt x="428" y="538"/>
                    <a:pt x="431" y="538"/>
                  </a:cubicBezTo>
                  <a:cubicBezTo>
                    <a:pt x="433" y="537"/>
                    <a:pt x="436" y="536"/>
                    <a:pt x="439" y="535"/>
                  </a:cubicBezTo>
                  <a:cubicBezTo>
                    <a:pt x="440" y="534"/>
                    <a:pt x="442" y="533"/>
                    <a:pt x="444" y="533"/>
                  </a:cubicBezTo>
                  <a:cubicBezTo>
                    <a:pt x="448" y="531"/>
                    <a:pt x="453" y="530"/>
                    <a:pt x="456" y="526"/>
                  </a:cubicBezTo>
                  <a:cubicBezTo>
                    <a:pt x="457" y="524"/>
                    <a:pt x="458" y="523"/>
                    <a:pt x="458" y="522"/>
                  </a:cubicBezTo>
                  <a:cubicBezTo>
                    <a:pt x="458" y="522"/>
                    <a:pt x="458" y="521"/>
                    <a:pt x="458" y="521"/>
                  </a:cubicBezTo>
                  <a:cubicBezTo>
                    <a:pt x="458" y="518"/>
                    <a:pt x="459" y="515"/>
                    <a:pt x="457" y="512"/>
                  </a:cubicBezTo>
                  <a:cubicBezTo>
                    <a:pt x="456" y="511"/>
                    <a:pt x="454" y="510"/>
                    <a:pt x="452" y="510"/>
                  </a:cubicBezTo>
                  <a:cubicBezTo>
                    <a:pt x="450" y="510"/>
                    <a:pt x="448" y="510"/>
                    <a:pt x="446" y="511"/>
                  </a:cubicBezTo>
                  <a:cubicBezTo>
                    <a:pt x="444" y="511"/>
                    <a:pt x="442" y="511"/>
                    <a:pt x="440" y="511"/>
                  </a:cubicBezTo>
                  <a:cubicBezTo>
                    <a:pt x="438" y="511"/>
                    <a:pt x="437" y="511"/>
                    <a:pt x="437" y="510"/>
                  </a:cubicBezTo>
                  <a:cubicBezTo>
                    <a:pt x="435" y="508"/>
                    <a:pt x="437" y="506"/>
                    <a:pt x="441" y="502"/>
                  </a:cubicBezTo>
                  <a:cubicBezTo>
                    <a:pt x="442" y="501"/>
                    <a:pt x="442" y="500"/>
                    <a:pt x="443" y="500"/>
                  </a:cubicBezTo>
                  <a:cubicBezTo>
                    <a:pt x="450" y="492"/>
                    <a:pt x="455" y="488"/>
                    <a:pt x="464" y="485"/>
                  </a:cubicBezTo>
                  <a:cubicBezTo>
                    <a:pt x="466" y="484"/>
                    <a:pt x="469" y="482"/>
                    <a:pt x="472" y="481"/>
                  </a:cubicBezTo>
                  <a:cubicBezTo>
                    <a:pt x="476" y="478"/>
                    <a:pt x="481" y="475"/>
                    <a:pt x="485" y="475"/>
                  </a:cubicBezTo>
                  <a:cubicBezTo>
                    <a:pt x="487" y="475"/>
                    <a:pt x="490" y="476"/>
                    <a:pt x="492" y="477"/>
                  </a:cubicBezTo>
                  <a:cubicBezTo>
                    <a:pt x="495" y="479"/>
                    <a:pt x="499" y="480"/>
                    <a:pt x="502" y="480"/>
                  </a:cubicBezTo>
                  <a:cubicBezTo>
                    <a:pt x="505" y="480"/>
                    <a:pt x="507" y="479"/>
                    <a:pt x="509" y="477"/>
                  </a:cubicBezTo>
                  <a:cubicBezTo>
                    <a:pt x="513" y="475"/>
                    <a:pt x="513" y="472"/>
                    <a:pt x="513" y="469"/>
                  </a:cubicBezTo>
                  <a:cubicBezTo>
                    <a:pt x="514" y="468"/>
                    <a:pt x="514" y="466"/>
                    <a:pt x="515" y="465"/>
                  </a:cubicBezTo>
                  <a:cubicBezTo>
                    <a:pt x="516" y="463"/>
                    <a:pt x="519" y="461"/>
                    <a:pt x="521" y="460"/>
                  </a:cubicBezTo>
                  <a:cubicBezTo>
                    <a:pt x="524" y="458"/>
                    <a:pt x="527" y="456"/>
                    <a:pt x="529" y="454"/>
                  </a:cubicBezTo>
                  <a:cubicBezTo>
                    <a:pt x="531" y="451"/>
                    <a:pt x="534" y="448"/>
                    <a:pt x="536" y="445"/>
                  </a:cubicBezTo>
                  <a:cubicBezTo>
                    <a:pt x="537" y="443"/>
                    <a:pt x="539" y="441"/>
                    <a:pt x="540" y="439"/>
                  </a:cubicBezTo>
                  <a:cubicBezTo>
                    <a:pt x="548" y="429"/>
                    <a:pt x="556" y="420"/>
                    <a:pt x="567" y="417"/>
                  </a:cubicBezTo>
                  <a:cubicBezTo>
                    <a:pt x="570" y="416"/>
                    <a:pt x="570" y="416"/>
                    <a:pt x="570" y="416"/>
                  </a:cubicBezTo>
                  <a:lnTo>
                    <a:pt x="569" y="413"/>
                  </a:ln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02" name="Freeform 4">
              <a:extLst>
                <a:ext uri="{FF2B5EF4-FFF2-40B4-BE49-F238E27FC236}">
                  <a16:creationId xmlns:a16="http://schemas.microsoft.com/office/drawing/2014/main" id="{B21A7266-8B40-B16B-4AB3-92229484D287}"/>
                </a:ext>
              </a:extLst>
            </p:cNvPr>
            <p:cNvSpPr>
              <a:spLocks noEditPoints="1"/>
            </p:cNvSpPr>
            <p:nvPr/>
          </p:nvSpPr>
          <p:spPr bwMode="auto">
            <a:xfrm rot="21097436">
              <a:off x="9314831" y="2519958"/>
              <a:ext cx="731786" cy="1133088"/>
            </a:xfrm>
            <a:custGeom>
              <a:avLst/>
              <a:gdLst>
                <a:gd name="T0" fmla="*/ 2190259 w 317"/>
                <a:gd name="T1" fmla="*/ 909269 h 448"/>
                <a:gd name="T2" fmla="*/ 2147730 w 317"/>
                <a:gd name="T3" fmla="*/ 889923 h 448"/>
                <a:gd name="T4" fmla="*/ 2062671 w 317"/>
                <a:gd name="T5" fmla="*/ 870576 h 448"/>
                <a:gd name="T6" fmla="*/ 1998877 w 317"/>
                <a:gd name="T7" fmla="*/ 831884 h 448"/>
                <a:gd name="T8" fmla="*/ 1850025 w 317"/>
                <a:gd name="T9" fmla="*/ 831884 h 448"/>
                <a:gd name="T10" fmla="*/ 1701172 w 317"/>
                <a:gd name="T11" fmla="*/ 877025 h 448"/>
                <a:gd name="T12" fmla="*/ 1708260 w 317"/>
                <a:gd name="T13" fmla="*/ 844782 h 448"/>
                <a:gd name="T14" fmla="*/ 1701172 w 317"/>
                <a:gd name="T15" fmla="*/ 690012 h 448"/>
                <a:gd name="T16" fmla="*/ 1694084 w 317"/>
                <a:gd name="T17" fmla="*/ 670666 h 448"/>
                <a:gd name="T18" fmla="*/ 1679908 w 317"/>
                <a:gd name="T19" fmla="*/ 599730 h 448"/>
                <a:gd name="T20" fmla="*/ 1658643 w 317"/>
                <a:gd name="T21" fmla="*/ 541692 h 448"/>
                <a:gd name="T22" fmla="*/ 1658643 w 317"/>
                <a:gd name="T23" fmla="*/ 490102 h 448"/>
                <a:gd name="T24" fmla="*/ 1594849 w 317"/>
                <a:gd name="T25" fmla="*/ 425615 h 448"/>
                <a:gd name="T26" fmla="*/ 1531055 w 317"/>
                <a:gd name="T27" fmla="*/ 432064 h 448"/>
                <a:gd name="T28" fmla="*/ 1438908 w 317"/>
                <a:gd name="T29" fmla="*/ 406269 h 448"/>
                <a:gd name="T30" fmla="*/ 1424732 w 317"/>
                <a:gd name="T31" fmla="*/ 335333 h 448"/>
                <a:gd name="T32" fmla="*/ 1445996 w 317"/>
                <a:gd name="T33" fmla="*/ 180564 h 448"/>
                <a:gd name="T34" fmla="*/ 453646 w 317"/>
                <a:gd name="T35" fmla="*/ 0 h 448"/>
                <a:gd name="T36" fmla="*/ 361499 w 317"/>
                <a:gd name="T37" fmla="*/ 554589 h 448"/>
                <a:gd name="T38" fmla="*/ 354411 w 317"/>
                <a:gd name="T39" fmla="*/ 573936 h 448"/>
                <a:gd name="T40" fmla="*/ 0 w 317"/>
                <a:gd name="T41" fmla="*/ 2747152 h 448"/>
                <a:gd name="T42" fmla="*/ 715910 w 317"/>
                <a:gd name="T43" fmla="*/ 2850332 h 448"/>
                <a:gd name="T44" fmla="*/ 963998 w 317"/>
                <a:gd name="T45" fmla="*/ 2882575 h 448"/>
                <a:gd name="T46" fmla="*/ 1105762 w 317"/>
                <a:gd name="T47" fmla="*/ 2882575 h 448"/>
                <a:gd name="T48" fmla="*/ 2232789 w 317"/>
                <a:gd name="T49" fmla="*/ 947961 h 448"/>
                <a:gd name="T50" fmla="*/ 935645 w 317"/>
                <a:gd name="T51" fmla="*/ 2379576 h 448"/>
                <a:gd name="T52" fmla="*/ 857674 w 317"/>
                <a:gd name="T53" fmla="*/ 2463409 h 448"/>
                <a:gd name="T54" fmla="*/ 871851 w 317"/>
                <a:gd name="T55" fmla="*/ 2347332 h 448"/>
                <a:gd name="T56" fmla="*/ 878939 w 317"/>
                <a:gd name="T57" fmla="*/ 2289294 h 448"/>
                <a:gd name="T58" fmla="*/ 893115 w 317"/>
                <a:gd name="T59" fmla="*/ 2250601 h 448"/>
                <a:gd name="T60" fmla="*/ 928557 w 317"/>
                <a:gd name="T61" fmla="*/ 2263499 h 448"/>
                <a:gd name="T62" fmla="*/ 942733 w 317"/>
                <a:gd name="T63" fmla="*/ 2321537 h 448"/>
                <a:gd name="T64" fmla="*/ 439469 w 317"/>
                <a:gd name="T65" fmla="*/ 1579935 h 448"/>
                <a:gd name="T66" fmla="*/ 411117 w 317"/>
                <a:gd name="T67" fmla="*/ 1592832 h 448"/>
                <a:gd name="T68" fmla="*/ 411117 w 317"/>
                <a:gd name="T69" fmla="*/ 1534794 h 448"/>
                <a:gd name="T70" fmla="*/ 453646 w 317"/>
                <a:gd name="T71" fmla="*/ 1573486 h 448"/>
                <a:gd name="T72" fmla="*/ 411117 w 317"/>
                <a:gd name="T73" fmla="*/ 1657320 h 448"/>
                <a:gd name="T74" fmla="*/ 425293 w 317"/>
                <a:gd name="T75" fmla="*/ 1721807 h 448"/>
                <a:gd name="T76" fmla="*/ 453646 w 317"/>
                <a:gd name="T77" fmla="*/ 1741153 h 448"/>
                <a:gd name="T78" fmla="*/ 354411 w 317"/>
                <a:gd name="T79" fmla="*/ 1683114 h 448"/>
                <a:gd name="T80" fmla="*/ 347323 w 317"/>
                <a:gd name="T81" fmla="*/ 1644422 h 448"/>
                <a:gd name="T82" fmla="*/ 694645 w 317"/>
                <a:gd name="T83" fmla="*/ 1973307 h 448"/>
                <a:gd name="T84" fmla="*/ 609587 w 317"/>
                <a:gd name="T85" fmla="*/ 1831435 h 448"/>
                <a:gd name="T86" fmla="*/ 637940 w 317"/>
                <a:gd name="T87" fmla="*/ 1831435 h 448"/>
                <a:gd name="T88" fmla="*/ 680469 w 317"/>
                <a:gd name="T89" fmla="*/ 1766948 h 448"/>
                <a:gd name="T90" fmla="*/ 602499 w 317"/>
                <a:gd name="T91" fmla="*/ 1760499 h 448"/>
                <a:gd name="T92" fmla="*/ 581234 w 317"/>
                <a:gd name="T93" fmla="*/ 1721807 h 448"/>
                <a:gd name="T94" fmla="*/ 659204 w 317"/>
                <a:gd name="T95" fmla="*/ 1605730 h 448"/>
                <a:gd name="T96" fmla="*/ 843498 w 317"/>
                <a:gd name="T97" fmla="*/ 1966858 h 448"/>
                <a:gd name="T98" fmla="*/ 878939 w 317"/>
                <a:gd name="T99" fmla="*/ 2095832 h 448"/>
                <a:gd name="T100" fmla="*/ 857674 w 317"/>
                <a:gd name="T101" fmla="*/ 2147422 h 448"/>
                <a:gd name="T102" fmla="*/ 765528 w 317"/>
                <a:gd name="T103" fmla="*/ 2024896 h 448"/>
                <a:gd name="T104" fmla="*/ 694645 w 317"/>
                <a:gd name="T105" fmla="*/ 1973307 h 4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17" h="448">
                  <a:moveTo>
                    <a:pt x="313" y="142"/>
                  </a:moveTo>
                  <a:cubicBezTo>
                    <a:pt x="313" y="141"/>
                    <a:pt x="313" y="141"/>
                    <a:pt x="312" y="141"/>
                  </a:cubicBezTo>
                  <a:cubicBezTo>
                    <a:pt x="311" y="141"/>
                    <a:pt x="310" y="141"/>
                    <a:pt x="309" y="141"/>
                  </a:cubicBezTo>
                  <a:cubicBezTo>
                    <a:pt x="309" y="141"/>
                    <a:pt x="308" y="141"/>
                    <a:pt x="308" y="140"/>
                  </a:cubicBezTo>
                  <a:cubicBezTo>
                    <a:pt x="306" y="140"/>
                    <a:pt x="305" y="139"/>
                    <a:pt x="304" y="139"/>
                  </a:cubicBezTo>
                  <a:cubicBezTo>
                    <a:pt x="303" y="138"/>
                    <a:pt x="303" y="138"/>
                    <a:pt x="303" y="138"/>
                  </a:cubicBezTo>
                  <a:cubicBezTo>
                    <a:pt x="301" y="137"/>
                    <a:pt x="299" y="136"/>
                    <a:pt x="297" y="136"/>
                  </a:cubicBezTo>
                  <a:cubicBezTo>
                    <a:pt x="296" y="136"/>
                    <a:pt x="295" y="136"/>
                    <a:pt x="294" y="136"/>
                  </a:cubicBezTo>
                  <a:cubicBezTo>
                    <a:pt x="292" y="136"/>
                    <a:pt x="292" y="136"/>
                    <a:pt x="291" y="135"/>
                  </a:cubicBezTo>
                  <a:cubicBezTo>
                    <a:pt x="291" y="135"/>
                    <a:pt x="290" y="134"/>
                    <a:pt x="290" y="134"/>
                  </a:cubicBezTo>
                  <a:cubicBezTo>
                    <a:pt x="289" y="133"/>
                    <a:pt x="288" y="132"/>
                    <a:pt x="286" y="131"/>
                  </a:cubicBezTo>
                  <a:cubicBezTo>
                    <a:pt x="285" y="130"/>
                    <a:pt x="284" y="130"/>
                    <a:pt x="282" y="129"/>
                  </a:cubicBezTo>
                  <a:cubicBezTo>
                    <a:pt x="281" y="129"/>
                    <a:pt x="280" y="128"/>
                    <a:pt x="279" y="128"/>
                  </a:cubicBezTo>
                  <a:cubicBezTo>
                    <a:pt x="277" y="127"/>
                    <a:pt x="274" y="127"/>
                    <a:pt x="272" y="127"/>
                  </a:cubicBezTo>
                  <a:cubicBezTo>
                    <a:pt x="268" y="127"/>
                    <a:pt x="265" y="127"/>
                    <a:pt x="261" y="129"/>
                  </a:cubicBezTo>
                  <a:cubicBezTo>
                    <a:pt x="260" y="129"/>
                    <a:pt x="258" y="130"/>
                    <a:pt x="256" y="131"/>
                  </a:cubicBezTo>
                  <a:cubicBezTo>
                    <a:pt x="251" y="134"/>
                    <a:pt x="245" y="137"/>
                    <a:pt x="242" y="137"/>
                  </a:cubicBezTo>
                  <a:cubicBezTo>
                    <a:pt x="241" y="137"/>
                    <a:pt x="240" y="137"/>
                    <a:pt x="240" y="136"/>
                  </a:cubicBezTo>
                  <a:cubicBezTo>
                    <a:pt x="239" y="136"/>
                    <a:pt x="239" y="136"/>
                    <a:pt x="239" y="136"/>
                  </a:cubicBezTo>
                  <a:cubicBezTo>
                    <a:pt x="239" y="136"/>
                    <a:pt x="240" y="134"/>
                    <a:pt x="240" y="133"/>
                  </a:cubicBezTo>
                  <a:cubicBezTo>
                    <a:pt x="241" y="132"/>
                    <a:pt x="241" y="132"/>
                    <a:pt x="241" y="131"/>
                  </a:cubicBezTo>
                  <a:cubicBezTo>
                    <a:pt x="244" y="126"/>
                    <a:pt x="244" y="122"/>
                    <a:pt x="243" y="117"/>
                  </a:cubicBezTo>
                  <a:cubicBezTo>
                    <a:pt x="243" y="114"/>
                    <a:pt x="242" y="111"/>
                    <a:pt x="240" y="108"/>
                  </a:cubicBezTo>
                  <a:cubicBezTo>
                    <a:pt x="240" y="108"/>
                    <a:pt x="240" y="108"/>
                    <a:pt x="240" y="107"/>
                  </a:cubicBezTo>
                  <a:cubicBezTo>
                    <a:pt x="239" y="107"/>
                    <a:pt x="239" y="107"/>
                    <a:pt x="239" y="107"/>
                  </a:cubicBezTo>
                  <a:cubicBezTo>
                    <a:pt x="239" y="107"/>
                    <a:pt x="239" y="106"/>
                    <a:pt x="239" y="105"/>
                  </a:cubicBezTo>
                  <a:cubicBezTo>
                    <a:pt x="239" y="105"/>
                    <a:pt x="239" y="104"/>
                    <a:pt x="239" y="104"/>
                  </a:cubicBezTo>
                  <a:cubicBezTo>
                    <a:pt x="239" y="103"/>
                    <a:pt x="239" y="102"/>
                    <a:pt x="239" y="102"/>
                  </a:cubicBezTo>
                  <a:cubicBezTo>
                    <a:pt x="238" y="100"/>
                    <a:pt x="238" y="99"/>
                    <a:pt x="238" y="97"/>
                  </a:cubicBezTo>
                  <a:cubicBezTo>
                    <a:pt x="237" y="96"/>
                    <a:pt x="237" y="95"/>
                    <a:pt x="237" y="93"/>
                  </a:cubicBezTo>
                  <a:cubicBezTo>
                    <a:pt x="237" y="92"/>
                    <a:pt x="236" y="91"/>
                    <a:pt x="236" y="90"/>
                  </a:cubicBezTo>
                  <a:cubicBezTo>
                    <a:pt x="236" y="89"/>
                    <a:pt x="236" y="88"/>
                    <a:pt x="235" y="87"/>
                  </a:cubicBezTo>
                  <a:cubicBezTo>
                    <a:pt x="235" y="86"/>
                    <a:pt x="234" y="85"/>
                    <a:pt x="234" y="84"/>
                  </a:cubicBezTo>
                  <a:cubicBezTo>
                    <a:pt x="234" y="83"/>
                    <a:pt x="234" y="81"/>
                    <a:pt x="234" y="80"/>
                  </a:cubicBezTo>
                  <a:cubicBezTo>
                    <a:pt x="234" y="79"/>
                    <a:pt x="234" y="78"/>
                    <a:pt x="234" y="77"/>
                  </a:cubicBezTo>
                  <a:cubicBezTo>
                    <a:pt x="234" y="76"/>
                    <a:pt x="234" y="76"/>
                    <a:pt x="234" y="76"/>
                  </a:cubicBezTo>
                  <a:cubicBezTo>
                    <a:pt x="234" y="74"/>
                    <a:pt x="234" y="72"/>
                    <a:pt x="233" y="70"/>
                  </a:cubicBezTo>
                  <a:cubicBezTo>
                    <a:pt x="231" y="68"/>
                    <a:pt x="229" y="66"/>
                    <a:pt x="226" y="66"/>
                  </a:cubicBezTo>
                  <a:cubicBezTo>
                    <a:pt x="225" y="66"/>
                    <a:pt x="225" y="66"/>
                    <a:pt x="225" y="66"/>
                  </a:cubicBezTo>
                  <a:cubicBezTo>
                    <a:pt x="224" y="66"/>
                    <a:pt x="223" y="66"/>
                    <a:pt x="222" y="66"/>
                  </a:cubicBezTo>
                  <a:cubicBezTo>
                    <a:pt x="222" y="66"/>
                    <a:pt x="221" y="66"/>
                    <a:pt x="220" y="66"/>
                  </a:cubicBezTo>
                  <a:cubicBezTo>
                    <a:pt x="219" y="66"/>
                    <a:pt x="217" y="66"/>
                    <a:pt x="216" y="67"/>
                  </a:cubicBezTo>
                  <a:cubicBezTo>
                    <a:pt x="214" y="67"/>
                    <a:pt x="212" y="67"/>
                    <a:pt x="211" y="67"/>
                  </a:cubicBezTo>
                  <a:cubicBezTo>
                    <a:pt x="210" y="67"/>
                    <a:pt x="209" y="67"/>
                    <a:pt x="208" y="67"/>
                  </a:cubicBezTo>
                  <a:cubicBezTo>
                    <a:pt x="206" y="66"/>
                    <a:pt x="204" y="65"/>
                    <a:pt x="203" y="63"/>
                  </a:cubicBezTo>
                  <a:cubicBezTo>
                    <a:pt x="202" y="63"/>
                    <a:pt x="202" y="62"/>
                    <a:pt x="202" y="61"/>
                  </a:cubicBezTo>
                  <a:cubicBezTo>
                    <a:pt x="202" y="60"/>
                    <a:pt x="202" y="60"/>
                    <a:pt x="202" y="59"/>
                  </a:cubicBezTo>
                  <a:cubicBezTo>
                    <a:pt x="201" y="57"/>
                    <a:pt x="201" y="54"/>
                    <a:pt x="201" y="52"/>
                  </a:cubicBezTo>
                  <a:cubicBezTo>
                    <a:pt x="202" y="51"/>
                    <a:pt x="202" y="50"/>
                    <a:pt x="202" y="49"/>
                  </a:cubicBezTo>
                  <a:cubicBezTo>
                    <a:pt x="203" y="47"/>
                    <a:pt x="203" y="45"/>
                    <a:pt x="203" y="43"/>
                  </a:cubicBezTo>
                  <a:cubicBezTo>
                    <a:pt x="204" y="38"/>
                    <a:pt x="204" y="33"/>
                    <a:pt x="204" y="28"/>
                  </a:cubicBezTo>
                  <a:cubicBezTo>
                    <a:pt x="204" y="26"/>
                    <a:pt x="204" y="23"/>
                    <a:pt x="204" y="21"/>
                  </a:cubicBezTo>
                  <a:cubicBezTo>
                    <a:pt x="204" y="19"/>
                    <a:pt x="204" y="19"/>
                    <a:pt x="204" y="19"/>
                  </a:cubicBezTo>
                  <a:cubicBezTo>
                    <a:pt x="64" y="0"/>
                    <a:pt x="64" y="0"/>
                    <a:pt x="64" y="0"/>
                  </a:cubicBezTo>
                  <a:cubicBezTo>
                    <a:pt x="64" y="3"/>
                    <a:pt x="64" y="3"/>
                    <a:pt x="64" y="3"/>
                  </a:cubicBezTo>
                  <a:cubicBezTo>
                    <a:pt x="60" y="28"/>
                    <a:pt x="56" y="55"/>
                    <a:pt x="51" y="82"/>
                  </a:cubicBezTo>
                  <a:cubicBezTo>
                    <a:pt x="51" y="86"/>
                    <a:pt x="51" y="86"/>
                    <a:pt x="51" y="86"/>
                  </a:cubicBezTo>
                  <a:cubicBezTo>
                    <a:pt x="53" y="86"/>
                    <a:pt x="53" y="86"/>
                    <a:pt x="53" y="86"/>
                  </a:cubicBezTo>
                  <a:cubicBezTo>
                    <a:pt x="52" y="87"/>
                    <a:pt x="52" y="87"/>
                    <a:pt x="51" y="88"/>
                  </a:cubicBezTo>
                  <a:cubicBezTo>
                    <a:pt x="50" y="89"/>
                    <a:pt x="50" y="89"/>
                    <a:pt x="50" y="89"/>
                  </a:cubicBezTo>
                  <a:cubicBezTo>
                    <a:pt x="50" y="90"/>
                    <a:pt x="50" y="90"/>
                    <a:pt x="50" y="90"/>
                  </a:cubicBezTo>
                  <a:cubicBezTo>
                    <a:pt x="31" y="213"/>
                    <a:pt x="10" y="357"/>
                    <a:pt x="1" y="423"/>
                  </a:cubicBezTo>
                  <a:cubicBezTo>
                    <a:pt x="0" y="426"/>
                    <a:pt x="0" y="426"/>
                    <a:pt x="0" y="426"/>
                  </a:cubicBezTo>
                  <a:cubicBezTo>
                    <a:pt x="3" y="426"/>
                    <a:pt x="3" y="426"/>
                    <a:pt x="3" y="426"/>
                  </a:cubicBezTo>
                  <a:cubicBezTo>
                    <a:pt x="36" y="432"/>
                    <a:pt x="68" y="437"/>
                    <a:pt x="100" y="442"/>
                  </a:cubicBezTo>
                  <a:cubicBezTo>
                    <a:pt x="101" y="442"/>
                    <a:pt x="101" y="442"/>
                    <a:pt x="101" y="442"/>
                  </a:cubicBezTo>
                  <a:cubicBezTo>
                    <a:pt x="104" y="442"/>
                    <a:pt x="107" y="443"/>
                    <a:pt x="111" y="443"/>
                  </a:cubicBezTo>
                  <a:cubicBezTo>
                    <a:pt x="118" y="445"/>
                    <a:pt x="125" y="446"/>
                    <a:pt x="133" y="447"/>
                  </a:cubicBezTo>
                  <a:cubicBezTo>
                    <a:pt x="134" y="447"/>
                    <a:pt x="135" y="447"/>
                    <a:pt x="136" y="447"/>
                  </a:cubicBezTo>
                  <a:cubicBezTo>
                    <a:pt x="139" y="447"/>
                    <a:pt x="144" y="448"/>
                    <a:pt x="148" y="448"/>
                  </a:cubicBezTo>
                  <a:cubicBezTo>
                    <a:pt x="148" y="448"/>
                    <a:pt x="148" y="448"/>
                    <a:pt x="148" y="448"/>
                  </a:cubicBezTo>
                  <a:cubicBezTo>
                    <a:pt x="151" y="448"/>
                    <a:pt x="154" y="447"/>
                    <a:pt x="156" y="447"/>
                  </a:cubicBezTo>
                  <a:cubicBezTo>
                    <a:pt x="158" y="446"/>
                    <a:pt x="158" y="446"/>
                    <a:pt x="158" y="446"/>
                  </a:cubicBezTo>
                  <a:cubicBezTo>
                    <a:pt x="170" y="296"/>
                    <a:pt x="170" y="296"/>
                    <a:pt x="170" y="296"/>
                  </a:cubicBezTo>
                  <a:cubicBezTo>
                    <a:pt x="192" y="282"/>
                    <a:pt x="286" y="178"/>
                    <a:pt x="315" y="147"/>
                  </a:cubicBezTo>
                  <a:cubicBezTo>
                    <a:pt x="317" y="143"/>
                    <a:pt x="317" y="143"/>
                    <a:pt x="317" y="143"/>
                  </a:cubicBezTo>
                  <a:lnTo>
                    <a:pt x="313" y="142"/>
                  </a:lnTo>
                  <a:close/>
                  <a:moveTo>
                    <a:pt x="132" y="369"/>
                  </a:moveTo>
                  <a:cubicBezTo>
                    <a:pt x="132" y="371"/>
                    <a:pt x="132" y="373"/>
                    <a:pt x="131" y="375"/>
                  </a:cubicBezTo>
                  <a:cubicBezTo>
                    <a:pt x="129" y="379"/>
                    <a:pt x="125" y="383"/>
                    <a:pt x="123" y="383"/>
                  </a:cubicBezTo>
                  <a:cubicBezTo>
                    <a:pt x="123" y="383"/>
                    <a:pt x="122" y="383"/>
                    <a:pt x="121" y="382"/>
                  </a:cubicBezTo>
                  <a:cubicBezTo>
                    <a:pt x="120" y="380"/>
                    <a:pt x="121" y="378"/>
                    <a:pt x="122" y="375"/>
                  </a:cubicBezTo>
                  <a:cubicBezTo>
                    <a:pt x="123" y="372"/>
                    <a:pt x="123" y="370"/>
                    <a:pt x="123" y="368"/>
                  </a:cubicBezTo>
                  <a:cubicBezTo>
                    <a:pt x="123" y="366"/>
                    <a:pt x="123" y="365"/>
                    <a:pt x="123" y="364"/>
                  </a:cubicBezTo>
                  <a:cubicBezTo>
                    <a:pt x="123" y="364"/>
                    <a:pt x="124" y="364"/>
                    <a:pt x="124" y="363"/>
                  </a:cubicBezTo>
                  <a:cubicBezTo>
                    <a:pt x="124" y="362"/>
                    <a:pt x="125" y="361"/>
                    <a:pt x="125" y="359"/>
                  </a:cubicBezTo>
                  <a:cubicBezTo>
                    <a:pt x="125" y="358"/>
                    <a:pt x="125" y="356"/>
                    <a:pt x="124" y="355"/>
                  </a:cubicBezTo>
                  <a:cubicBezTo>
                    <a:pt x="124" y="355"/>
                    <a:pt x="124" y="354"/>
                    <a:pt x="123" y="353"/>
                  </a:cubicBezTo>
                  <a:cubicBezTo>
                    <a:pt x="123" y="353"/>
                    <a:pt x="124" y="352"/>
                    <a:pt x="125" y="350"/>
                  </a:cubicBezTo>
                  <a:cubicBezTo>
                    <a:pt x="126" y="349"/>
                    <a:pt x="126" y="349"/>
                    <a:pt x="126" y="349"/>
                  </a:cubicBezTo>
                  <a:cubicBezTo>
                    <a:pt x="127" y="347"/>
                    <a:pt x="128" y="346"/>
                    <a:pt x="129" y="345"/>
                  </a:cubicBezTo>
                  <a:cubicBezTo>
                    <a:pt x="130" y="346"/>
                    <a:pt x="130" y="347"/>
                    <a:pt x="130" y="347"/>
                  </a:cubicBezTo>
                  <a:cubicBezTo>
                    <a:pt x="130" y="348"/>
                    <a:pt x="131" y="350"/>
                    <a:pt x="131" y="351"/>
                  </a:cubicBezTo>
                  <a:cubicBezTo>
                    <a:pt x="132" y="351"/>
                    <a:pt x="132" y="352"/>
                    <a:pt x="132" y="353"/>
                  </a:cubicBezTo>
                  <a:cubicBezTo>
                    <a:pt x="134" y="355"/>
                    <a:pt x="134" y="356"/>
                    <a:pt x="134" y="357"/>
                  </a:cubicBezTo>
                  <a:cubicBezTo>
                    <a:pt x="134" y="358"/>
                    <a:pt x="133" y="359"/>
                    <a:pt x="133" y="360"/>
                  </a:cubicBezTo>
                  <a:cubicBezTo>
                    <a:pt x="133" y="362"/>
                    <a:pt x="132" y="364"/>
                    <a:pt x="132" y="367"/>
                  </a:cubicBezTo>
                  <a:cubicBezTo>
                    <a:pt x="132" y="367"/>
                    <a:pt x="132" y="368"/>
                    <a:pt x="132" y="369"/>
                  </a:cubicBezTo>
                  <a:close/>
                  <a:moveTo>
                    <a:pt x="62" y="245"/>
                  </a:moveTo>
                  <a:cubicBezTo>
                    <a:pt x="61" y="246"/>
                    <a:pt x="59" y="246"/>
                    <a:pt x="58" y="248"/>
                  </a:cubicBezTo>
                  <a:cubicBezTo>
                    <a:pt x="57" y="248"/>
                    <a:pt x="57" y="249"/>
                    <a:pt x="57" y="249"/>
                  </a:cubicBezTo>
                  <a:cubicBezTo>
                    <a:pt x="57" y="248"/>
                    <a:pt x="58" y="248"/>
                    <a:pt x="58" y="247"/>
                  </a:cubicBezTo>
                  <a:cubicBezTo>
                    <a:pt x="59" y="245"/>
                    <a:pt x="58" y="242"/>
                    <a:pt x="58" y="241"/>
                  </a:cubicBezTo>
                  <a:cubicBezTo>
                    <a:pt x="57" y="240"/>
                    <a:pt x="57" y="239"/>
                    <a:pt x="57" y="239"/>
                  </a:cubicBezTo>
                  <a:cubicBezTo>
                    <a:pt x="58" y="239"/>
                    <a:pt x="58" y="238"/>
                    <a:pt x="58" y="238"/>
                  </a:cubicBezTo>
                  <a:cubicBezTo>
                    <a:pt x="58" y="239"/>
                    <a:pt x="58" y="241"/>
                    <a:pt x="59" y="242"/>
                  </a:cubicBezTo>
                  <a:cubicBezTo>
                    <a:pt x="60" y="244"/>
                    <a:pt x="62" y="244"/>
                    <a:pt x="64" y="244"/>
                  </a:cubicBezTo>
                  <a:cubicBezTo>
                    <a:pt x="64" y="244"/>
                    <a:pt x="64" y="244"/>
                    <a:pt x="64" y="244"/>
                  </a:cubicBezTo>
                  <a:cubicBezTo>
                    <a:pt x="64" y="244"/>
                    <a:pt x="63" y="245"/>
                    <a:pt x="62" y="245"/>
                  </a:cubicBezTo>
                  <a:close/>
                  <a:moveTo>
                    <a:pt x="57" y="249"/>
                  </a:moveTo>
                  <a:cubicBezTo>
                    <a:pt x="55" y="253"/>
                    <a:pt x="57" y="255"/>
                    <a:pt x="58" y="257"/>
                  </a:cubicBezTo>
                  <a:cubicBezTo>
                    <a:pt x="58" y="257"/>
                    <a:pt x="59" y="258"/>
                    <a:pt x="59" y="258"/>
                  </a:cubicBezTo>
                  <a:cubicBezTo>
                    <a:pt x="59" y="258"/>
                    <a:pt x="59" y="259"/>
                    <a:pt x="59" y="260"/>
                  </a:cubicBezTo>
                  <a:cubicBezTo>
                    <a:pt x="59" y="262"/>
                    <a:pt x="58" y="265"/>
                    <a:pt x="60" y="267"/>
                  </a:cubicBezTo>
                  <a:cubicBezTo>
                    <a:pt x="62" y="269"/>
                    <a:pt x="65" y="269"/>
                    <a:pt x="66" y="269"/>
                  </a:cubicBezTo>
                  <a:cubicBezTo>
                    <a:pt x="66" y="269"/>
                    <a:pt x="67" y="269"/>
                    <a:pt x="67" y="269"/>
                  </a:cubicBezTo>
                  <a:cubicBezTo>
                    <a:pt x="66" y="269"/>
                    <a:pt x="65" y="270"/>
                    <a:pt x="64" y="270"/>
                  </a:cubicBezTo>
                  <a:cubicBezTo>
                    <a:pt x="63" y="270"/>
                    <a:pt x="63" y="270"/>
                    <a:pt x="62" y="269"/>
                  </a:cubicBezTo>
                  <a:cubicBezTo>
                    <a:pt x="59" y="268"/>
                    <a:pt x="55" y="265"/>
                    <a:pt x="52" y="262"/>
                  </a:cubicBezTo>
                  <a:cubicBezTo>
                    <a:pt x="52" y="262"/>
                    <a:pt x="51" y="261"/>
                    <a:pt x="50" y="261"/>
                  </a:cubicBezTo>
                  <a:cubicBezTo>
                    <a:pt x="48" y="259"/>
                    <a:pt x="46" y="257"/>
                    <a:pt x="44" y="254"/>
                  </a:cubicBezTo>
                  <a:cubicBezTo>
                    <a:pt x="46" y="255"/>
                    <a:pt x="47" y="255"/>
                    <a:pt x="48" y="255"/>
                  </a:cubicBezTo>
                  <a:cubicBezTo>
                    <a:pt x="49" y="255"/>
                    <a:pt x="49" y="255"/>
                    <a:pt x="49" y="255"/>
                  </a:cubicBezTo>
                  <a:cubicBezTo>
                    <a:pt x="49" y="255"/>
                    <a:pt x="49" y="255"/>
                    <a:pt x="49" y="255"/>
                  </a:cubicBezTo>
                  <a:cubicBezTo>
                    <a:pt x="52" y="254"/>
                    <a:pt x="55" y="252"/>
                    <a:pt x="57" y="249"/>
                  </a:cubicBezTo>
                  <a:close/>
                  <a:moveTo>
                    <a:pt x="98" y="306"/>
                  </a:moveTo>
                  <a:cubicBezTo>
                    <a:pt x="97" y="304"/>
                    <a:pt x="96" y="303"/>
                    <a:pt x="95" y="301"/>
                  </a:cubicBezTo>
                  <a:cubicBezTo>
                    <a:pt x="93" y="297"/>
                    <a:pt x="91" y="293"/>
                    <a:pt x="88" y="289"/>
                  </a:cubicBezTo>
                  <a:cubicBezTo>
                    <a:pt x="86" y="286"/>
                    <a:pt x="86" y="284"/>
                    <a:pt x="86" y="284"/>
                  </a:cubicBezTo>
                  <a:cubicBezTo>
                    <a:pt x="86" y="284"/>
                    <a:pt x="87" y="283"/>
                    <a:pt x="87" y="283"/>
                  </a:cubicBezTo>
                  <a:cubicBezTo>
                    <a:pt x="88" y="283"/>
                    <a:pt x="88" y="284"/>
                    <a:pt x="89" y="284"/>
                  </a:cubicBezTo>
                  <a:cubicBezTo>
                    <a:pt x="89" y="284"/>
                    <a:pt x="90" y="284"/>
                    <a:pt x="90" y="284"/>
                  </a:cubicBezTo>
                  <a:cubicBezTo>
                    <a:pt x="91" y="284"/>
                    <a:pt x="93" y="284"/>
                    <a:pt x="94" y="282"/>
                  </a:cubicBezTo>
                  <a:cubicBezTo>
                    <a:pt x="96" y="280"/>
                    <a:pt x="96" y="278"/>
                    <a:pt x="96" y="277"/>
                  </a:cubicBezTo>
                  <a:cubicBezTo>
                    <a:pt x="96" y="274"/>
                    <a:pt x="96" y="274"/>
                    <a:pt x="96" y="274"/>
                  </a:cubicBezTo>
                  <a:cubicBezTo>
                    <a:pt x="93" y="274"/>
                    <a:pt x="93" y="274"/>
                    <a:pt x="93" y="274"/>
                  </a:cubicBezTo>
                  <a:cubicBezTo>
                    <a:pt x="92" y="274"/>
                    <a:pt x="91" y="274"/>
                    <a:pt x="90" y="274"/>
                  </a:cubicBezTo>
                  <a:cubicBezTo>
                    <a:pt x="88" y="274"/>
                    <a:pt x="86" y="274"/>
                    <a:pt x="85" y="273"/>
                  </a:cubicBezTo>
                  <a:cubicBezTo>
                    <a:pt x="84" y="273"/>
                    <a:pt x="83" y="272"/>
                    <a:pt x="82" y="271"/>
                  </a:cubicBezTo>
                  <a:cubicBezTo>
                    <a:pt x="81" y="271"/>
                    <a:pt x="81" y="270"/>
                    <a:pt x="80" y="269"/>
                  </a:cubicBezTo>
                  <a:cubicBezTo>
                    <a:pt x="81" y="269"/>
                    <a:pt x="82" y="268"/>
                    <a:pt x="82" y="267"/>
                  </a:cubicBezTo>
                  <a:cubicBezTo>
                    <a:pt x="85" y="264"/>
                    <a:pt x="86" y="260"/>
                    <a:pt x="88" y="256"/>
                  </a:cubicBezTo>
                  <a:cubicBezTo>
                    <a:pt x="88" y="254"/>
                    <a:pt x="88" y="254"/>
                    <a:pt x="88" y="254"/>
                  </a:cubicBezTo>
                  <a:cubicBezTo>
                    <a:pt x="90" y="251"/>
                    <a:pt x="91" y="249"/>
                    <a:pt x="93" y="249"/>
                  </a:cubicBezTo>
                  <a:cubicBezTo>
                    <a:pt x="93" y="249"/>
                    <a:pt x="93" y="249"/>
                    <a:pt x="94" y="249"/>
                  </a:cubicBezTo>
                  <a:cubicBezTo>
                    <a:pt x="99" y="249"/>
                    <a:pt x="107" y="255"/>
                    <a:pt x="109" y="259"/>
                  </a:cubicBezTo>
                  <a:cubicBezTo>
                    <a:pt x="115" y="273"/>
                    <a:pt x="118" y="290"/>
                    <a:pt x="119" y="305"/>
                  </a:cubicBezTo>
                  <a:cubicBezTo>
                    <a:pt x="120" y="309"/>
                    <a:pt x="120" y="309"/>
                    <a:pt x="120" y="309"/>
                  </a:cubicBezTo>
                  <a:cubicBezTo>
                    <a:pt x="121" y="314"/>
                    <a:pt x="122" y="318"/>
                    <a:pt x="123" y="321"/>
                  </a:cubicBezTo>
                  <a:cubicBezTo>
                    <a:pt x="123" y="322"/>
                    <a:pt x="123" y="323"/>
                    <a:pt x="124" y="325"/>
                  </a:cubicBezTo>
                  <a:cubicBezTo>
                    <a:pt x="124" y="326"/>
                    <a:pt x="125" y="330"/>
                    <a:pt x="125" y="331"/>
                  </a:cubicBezTo>
                  <a:cubicBezTo>
                    <a:pt x="125" y="331"/>
                    <a:pt x="124" y="331"/>
                    <a:pt x="124" y="332"/>
                  </a:cubicBezTo>
                  <a:cubicBezTo>
                    <a:pt x="123" y="332"/>
                    <a:pt x="122" y="332"/>
                    <a:pt x="121" y="333"/>
                  </a:cubicBezTo>
                  <a:cubicBezTo>
                    <a:pt x="121" y="330"/>
                    <a:pt x="120" y="324"/>
                    <a:pt x="119" y="321"/>
                  </a:cubicBezTo>
                  <a:cubicBezTo>
                    <a:pt x="117" y="317"/>
                    <a:pt x="114" y="315"/>
                    <a:pt x="110" y="314"/>
                  </a:cubicBezTo>
                  <a:cubicBezTo>
                    <a:pt x="109" y="314"/>
                    <a:pt x="108" y="314"/>
                    <a:pt x="108" y="314"/>
                  </a:cubicBezTo>
                  <a:cubicBezTo>
                    <a:pt x="103" y="314"/>
                    <a:pt x="102" y="317"/>
                    <a:pt x="102" y="319"/>
                  </a:cubicBezTo>
                  <a:cubicBezTo>
                    <a:pt x="101" y="316"/>
                    <a:pt x="100" y="313"/>
                    <a:pt x="100" y="311"/>
                  </a:cubicBezTo>
                  <a:cubicBezTo>
                    <a:pt x="99" y="308"/>
                    <a:pt x="98" y="307"/>
                    <a:pt x="98" y="306"/>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03" name="Freeform 6">
              <a:extLst>
                <a:ext uri="{FF2B5EF4-FFF2-40B4-BE49-F238E27FC236}">
                  <a16:creationId xmlns:a16="http://schemas.microsoft.com/office/drawing/2014/main" id="{C6DBDEB1-34F2-6556-8831-A24ED15AB445}"/>
                </a:ext>
              </a:extLst>
            </p:cNvPr>
            <p:cNvSpPr>
              <a:spLocks/>
            </p:cNvSpPr>
            <p:nvPr/>
          </p:nvSpPr>
          <p:spPr bwMode="auto">
            <a:xfrm rot="21097436">
              <a:off x="9420405" y="1178006"/>
              <a:ext cx="180774" cy="285652"/>
            </a:xfrm>
            <a:custGeom>
              <a:avLst/>
              <a:gdLst>
                <a:gd name="T0" fmla="*/ 512372 w 78"/>
                <a:gd name="T1" fmla="*/ 251369 h 113"/>
                <a:gd name="T2" fmla="*/ 469675 w 78"/>
                <a:gd name="T3" fmla="*/ 283596 h 113"/>
                <a:gd name="T4" fmla="*/ 434093 w 78"/>
                <a:gd name="T5" fmla="*/ 283596 h 113"/>
                <a:gd name="T6" fmla="*/ 462558 w 78"/>
                <a:gd name="T7" fmla="*/ 244923 h 113"/>
                <a:gd name="T8" fmla="*/ 512372 w 78"/>
                <a:gd name="T9" fmla="*/ 90235 h 113"/>
                <a:gd name="T10" fmla="*/ 469675 w 78"/>
                <a:gd name="T11" fmla="*/ 77344 h 113"/>
                <a:gd name="T12" fmla="*/ 462558 w 78"/>
                <a:gd name="T13" fmla="*/ 6445 h 113"/>
                <a:gd name="T14" fmla="*/ 362930 w 78"/>
                <a:gd name="T15" fmla="*/ 25781 h 113"/>
                <a:gd name="T16" fmla="*/ 327349 w 78"/>
                <a:gd name="T17" fmla="*/ 58008 h 113"/>
                <a:gd name="T18" fmla="*/ 284651 w 78"/>
                <a:gd name="T19" fmla="*/ 38672 h 113"/>
                <a:gd name="T20" fmla="*/ 256186 w 78"/>
                <a:gd name="T21" fmla="*/ 45117 h 113"/>
                <a:gd name="T22" fmla="*/ 177907 w 78"/>
                <a:gd name="T23" fmla="*/ 103126 h 113"/>
                <a:gd name="T24" fmla="*/ 170791 w 78"/>
                <a:gd name="T25" fmla="*/ 109571 h 113"/>
                <a:gd name="T26" fmla="*/ 135209 w 78"/>
                <a:gd name="T27" fmla="*/ 167579 h 113"/>
                <a:gd name="T28" fmla="*/ 220605 w 78"/>
                <a:gd name="T29" fmla="*/ 212697 h 113"/>
                <a:gd name="T30" fmla="*/ 213488 w 78"/>
                <a:gd name="T31" fmla="*/ 225587 h 113"/>
                <a:gd name="T32" fmla="*/ 213488 w 78"/>
                <a:gd name="T33" fmla="*/ 315822 h 113"/>
                <a:gd name="T34" fmla="*/ 192140 w 78"/>
                <a:gd name="T35" fmla="*/ 328713 h 113"/>
                <a:gd name="T36" fmla="*/ 142326 w 78"/>
                <a:gd name="T37" fmla="*/ 283596 h 113"/>
                <a:gd name="T38" fmla="*/ 78279 w 78"/>
                <a:gd name="T39" fmla="*/ 212697 h 113"/>
                <a:gd name="T40" fmla="*/ 0 w 78"/>
                <a:gd name="T41" fmla="*/ 302932 h 113"/>
                <a:gd name="T42" fmla="*/ 42698 w 78"/>
                <a:gd name="T43" fmla="*/ 406057 h 113"/>
                <a:gd name="T44" fmla="*/ 106744 w 78"/>
                <a:gd name="T45" fmla="*/ 457620 h 113"/>
                <a:gd name="T46" fmla="*/ 156558 w 78"/>
                <a:gd name="T47" fmla="*/ 528519 h 113"/>
                <a:gd name="T48" fmla="*/ 234837 w 78"/>
                <a:gd name="T49" fmla="*/ 689653 h 113"/>
                <a:gd name="T50" fmla="*/ 341582 w 78"/>
                <a:gd name="T51" fmla="*/ 715434 h 113"/>
                <a:gd name="T52" fmla="*/ 398512 w 78"/>
                <a:gd name="T53" fmla="*/ 663871 h 113"/>
                <a:gd name="T54" fmla="*/ 498140 w 78"/>
                <a:gd name="T55" fmla="*/ 573637 h 113"/>
                <a:gd name="T56" fmla="*/ 512372 w 78"/>
                <a:gd name="T57" fmla="*/ 509183 h 113"/>
                <a:gd name="T58" fmla="*/ 505256 w 78"/>
                <a:gd name="T59" fmla="*/ 373831 h 113"/>
                <a:gd name="T60" fmla="*/ 491023 w 78"/>
                <a:gd name="T61" fmla="*/ 348049 h 113"/>
                <a:gd name="T62" fmla="*/ 547954 w 78"/>
                <a:gd name="T63" fmla="*/ 322268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8" h="113">
                  <a:moveTo>
                    <a:pt x="77" y="42"/>
                  </a:moveTo>
                  <a:cubicBezTo>
                    <a:pt x="76" y="40"/>
                    <a:pt x="74" y="39"/>
                    <a:pt x="72" y="39"/>
                  </a:cubicBezTo>
                  <a:cubicBezTo>
                    <a:pt x="71" y="39"/>
                    <a:pt x="71" y="39"/>
                    <a:pt x="71" y="39"/>
                  </a:cubicBezTo>
                  <a:cubicBezTo>
                    <a:pt x="69" y="39"/>
                    <a:pt x="67" y="41"/>
                    <a:pt x="66" y="44"/>
                  </a:cubicBezTo>
                  <a:cubicBezTo>
                    <a:pt x="65" y="44"/>
                    <a:pt x="65" y="45"/>
                    <a:pt x="65" y="45"/>
                  </a:cubicBezTo>
                  <a:cubicBezTo>
                    <a:pt x="64" y="44"/>
                    <a:pt x="62" y="44"/>
                    <a:pt x="61" y="44"/>
                  </a:cubicBezTo>
                  <a:cubicBezTo>
                    <a:pt x="60" y="44"/>
                    <a:pt x="59" y="44"/>
                    <a:pt x="59" y="43"/>
                  </a:cubicBezTo>
                  <a:cubicBezTo>
                    <a:pt x="60" y="42"/>
                    <a:pt x="63" y="39"/>
                    <a:pt x="65" y="38"/>
                  </a:cubicBezTo>
                  <a:cubicBezTo>
                    <a:pt x="69" y="36"/>
                    <a:pt x="71" y="34"/>
                    <a:pt x="72" y="33"/>
                  </a:cubicBezTo>
                  <a:cubicBezTo>
                    <a:pt x="74" y="28"/>
                    <a:pt x="78" y="18"/>
                    <a:pt x="72" y="14"/>
                  </a:cubicBezTo>
                  <a:cubicBezTo>
                    <a:pt x="71" y="13"/>
                    <a:pt x="69" y="13"/>
                    <a:pt x="68" y="12"/>
                  </a:cubicBezTo>
                  <a:cubicBezTo>
                    <a:pt x="67" y="12"/>
                    <a:pt x="67" y="12"/>
                    <a:pt x="66" y="12"/>
                  </a:cubicBezTo>
                  <a:cubicBezTo>
                    <a:pt x="66" y="11"/>
                    <a:pt x="67" y="10"/>
                    <a:pt x="67" y="9"/>
                  </a:cubicBezTo>
                  <a:cubicBezTo>
                    <a:pt x="68" y="8"/>
                    <a:pt x="69" y="4"/>
                    <a:pt x="65" y="1"/>
                  </a:cubicBezTo>
                  <a:cubicBezTo>
                    <a:pt x="65" y="0"/>
                    <a:pt x="63" y="0"/>
                    <a:pt x="62" y="0"/>
                  </a:cubicBezTo>
                  <a:cubicBezTo>
                    <a:pt x="58" y="0"/>
                    <a:pt x="53" y="3"/>
                    <a:pt x="51" y="4"/>
                  </a:cubicBezTo>
                  <a:cubicBezTo>
                    <a:pt x="51" y="5"/>
                    <a:pt x="50" y="6"/>
                    <a:pt x="49" y="6"/>
                  </a:cubicBezTo>
                  <a:cubicBezTo>
                    <a:pt x="48" y="7"/>
                    <a:pt x="47" y="9"/>
                    <a:pt x="46" y="9"/>
                  </a:cubicBezTo>
                  <a:cubicBezTo>
                    <a:pt x="45" y="9"/>
                    <a:pt x="45" y="8"/>
                    <a:pt x="44" y="8"/>
                  </a:cubicBezTo>
                  <a:cubicBezTo>
                    <a:pt x="43" y="7"/>
                    <a:pt x="42" y="6"/>
                    <a:pt x="40" y="6"/>
                  </a:cubicBezTo>
                  <a:cubicBezTo>
                    <a:pt x="39" y="6"/>
                    <a:pt x="39" y="7"/>
                    <a:pt x="38" y="7"/>
                  </a:cubicBezTo>
                  <a:cubicBezTo>
                    <a:pt x="37" y="7"/>
                    <a:pt x="36" y="7"/>
                    <a:pt x="36" y="7"/>
                  </a:cubicBezTo>
                  <a:cubicBezTo>
                    <a:pt x="29" y="9"/>
                    <a:pt x="27" y="9"/>
                    <a:pt x="26" y="11"/>
                  </a:cubicBezTo>
                  <a:cubicBezTo>
                    <a:pt x="24" y="13"/>
                    <a:pt x="25" y="15"/>
                    <a:pt x="25" y="16"/>
                  </a:cubicBezTo>
                  <a:cubicBezTo>
                    <a:pt x="25" y="16"/>
                    <a:pt x="25" y="16"/>
                    <a:pt x="25" y="16"/>
                  </a:cubicBezTo>
                  <a:cubicBezTo>
                    <a:pt x="25" y="16"/>
                    <a:pt x="25" y="16"/>
                    <a:pt x="24" y="17"/>
                  </a:cubicBezTo>
                  <a:cubicBezTo>
                    <a:pt x="23" y="17"/>
                    <a:pt x="22" y="18"/>
                    <a:pt x="21" y="19"/>
                  </a:cubicBezTo>
                  <a:cubicBezTo>
                    <a:pt x="20" y="20"/>
                    <a:pt x="17" y="23"/>
                    <a:pt x="19" y="26"/>
                  </a:cubicBezTo>
                  <a:cubicBezTo>
                    <a:pt x="20" y="30"/>
                    <a:pt x="24" y="31"/>
                    <a:pt x="28" y="32"/>
                  </a:cubicBezTo>
                  <a:cubicBezTo>
                    <a:pt x="29" y="32"/>
                    <a:pt x="30" y="32"/>
                    <a:pt x="31" y="33"/>
                  </a:cubicBezTo>
                  <a:cubicBezTo>
                    <a:pt x="31" y="33"/>
                    <a:pt x="31" y="33"/>
                    <a:pt x="31" y="33"/>
                  </a:cubicBezTo>
                  <a:cubicBezTo>
                    <a:pt x="31" y="33"/>
                    <a:pt x="30" y="34"/>
                    <a:pt x="30" y="35"/>
                  </a:cubicBezTo>
                  <a:cubicBezTo>
                    <a:pt x="29" y="37"/>
                    <a:pt x="27" y="40"/>
                    <a:pt x="29" y="43"/>
                  </a:cubicBezTo>
                  <a:cubicBezTo>
                    <a:pt x="30" y="45"/>
                    <a:pt x="30" y="47"/>
                    <a:pt x="30" y="49"/>
                  </a:cubicBezTo>
                  <a:cubicBezTo>
                    <a:pt x="30" y="49"/>
                    <a:pt x="30" y="50"/>
                    <a:pt x="29" y="50"/>
                  </a:cubicBezTo>
                  <a:cubicBezTo>
                    <a:pt x="28" y="51"/>
                    <a:pt x="28" y="51"/>
                    <a:pt x="27" y="51"/>
                  </a:cubicBezTo>
                  <a:cubicBezTo>
                    <a:pt x="25" y="51"/>
                    <a:pt x="22" y="49"/>
                    <a:pt x="21" y="47"/>
                  </a:cubicBezTo>
                  <a:cubicBezTo>
                    <a:pt x="21" y="46"/>
                    <a:pt x="20" y="45"/>
                    <a:pt x="20" y="44"/>
                  </a:cubicBezTo>
                  <a:cubicBezTo>
                    <a:pt x="19" y="40"/>
                    <a:pt x="17" y="35"/>
                    <a:pt x="13" y="33"/>
                  </a:cubicBezTo>
                  <a:cubicBezTo>
                    <a:pt x="12" y="33"/>
                    <a:pt x="11" y="33"/>
                    <a:pt x="11" y="33"/>
                  </a:cubicBezTo>
                  <a:cubicBezTo>
                    <a:pt x="9" y="33"/>
                    <a:pt x="7" y="34"/>
                    <a:pt x="5" y="36"/>
                  </a:cubicBezTo>
                  <a:cubicBezTo>
                    <a:pt x="2" y="39"/>
                    <a:pt x="0" y="44"/>
                    <a:pt x="0" y="47"/>
                  </a:cubicBezTo>
                  <a:cubicBezTo>
                    <a:pt x="1" y="51"/>
                    <a:pt x="2" y="54"/>
                    <a:pt x="4" y="57"/>
                  </a:cubicBezTo>
                  <a:cubicBezTo>
                    <a:pt x="5" y="59"/>
                    <a:pt x="6" y="61"/>
                    <a:pt x="6" y="63"/>
                  </a:cubicBezTo>
                  <a:cubicBezTo>
                    <a:pt x="8" y="67"/>
                    <a:pt x="10" y="69"/>
                    <a:pt x="12" y="70"/>
                  </a:cubicBezTo>
                  <a:cubicBezTo>
                    <a:pt x="13" y="70"/>
                    <a:pt x="14" y="71"/>
                    <a:pt x="15" y="71"/>
                  </a:cubicBezTo>
                  <a:cubicBezTo>
                    <a:pt x="16" y="73"/>
                    <a:pt x="17" y="75"/>
                    <a:pt x="19" y="77"/>
                  </a:cubicBezTo>
                  <a:cubicBezTo>
                    <a:pt x="20" y="79"/>
                    <a:pt x="21" y="80"/>
                    <a:pt x="22" y="82"/>
                  </a:cubicBezTo>
                  <a:cubicBezTo>
                    <a:pt x="25" y="86"/>
                    <a:pt x="26" y="90"/>
                    <a:pt x="28" y="94"/>
                  </a:cubicBezTo>
                  <a:cubicBezTo>
                    <a:pt x="29" y="99"/>
                    <a:pt x="30" y="103"/>
                    <a:pt x="33" y="107"/>
                  </a:cubicBezTo>
                  <a:cubicBezTo>
                    <a:pt x="35" y="109"/>
                    <a:pt x="38" y="113"/>
                    <a:pt x="42" y="113"/>
                  </a:cubicBezTo>
                  <a:cubicBezTo>
                    <a:pt x="45" y="113"/>
                    <a:pt x="47" y="112"/>
                    <a:pt x="48" y="111"/>
                  </a:cubicBezTo>
                  <a:cubicBezTo>
                    <a:pt x="51" y="108"/>
                    <a:pt x="51" y="105"/>
                    <a:pt x="51" y="102"/>
                  </a:cubicBezTo>
                  <a:cubicBezTo>
                    <a:pt x="53" y="102"/>
                    <a:pt x="54" y="103"/>
                    <a:pt x="56" y="103"/>
                  </a:cubicBezTo>
                  <a:cubicBezTo>
                    <a:pt x="59" y="103"/>
                    <a:pt x="61" y="102"/>
                    <a:pt x="63" y="101"/>
                  </a:cubicBezTo>
                  <a:cubicBezTo>
                    <a:pt x="68" y="97"/>
                    <a:pt x="69" y="93"/>
                    <a:pt x="70" y="89"/>
                  </a:cubicBezTo>
                  <a:cubicBezTo>
                    <a:pt x="70" y="87"/>
                    <a:pt x="70" y="86"/>
                    <a:pt x="70" y="85"/>
                  </a:cubicBezTo>
                  <a:cubicBezTo>
                    <a:pt x="71" y="83"/>
                    <a:pt x="72" y="81"/>
                    <a:pt x="72" y="79"/>
                  </a:cubicBezTo>
                  <a:cubicBezTo>
                    <a:pt x="74" y="76"/>
                    <a:pt x="75" y="73"/>
                    <a:pt x="75" y="69"/>
                  </a:cubicBezTo>
                  <a:cubicBezTo>
                    <a:pt x="76" y="64"/>
                    <a:pt x="74" y="61"/>
                    <a:pt x="71" y="58"/>
                  </a:cubicBezTo>
                  <a:cubicBezTo>
                    <a:pt x="71" y="58"/>
                    <a:pt x="70" y="57"/>
                    <a:pt x="69" y="56"/>
                  </a:cubicBezTo>
                  <a:cubicBezTo>
                    <a:pt x="69" y="55"/>
                    <a:pt x="69" y="55"/>
                    <a:pt x="69" y="54"/>
                  </a:cubicBezTo>
                  <a:cubicBezTo>
                    <a:pt x="69" y="54"/>
                    <a:pt x="70" y="54"/>
                    <a:pt x="70" y="54"/>
                  </a:cubicBezTo>
                  <a:cubicBezTo>
                    <a:pt x="73" y="54"/>
                    <a:pt x="76" y="52"/>
                    <a:pt x="77" y="50"/>
                  </a:cubicBezTo>
                  <a:cubicBezTo>
                    <a:pt x="78" y="48"/>
                    <a:pt x="78" y="45"/>
                    <a:pt x="77" y="42"/>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4" name="Freeform 7">
              <a:extLst>
                <a:ext uri="{FF2B5EF4-FFF2-40B4-BE49-F238E27FC236}">
                  <a16:creationId xmlns:a16="http://schemas.microsoft.com/office/drawing/2014/main" id="{762DF50D-C183-3A9E-1F4C-DA9821BAD7FB}"/>
                </a:ext>
              </a:extLst>
            </p:cNvPr>
            <p:cNvSpPr>
              <a:spLocks/>
            </p:cNvSpPr>
            <p:nvPr/>
          </p:nvSpPr>
          <p:spPr bwMode="auto">
            <a:xfrm rot="21097436">
              <a:off x="9497928" y="1589314"/>
              <a:ext cx="145141" cy="155204"/>
            </a:xfrm>
            <a:custGeom>
              <a:avLst/>
              <a:gdLst>
                <a:gd name="T0" fmla="*/ 445657 w 63"/>
                <a:gd name="T1" fmla="*/ 298414 h 61"/>
                <a:gd name="T2" fmla="*/ 410287 w 63"/>
                <a:gd name="T3" fmla="*/ 259490 h 61"/>
                <a:gd name="T4" fmla="*/ 389066 w 63"/>
                <a:gd name="T5" fmla="*/ 240029 h 61"/>
                <a:gd name="T6" fmla="*/ 374918 w 63"/>
                <a:gd name="T7" fmla="*/ 194618 h 61"/>
                <a:gd name="T8" fmla="*/ 353696 w 63"/>
                <a:gd name="T9" fmla="*/ 123258 h 61"/>
                <a:gd name="T10" fmla="*/ 311253 w 63"/>
                <a:gd name="T11" fmla="*/ 84334 h 61"/>
                <a:gd name="T12" fmla="*/ 261735 w 63"/>
                <a:gd name="T13" fmla="*/ 38924 h 61"/>
                <a:gd name="T14" fmla="*/ 205144 w 63"/>
                <a:gd name="T15" fmla="*/ 0 h 61"/>
                <a:gd name="T16" fmla="*/ 141478 w 63"/>
                <a:gd name="T17" fmla="*/ 38924 h 61"/>
                <a:gd name="T18" fmla="*/ 120257 w 63"/>
                <a:gd name="T19" fmla="*/ 103796 h 61"/>
                <a:gd name="T20" fmla="*/ 99035 w 63"/>
                <a:gd name="T21" fmla="*/ 155694 h 61"/>
                <a:gd name="T22" fmla="*/ 70739 w 63"/>
                <a:gd name="T23" fmla="*/ 162182 h 61"/>
                <a:gd name="T24" fmla="*/ 7074 w 63"/>
                <a:gd name="T25" fmla="*/ 201105 h 61"/>
                <a:gd name="T26" fmla="*/ 7074 w 63"/>
                <a:gd name="T27" fmla="*/ 240029 h 61"/>
                <a:gd name="T28" fmla="*/ 84887 w 63"/>
                <a:gd name="T29" fmla="*/ 272465 h 61"/>
                <a:gd name="T30" fmla="*/ 106109 w 63"/>
                <a:gd name="T31" fmla="*/ 278952 h 61"/>
                <a:gd name="T32" fmla="*/ 148552 w 63"/>
                <a:gd name="T33" fmla="*/ 311389 h 61"/>
                <a:gd name="T34" fmla="*/ 183922 w 63"/>
                <a:gd name="T35" fmla="*/ 350312 h 61"/>
                <a:gd name="T36" fmla="*/ 304179 w 63"/>
                <a:gd name="T37" fmla="*/ 395723 h 61"/>
                <a:gd name="T38" fmla="*/ 304179 w 63"/>
                <a:gd name="T39" fmla="*/ 395723 h 61"/>
                <a:gd name="T40" fmla="*/ 431509 w 63"/>
                <a:gd name="T41" fmla="*/ 330850 h 61"/>
                <a:gd name="T42" fmla="*/ 445657 w 63"/>
                <a:gd name="T43" fmla="*/ 298414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3" h="61">
                  <a:moveTo>
                    <a:pt x="63" y="46"/>
                  </a:moveTo>
                  <a:cubicBezTo>
                    <a:pt x="63" y="43"/>
                    <a:pt x="60" y="41"/>
                    <a:pt x="58" y="40"/>
                  </a:cubicBezTo>
                  <a:cubicBezTo>
                    <a:pt x="57" y="39"/>
                    <a:pt x="56" y="38"/>
                    <a:pt x="55" y="37"/>
                  </a:cubicBezTo>
                  <a:cubicBezTo>
                    <a:pt x="54" y="35"/>
                    <a:pt x="53" y="33"/>
                    <a:pt x="53" y="30"/>
                  </a:cubicBezTo>
                  <a:cubicBezTo>
                    <a:pt x="53" y="26"/>
                    <a:pt x="53" y="22"/>
                    <a:pt x="50" y="19"/>
                  </a:cubicBezTo>
                  <a:cubicBezTo>
                    <a:pt x="48" y="16"/>
                    <a:pt x="46" y="14"/>
                    <a:pt x="44" y="13"/>
                  </a:cubicBezTo>
                  <a:cubicBezTo>
                    <a:pt x="41" y="11"/>
                    <a:pt x="39" y="9"/>
                    <a:pt x="37" y="6"/>
                  </a:cubicBezTo>
                  <a:cubicBezTo>
                    <a:pt x="35" y="2"/>
                    <a:pt x="32" y="0"/>
                    <a:pt x="29" y="0"/>
                  </a:cubicBezTo>
                  <a:cubicBezTo>
                    <a:pt x="26" y="0"/>
                    <a:pt x="23" y="2"/>
                    <a:pt x="20" y="6"/>
                  </a:cubicBezTo>
                  <a:cubicBezTo>
                    <a:pt x="18" y="9"/>
                    <a:pt x="18" y="13"/>
                    <a:pt x="17" y="16"/>
                  </a:cubicBezTo>
                  <a:cubicBezTo>
                    <a:pt x="17" y="19"/>
                    <a:pt x="16" y="23"/>
                    <a:pt x="14" y="24"/>
                  </a:cubicBezTo>
                  <a:cubicBezTo>
                    <a:pt x="13" y="25"/>
                    <a:pt x="12" y="25"/>
                    <a:pt x="10" y="25"/>
                  </a:cubicBezTo>
                  <a:cubicBezTo>
                    <a:pt x="7" y="26"/>
                    <a:pt x="3" y="27"/>
                    <a:pt x="1" y="31"/>
                  </a:cubicBezTo>
                  <a:cubicBezTo>
                    <a:pt x="0" y="34"/>
                    <a:pt x="1" y="36"/>
                    <a:pt x="1" y="37"/>
                  </a:cubicBezTo>
                  <a:cubicBezTo>
                    <a:pt x="3" y="41"/>
                    <a:pt x="8" y="41"/>
                    <a:pt x="12" y="42"/>
                  </a:cubicBezTo>
                  <a:cubicBezTo>
                    <a:pt x="13" y="42"/>
                    <a:pt x="14" y="42"/>
                    <a:pt x="15" y="43"/>
                  </a:cubicBezTo>
                  <a:cubicBezTo>
                    <a:pt x="18" y="43"/>
                    <a:pt x="19" y="46"/>
                    <a:pt x="21" y="48"/>
                  </a:cubicBezTo>
                  <a:cubicBezTo>
                    <a:pt x="22" y="50"/>
                    <a:pt x="24" y="52"/>
                    <a:pt x="26" y="54"/>
                  </a:cubicBezTo>
                  <a:cubicBezTo>
                    <a:pt x="27" y="54"/>
                    <a:pt x="37" y="61"/>
                    <a:pt x="43" y="61"/>
                  </a:cubicBezTo>
                  <a:cubicBezTo>
                    <a:pt x="43" y="61"/>
                    <a:pt x="43" y="61"/>
                    <a:pt x="43" y="61"/>
                  </a:cubicBezTo>
                  <a:cubicBezTo>
                    <a:pt x="48" y="61"/>
                    <a:pt x="59" y="53"/>
                    <a:pt x="61" y="51"/>
                  </a:cubicBezTo>
                  <a:cubicBezTo>
                    <a:pt x="63" y="49"/>
                    <a:pt x="63" y="47"/>
                    <a:pt x="63" y="46"/>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5" name="Freeform 9">
              <a:extLst>
                <a:ext uri="{FF2B5EF4-FFF2-40B4-BE49-F238E27FC236}">
                  <a16:creationId xmlns:a16="http://schemas.microsoft.com/office/drawing/2014/main" id="{D465A52C-A663-EF2F-1A9C-61974CB9AE8E}"/>
                </a:ext>
              </a:extLst>
            </p:cNvPr>
            <p:cNvSpPr>
              <a:spLocks/>
            </p:cNvSpPr>
            <p:nvPr/>
          </p:nvSpPr>
          <p:spPr bwMode="auto">
            <a:xfrm rot="21097436">
              <a:off x="8954148" y="1200991"/>
              <a:ext cx="288542" cy="363730"/>
            </a:xfrm>
            <a:custGeom>
              <a:avLst/>
              <a:gdLst>
                <a:gd name="T0" fmla="*/ 779660 w 125"/>
                <a:gd name="T1" fmla="*/ 328455 h 144"/>
                <a:gd name="T2" fmla="*/ 765484 w 125"/>
                <a:gd name="T3" fmla="*/ 322014 h 144"/>
                <a:gd name="T4" fmla="*/ 786748 w 125"/>
                <a:gd name="T5" fmla="*/ 225410 h 144"/>
                <a:gd name="T6" fmla="*/ 680430 w 125"/>
                <a:gd name="T7" fmla="*/ 122365 h 144"/>
                <a:gd name="T8" fmla="*/ 602464 w 125"/>
                <a:gd name="T9" fmla="*/ 167447 h 144"/>
                <a:gd name="T10" fmla="*/ 567025 w 125"/>
                <a:gd name="T11" fmla="*/ 193209 h 144"/>
                <a:gd name="T12" fmla="*/ 574113 w 125"/>
                <a:gd name="T13" fmla="*/ 173888 h 144"/>
                <a:gd name="T14" fmla="*/ 630816 w 125"/>
                <a:gd name="T15" fmla="*/ 115925 h 144"/>
                <a:gd name="T16" fmla="*/ 652079 w 125"/>
                <a:gd name="T17" fmla="*/ 25761 h 144"/>
                <a:gd name="T18" fmla="*/ 602464 w 125"/>
                <a:gd name="T19" fmla="*/ 0 h 144"/>
                <a:gd name="T20" fmla="*/ 531586 w 125"/>
                <a:gd name="T21" fmla="*/ 6440 h 144"/>
                <a:gd name="T22" fmla="*/ 432357 w 125"/>
                <a:gd name="T23" fmla="*/ 12881 h 144"/>
                <a:gd name="T24" fmla="*/ 382742 w 125"/>
                <a:gd name="T25" fmla="*/ 19321 h 144"/>
                <a:gd name="T26" fmla="*/ 255161 w 125"/>
                <a:gd name="T27" fmla="*/ 57963 h 144"/>
                <a:gd name="T28" fmla="*/ 184283 w 125"/>
                <a:gd name="T29" fmla="*/ 115925 h 144"/>
                <a:gd name="T30" fmla="*/ 191371 w 125"/>
                <a:gd name="T31" fmla="*/ 148127 h 144"/>
                <a:gd name="T32" fmla="*/ 99229 w 125"/>
                <a:gd name="T33" fmla="*/ 186768 h 144"/>
                <a:gd name="T34" fmla="*/ 56703 w 125"/>
                <a:gd name="T35" fmla="*/ 244731 h 144"/>
                <a:gd name="T36" fmla="*/ 134669 w 125"/>
                <a:gd name="T37" fmla="*/ 302693 h 144"/>
                <a:gd name="T38" fmla="*/ 148844 w 125"/>
                <a:gd name="T39" fmla="*/ 309134 h 144"/>
                <a:gd name="T40" fmla="*/ 85054 w 125"/>
                <a:gd name="T41" fmla="*/ 334895 h 144"/>
                <a:gd name="T42" fmla="*/ 120493 w 125"/>
                <a:gd name="T43" fmla="*/ 392857 h 144"/>
                <a:gd name="T44" fmla="*/ 170108 w 125"/>
                <a:gd name="T45" fmla="*/ 392857 h 144"/>
                <a:gd name="T46" fmla="*/ 198459 w 125"/>
                <a:gd name="T47" fmla="*/ 392857 h 144"/>
                <a:gd name="T48" fmla="*/ 262249 w 125"/>
                <a:gd name="T49" fmla="*/ 405738 h 144"/>
                <a:gd name="T50" fmla="*/ 276425 w 125"/>
                <a:gd name="T51" fmla="*/ 405738 h 144"/>
                <a:gd name="T52" fmla="*/ 304776 w 125"/>
                <a:gd name="T53" fmla="*/ 405738 h 144"/>
                <a:gd name="T54" fmla="*/ 240986 w 125"/>
                <a:gd name="T55" fmla="*/ 412178 h 144"/>
                <a:gd name="T56" fmla="*/ 120493 w 125"/>
                <a:gd name="T57" fmla="*/ 405738 h 144"/>
                <a:gd name="T58" fmla="*/ 21263 w 125"/>
                <a:gd name="T59" fmla="*/ 463701 h 144"/>
                <a:gd name="T60" fmla="*/ 127581 w 125"/>
                <a:gd name="T61" fmla="*/ 598946 h 144"/>
                <a:gd name="T62" fmla="*/ 269337 w 125"/>
                <a:gd name="T63" fmla="*/ 656909 h 144"/>
                <a:gd name="T64" fmla="*/ 354391 w 125"/>
                <a:gd name="T65" fmla="*/ 676230 h 144"/>
                <a:gd name="T66" fmla="*/ 425269 w 125"/>
                <a:gd name="T67" fmla="*/ 708431 h 144"/>
                <a:gd name="T68" fmla="*/ 467796 w 125"/>
                <a:gd name="T69" fmla="*/ 740633 h 144"/>
                <a:gd name="T70" fmla="*/ 474884 w 125"/>
                <a:gd name="T71" fmla="*/ 792155 h 144"/>
                <a:gd name="T72" fmla="*/ 382742 w 125"/>
                <a:gd name="T73" fmla="*/ 747073 h 144"/>
                <a:gd name="T74" fmla="*/ 134669 w 125"/>
                <a:gd name="T75" fmla="*/ 676230 h 144"/>
                <a:gd name="T76" fmla="*/ 99229 w 125"/>
                <a:gd name="T77" fmla="*/ 669790 h 144"/>
                <a:gd name="T78" fmla="*/ 0 w 125"/>
                <a:gd name="T79" fmla="*/ 689110 h 144"/>
                <a:gd name="T80" fmla="*/ 885977 w 125"/>
                <a:gd name="T81" fmla="*/ 270492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5" h="144">
                  <a:moveTo>
                    <a:pt x="117" y="48"/>
                  </a:moveTo>
                  <a:cubicBezTo>
                    <a:pt x="115" y="50"/>
                    <a:pt x="112" y="51"/>
                    <a:pt x="110" y="51"/>
                  </a:cubicBezTo>
                  <a:cubicBezTo>
                    <a:pt x="109" y="51"/>
                    <a:pt x="109" y="51"/>
                    <a:pt x="108" y="51"/>
                  </a:cubicBezTo>
                  <a:cubicBezTo>
                    <a:pt x="108" y="50"/>
                    <a:pt x="108" y="50"/>
                    <a:pt x="108" y="50"/>
                  </a:cubicBezTo>
                  <a:cubicBezTo>
                    <a:pt x="108" y="50"/>
                    <a:pt x="109" y="48"/>
                    <a:pt x="109" y="47"/>
                  </a:cubicBezTo>
                  <a:cubicBezTo>
                    <a:pt x="111" y="44"/>
                    <a:pt x="114" y="40"/>
                    <a:pt x="111" y="35"/>
                  </a:cubicBezTo>
                  <a:cubicBezTo>
                    <a:pt x="110" y="34"/>
                    <a:pt x="110" y="33"/>
                    <a:pt x="109" y="31"/>
                  </a:cubicBezTo>
                  <a:cubicBezTo>
                    <a:pt x="106" y="26"/>
                    <a:pt x="103" y="19"/>
                    <a:pt x="96" y="19"/>
                  </a:cubicBezTo>
                  <a:cubicBezTo>
                    <a:pt x="95" y="19"/>
                    <a:pt x="95" y="19"/>
                    <a:pt x="95" y="19"/>
                  </a:cubicBezTo>
                  <a:cubicBezTo>
                    <a:pt x="90" y="20"/>
                    <a:pt x="87" y="23"/>
                    <a:pt x="85" y="26"/>
                  </a:cubicBezTo>
                  <a:cubicBezTo>
                    <a:pt x="83" y="30"/>
                    <a:pt x="83" y="30"/>
                    <a:pt x="80" y="30"/>
                  </a:cubicBezTo>
                  <a:cubicBezTo>
                    <a:pt x="80" y="30"/>
                    <a:pt x="80" y="30"/>
                    <a:pt x="80" y="30"/>
                  </a:cubicBezTo>
                  <a:cubicBezTo>
                    <a:pt x="79" y="30"/>
                    <a:pt x="79" y="30"/>
                    <a:pt x="78" y="30"/>
                  </a:cubicBezTo>
                  <a:cubicBezTo>
                    <a:pt x="79" y="29"/>
                    <a:pt x="80" y="28"/>
                    <a:pt x="81" y="27"/>
                  </a:cubicBezTo>
                  <a:cubicBezTo>
                    <a:pt x="82" y="27"/>
                    <a:pt x="82" y="27"/>
                    <a:pt x="83" y="26"/>
                  </a:cubicBezTo>
                  <a:cubicBezTo>
                    <a:pt x="86" y="24"/>
                    <a:pt x="88" y="21"/>
                    <a:pt x="89" y="18"/>
                  </a:cubicBezTo>
                  <a:cubicBezTo>
                    <a:pt x="90" y="17"/>
                    <a:pt x="91" y="16"/>
                    <a:pt x="92" y="14"/>
                  </a:cubicBezTo>
                  <a:cubicBezTo>
                    <a:pt x="94" y="12"/>
                    <a:pt x="94" y="8"/>
                    <a:pt x="92" y="4"/>
                  </a:cubicBezTo>
                  <a:cubicBezTo>
                    <a:pt x="91" y="2"/>
                    <a:pt x="89" y="0"/>
                    <a:pt x="87" y="0"/>
                  </a:cubicBezTo>
                  <a:cubicBezTo>
                    <a:pt x="86" y="0"/>
                    <a:pt x="85" y="0"/>
                    <a:pt x="85" y="0"/>
                  </a:cubicBezTo>
                  <a:cubicBezTo>
                    <a:pt x="83" y="0"/>
                    <a:pt x="81" y="0"/>
                    <a:pt x="79" y="0"/>
                  </a:cubicBezTo>
                  <a:cubicBezTo>
                    <a:pt x="77" y="1"/>
                    <a:pt x="76" y="1"/>
                    <a:pt x="75" y="1"/>
                  </a:cubicBezTo>
                  <a:cubicBezTo>
                    <a:pt x="71" y="1"/>
                    <a:pt x="67" y="2"/>
                    <a:pt x="63" y="2"/>
                  </a:cubicBezTo>
                  <a:cubicBezTo>
                    <a:pt x="61" y="2"/>
                    <a:pt x="61" y="2"/>
                    <a:pt x="61" y="2"/>
                  </a:cubicBezTo>
                  <a:cubicBezTo>
                    <a:pt x="60" y="2"/>
                    <a:pt x="60" y="2"/>
                    <a:pt x="59" y="2"/>
                  </a:cubicBezTo>
                  <a:cubicBezTo>
                    <a:pt x="57" y="3"/>
                    <a:pt x="56" y="3"/>
                    <a:pt x="54" y="3"/>
                  </a:cubicBezTo>
                  <a:cubicBezTo>
                    <a:pt x="49" y="4"/>
                    <a:pt x="44" y="6"/>
                    <a:pt x="40" y="8"/>
                  </a:cubicBezTo>
                  <a:cubicBezTo>
                    <a:pt x="39" y="8"/>
                    <a:pt x="37" y="9"/>
                    <a:pt x="36" y="9"/>
                  </a:cubicBezTo>
                  <a:cubicBezTo>
                    <a:pt x="35" y="9"/>
                    <a:pt x="35" y="9"/>
                    <a:pt x="35" y="9"/>
                  </a:cubicBezTo>
                  <a:cubicBezTo>
                    <a:pt x="32" y="11"/>
                    <a:pt x="26" y="13"/>
                    <a:pt x="26" y="18"/>
                  </a:cubicBezTo>
                  <a:cubicBezTo>
                    <a:pt x="26" y="20"/>
                    <a:pt x="26" y="21"/>
                    <a:pt x="27" y="22"/>
                  </a:cubicBezTo>
                  <a:cubicBezTo>
                    <a:pt x="27" y="22"/>
                    <a:pt x="27" y="22"/>
                    <a:pt x="27" y="23"/>
                  </a:cubicBezTo>
                  <a:cubicBezTo>
                    <a:pt x="26" y="24"/>
                    <a:pt x="26" y="24"/>
                    <a:pt x="24" y="24"/>
                  </a:cubicBezTo>
                  <a:cubicBezTo>
                    <a:pt x="19" y="25"/>
                    <a:pt x="17" y="27"/>
                    <a:pt x="14" y="29"/>
                  </a:cubicBezTo>
                  <a:cubicBezTo>
                    <a:pt x="14" y="29"/>
                    <a:pt x="14" y="29"/>
                    <a:pt x="14" y="29"/>
                  </a:cubicBezTo>
                  <a:cubicBezTo>
                    <a:pt x="11" y="31"/>
                    <a:pt x="9" y="34"/>
                    <a:pt x="8" y="38"/>
                  </a:cubicBezTo>
                  <a:cubicBezTo>
                    <a:pt x="7" y="45"/>
                    <a:pt x="14" y="46"/>
                    <a:pt x="17" y="47"/>
                  </a:cubicBezTo>
                  <a:cubicBezTo>
                    <a:pt x="18" y="47"/>
                    <a:pt x="18" y="47"/>
                    <a:pt x="19" y="47"/>
                  </a:cubicBezTo>
                  <a:cubicBezTo>
                    <a:pt x="20" y="47"/>
                    <a:pt x="21" y="48"/>
                    <a:pt x="21" y="48"/>
                  </a:cubicBezTo>
                  <a:cubicBezTo>
                    <a:pt x="21" y="48"/>
                    <a:pt x="21" y="48"/>
                    <a:pt x="21" y="48"/>
                  </a:cubicBezTo>
                  <a:cubicBezTo>
                    <a:pt x="20" y="48"/>
                    <a:pt x="19" y="48"/>
                    <a:pt x="18" y="48"/>
                  </a:cubicBezTo>
                  <a:cubicBezTo>
                    <a:pt x="17" y="48"/>
                    <a:pt x="13" y="48"/>
                    <a:pt x="12" y="52"/>
                  </a:cubicBezTo>
                  <a:cubicBezTo>
                    <a:pt x="11" y="53"/>
                    <a:pt x="11" y="55"/>
                    <a:pt x="12" y="57"/>
                  </a:cubicBezTo>
                  <a:cubicBezTo>
                    <a:pt x="13" y="59"/>
                    <a:pt x="15" y="61"/>
                    <a:pt x="17" y="61"/>
                  </a:cubicBezTo>
                  <a:cubicBezTo>
                    <a:pt x="18" y="61"/>
                    <a:pt x="19" y="62"/>
                    <a:pt x="21" y="62"/>
                  </a:cubicBezTo>
                  <a:cubicBezTo>
                    <a:pt x="22" y="62"/>
                    <a:pt x="23" y="61"/>
                    <a:pt x="24" y="61"/>
                  </a:cubicBezTo>
                  <a:cubicBezTo>
                    <a:pt x="26" y="61"/>
                    <a:pt x="27" y="61"/>
                    <a:pt x="28" y="61"/>
                  </a:cubicBezTo>
                  <a:cubicBezTo>
                    <a:pt x="28" y="61"/>
                    <a:pt x="28" y="61"/>
                    <a:pt x="28" y="61"/>
                  </a:cubicBezTo>
                  <a:cubicBezTo>
                    <a:pt x="29" y="61"/>
                    <a:pt x="30" y="61"/>
                    <a:pt x="31" y="62"/>
                  </a:cubicBezTo>
                  <a:cubicBezTo>
                    <a:pt x="33" y="62"/>
                    <a:pt x="35" y="63"/>
                    <a:pt x="37" y="63"/>
                  </a:cubicBezTo>
                  <a:cubicBezTo>
                    <a:pt x="37" y="63"/>
                    <a:pt x="37" y="63"/>
                    <a:pt x="37" y="63"/>
                  </a:cubicBezTo>
                  <a:cubicBezTo>
                    <a:pt x="38" y="63"/>
                    <a:pt x="38" y="63"/>
                    <a:pt x="39" y="63"/>
                  </a:cubicBezTo>
                  <a:cubicBezTo>
                    <a:pt x="40" y="63"/>
                    <a:pt x="40" y="63"/>
                    <a:pt x="41" y="63"/>
                  </a:cubicBezTo>
                  <a:cubicBezTo>
                    <a:pt x="42" y="63"/>
                    <a:pt x="42" y="63"/>
                    <a:pt x="43" y="63"/>
                  </a:cubicBezTo>
                  <a:cubicBezTo>
                    <a:pt x="41" y="63"/>
                    <a:pt x="38" y="64"/>
                    <a:pt x="35" y="64"/>
                  </a:cubicBezTo>
                  <a:cubicBezTo>
                    <a:pt x="34" y="64"/>
                    <a:pt x="34" y="64"/>
                    <a:pt x="34" y="64"/>
                  </a:cubicBezTo>
                  <a:cubicBezTo>
                    <a:pt x="32" y="64"/>
                    <a:pt x="29" y="64"/>
                    <a:pt x="26" y="63"/>
                  </a:cubicBezTo>
                  <a:cubicBezTo>
                    <a:pt x="23" y="63"/>
                    <a:pt x="20" y="63"/>
                    <a:pt x="17" y="63"/>
                  </a:cubicBezTo>
                  <a:cubicBezTo>
                    <a:pt x="15" y="63"/>
                    <a:pt x="13" y="63"/>
                    <a:pt x="11" y="63"/>
                  </a:cubicBezTo>
                  <a:cubicBezTo>
                    <a:pt x="7" y="64"/>
                    <a:pt x="4" y="68"/>
                    <a:pt x="3" y="72"/>
                  </a:cubicBezTo>
                  <a:cubicBezTo>
                    <a:pt x="1" y="77"/>
                    <a:pt x="4" y="81"/>
                    <a:pt x="6" y="84"/>
                  </a:cubicBezTo>
                  <a:cubicBezTo>
                    <a:pt x="10" y="89"/>
                    <a:pt x="12" y="91"/>
                    <a:pt x="18" y="93"/>
                  </a:cubicBezTo>
                  <a:cubicBezTo>
                    <a:pt x="22" y="94"/>
                    <a:pt x="25" y="96"/>
                    <a:pt x="30" y="99"/>
                  </a:cubicBezTo>
                  <a:cubicBezTo>
                    <a:pt x="32" y="101"/>
                    <a:pt x="35" y="101"/>
                    <a:pt x="38" y="102"/>
                  </a:cubicBezTo>
                  <a:cubicBezTo>
                    <a:pt x="40" y="102"/>
                    <a:pt x="41" y="103"/>
                    <a:pt x="43" y="103"/>
                  </a:cubicBezTo>
                  <a:cubicBezTo>
                    <a:pt x="45" y="104"/>
                    <a:pt x="48" y="104"/>
                    <a:pt x="50" y="105"/>
                  </a:cubicBezTo>
                  <a:cubicBezTo>
                    <a:pt x="52" y="105"/>
                    <a:pt x="54" y="105"/>
                    <a:pt x="56" y="106"/>
                  </a:cubicBezTo>
                  <a:cubicBezTo>
                    <a:pt x="57" y="106"/>
                    <a:pt x="59" y="108"/>
                    <a:pt x="60" y="110"/>
                  </a:cubicBezTo>
                  <a:cubicBezTo>
                    <a:pt x="61" y="111"/>
                    <a:pt x="62" y="112"/>
                    <a:pt x="63" y="112"/>
                  </a:cubicBezTo>
                  <a:cubicBezTo>
                    <a:pt x="64" y="113"/>
                    <a:pt x="65" y="114"/>
                    <a:pt x="66" y="115"/>
                  </a:cubicBezTo>
                  <a:cubicBezTo>
                    <a:pt x="69" y="117"/>
                    <a:pt x="71" y="119"/>
                    <a:pt x="71" y="120"/>
                  </a:cubicBezTo>
                  <a:cubicBezTo>
                    <a:pt x="70" y="122"/>
                    <a:pt x="70" y="123"/>
                    <a:pt x="67" y="123"/>
                  </a:cubicBezTo>
                  <a:cubicBezTo>
                    <a:pt x="66" y="123"/>
                    <a:pt x="66" y="123"/>
                    <a:pt x="65" y="123"/>
                  </a:cubicBezTo>
                  <a:cubicBezTo>
                    <a:pt x="61" y="122"/>
                    <a:pt x="57" y="119"/>
                    <a:pt x="54" y="116"/>
                  </a:cubicBezTo>
                  <a:cubicBezTo>
                    <a:pt x="51" y="115"/>
                    <a:pt x="49" y="113"/>
                    <a:pt x="46" y="111"/>
                  </a:cubicBezTo>
                  <a:cubicBezTo>
                    <a:pt x="38" y="107"/>
                    <a:pt x="28" y="106"/>
                    <a:pt x="19" y="105"/>
                  </a:cubicBezTo>
                  <a:cubicBezTo>
                    <a:pt x="16" y="104"/>
                    <a:pt x="16" y="104"/>
                    <a:pt x="16" y="104"/>
                  </a:cubicBezTo>
                  <a:cubicBezTo>
                    <a:pt x="15" y="104"/>
                    <a:pt x="15" y="104"/>
                    <a:pt x="14" y="104"/>
                  </a:cubicBezTo>
                  <a:cubicBezTo>
                    <a:pt x="12" y="104"/>
                    <a:pt x="11" y="104"/>
                    <a:pt x="9" y="105"/>
                  </a:cubicBezTo>
                  <a:cubicBezTo>
                    <a:pt x="0" y="107"/>
                    <a:pt x="0" y="107"/>
                    <a:pt x="0" y="107"/>
                  </a:cubicBezTo>
                  <a:cubicBezTo>
                    <a:pt x="91" y="144"/>
                    <a:pt x="91" y="144"/>
                    <a:pt x="91" y="144"/>
                  </a:cubicBezTo>
                  <a:cubicBezTo>
                    <a:pt x="125" y="42"/>
                    <a:pt x="125" y="42"/>
                    <a:pt x="125" y="42"/>
                  </a:cubicBezTo>
                  <a:lnTo>
                    <a:pt x="117" y="48"/>
                  </a:ln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6" name="Freeform 10">
              <a:extLst>
                <a:ext uri="{FF2B5EF4-FFF2-40B4-BE49-F238E27FC236}">
                  <a16:creationId xmlns:a16="http://schemas.microsoft.com/office/drawing/2014/main" id="{3D988F3F-F462-98E4-FC67-1EB5714F9401}"/>
                </a:ext>
              </a:extLst>
            </p:cNvPr>
            <p:cNvSpPr>
              <a:spLocks/>
            </p:cNvSpPr>
            <p:nvPr/>
          </p:nvSpPr>
          <p:spPr bwMode="auto">
            <a:xfrm rot="21097436">
              <a:off x="9249612" y="888847"/>
              <a:ext cx="136449" cy="201861"/>
            </a:xfrm>
            <a:custGeom>
              <a:avLst/>
              <a:gdLst>
                <a:gd name="T0" fmla="*/ 404769 w 59"/>
                <a:gd name="T1" fmla="*/ 263775 h 80"/>
                <a:gd name="T2" fmla="*/ 326655 w 59"/>
                <a:gd name="T3" fmla="*/ 218740 h 80"/>
                <a:gd name="T4" fmla="*/ 284048 w 59"/>
                <a:gd name="T5" fmla="*/ 244474 h 80"/>
                <a:gd name="T6" fmla="*/ 284048 w 59"/>
                <a:gd name="T7" fmla="*/ 250908 h 80"/>
                <a:gd name="T8" fmla="*/ 284048 w 59"/>
                <a:gd name="T9" fmla="*/ 244474 h 80"/>
                <a:gd name="T10" fmla="*/ 276947 w 59"/>
                <a:gd name="T11" fmla="*/ 238041 h 80"/>
                <a:gd name="T12" fmla="*/ 276947 w 59"/>
                <a:gd name="T13" fmla="*/ 218740 h 80"/>
                <a:gd name="T14" fmla="*/ 269846 w 59"/>
                <a:gd name="T15" fmla="*/ 205873 h 80"/>
                <a:gd name="T16" fmla="*/ 255643 w 59"/>
                <a:gd name="T17" fmla="*/ 205873 h 80"/>
                <a:gd name="T18" fmla="*/ 248542 w 59"/>
                <a:gd name="T19" fmla="*/ 205873 h 80"/>
                <a:gd name="T20" fmla="*/ 255643 w 59"/>
                <a:gd name="T21" fmla="*/ 199440 h 80"/>
                <a:gd name="T22" fmla="*/ 269846 w 59"/>
                <a:gd name="T23" fmla="*/ 167272 h 80"/>
                <a:gd name="T24" fmla="*/ 255643 w 59"/>
                <a:gd name="T25" fmla="*/ 128671 h 80"/>
                <a:gd name="T26" fmla="*/ 255643 w 59"/>
                <a:gd name="T27" fmla="*/ 122237 h 80"/>
                <a:gd name="T28" fmla="*/ 248542 w 59"/>
                <a:gd name="T29" fmla="*/ 83636 h 80"/>
                <a:gd name="T30" fmla="*/ 262745 w 59"/>
                <a:gd name="T31" fmla="*/ 77202 h 80"/>
                <a:gd name="T32" fmla="*/ 284048 w 59"/>
                <a:gd name="T33" fmla="*/ 51468 h 80"/>
                <a:gd name="T34" fmla="*/ 276947 w 59"/>
                <a:gd name="T35" fmla="*/ 12867 h 80"/>
                <a:gd name="T36" fmla="*/ 241441 w 59"/>
                <a:gd name="T37" fmla="*/ 0 h 80"/>
                <a:gd name="T38" fmla="*/ 191732 w 59"/>
                <a:gd name="T39" fmla="*/ 12867 h 80"/>
                <a:gd name="T40" fmla="*/ 156226 w 59"/>
                <a:gd name="T41" fmla="*/ 38601 h 80"/>
                <a:gd name="T42" fmla="*/ 127822 w 59"/>
                <a:gd name="T43" fmla="*/ 64335 h 80"/>
                <a:gd name="T44" fmla="*/ 92316 w 59"/>
                <a:gd name="T45" fmla="*/ 109370 h 80"/>
                <a:gd name="T46" fmla="*/ 120720 w 59"/>
                <a:gd name="T47" fmla="*/ 167272 h 80"/>
                <a:gd name="T48" fmla="*/ 127822 w 59"/>
                <a:gd name="T49" fmla="*/ 173706 h 80"/>
                <a:gd name="T50" fmla="*/ 120720 w 59"/>
                <a:gd name="T51" fmla="*/ 180139 h 80"/>
                <a:gd name="T52" fmla="*/ 106518 w 59"/>
                <a:gd name="T53" fmla="*/ 212307 h 80"/>
                <a:gd name="T54" fmla="*/ 127822 w 59"/>
                <a:gd name="T55" fmla="*/ 270209 h 80"/>
                <a:gd name="T56" fmla="*/ 142024 w 59"/>
                <a:gd name="T57" fmla="*/ 295943 h 80"/>
                <a:gd name="T58" fmla="*/ 113619 w 59"/>
                <a:gd name="T59" fmla="*/ 308810 h 80"/>
                <a:gd name="T60" fmla="*/ 85214 w 59"/>
                <a:gd name="T61" fmla="*/ 302376 h 80"/>
                <a:gd name="T62" fmla="*/ 63911 w 59"/>
                <a:gd name="T63" fmla="*/ 295943 h 80"/>
                <a:gd name="T64" fmla="*/ 0 w 59"/>
                <a:gd name="T65" fmla="*/ 488949 h 80"/>
                <a:gd name="T66" fmla="*/ 35506 w 59"/>
                <a:gd name="T67" fmla="*/ 482515 h 80"/>
                <a:gd name="T68" fmla="*/ 71012 w 59"/>
                <a:gd name="T69" fmla="*/ 476082 h 80"/>
                <a:gd name="T70" fmla="*/ 99417 w 59"/>
                <a:gd name="T71" fmla="*/ 476082 h 80"/>
                <a:gd name="T72" fmla="*/ 106518 w 59"/>
                <a:gd name="T73" fmla="*/ 476082 h 80"/>
                <a:gd name="T74" fmla="*/ 120720 w 59"/>
                <a:gd name="T75" fmla="*/ 482515 h 80"/>
                <a:gd name="T76" fmla="*/ 142024 w 59"/>
                <a:gd name="T77" fmla="*/ 495382 h 80"/>
                <a:gd name="T78" fmla="*/ 184631 w 59"/>
                <a:gd name="T79" fmla="*/ 501816 h 80"/>
                <a:gd name="T80" fmla="*/ 198834 w 59"/>
                <a:gd name="T81" fmla="*/ 501816 h 80"/>
                <a:gd name="T82" fmla="*/ 255643 w 59"/>
                <a:gd name="T83" fmla="*/ 514683 h 80"/>
                <a:gd name="T84" fmla="*/ 255643 w 59"/>
                <a:gd name="T85" fmla="*/ 514683 h 80"/>
                <a:gd name="T86" fmla="*/ 340858 w 59"/>
                <a:gd name="T87" fmla="*/ 476082 h 80"/>
                <a:gd name="T88" fmla="*/ 397667 w 59"/>
                <a:gd name="T89" fmla="*/ 366712 h 80"/>
                <a:gd name="T90" fmla="*/ 404769 w 59"/>
                <a:gd name="T91" fmla="*/ 263775 h 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9" h="80">
                  <a:moveTo>
                    <a:pt x="57" y="41"/>
                  </a:moveTo>
                  <a:cubicBezTo>
                    <a:pt x="55" y="37"/>
                    <a:pt x="50" y="34"/>
                    <a:pt x="46" y="34"/>
                  </a:cubicBezTo>
                  <a:cubicBezTo>
                    <a:pt x="43" y="34"/>
                    <a:pt x="41" y="36"/>
                    <a:pt x="40" y="38"/>
                  </a:cubicBezTo>
                  <a:cubicBezTo>
                    <a:pt x="40" y="38"/>
                    <a:pt x="40" y="39"/>
                    <a:pt x="40" y="39"/>
                  </a:cubicBezTo>
                  <a:cubicBezTo>
                    <a:pt x="40" y="38"/>
                    <a:pt x="40" y="38"/>
                    <a:pt x="40" y="38"/>
                  </a:cubicBezTo>
                  <a:cubicBezTo>
                    <a:pt x="39" y="37"/>
                    <a:pt x="39" y="37"/>
                    <a:pt x="39" y="37"/>
                  </a:cubicBezTo>
                  <a:cubicBezTo>
                    <a:pt x="39" y="36"/>
                    <a:pt x="39" y="35"/>
                    <a:pt x="39" y="34"/>
                  </a:cubicBezTo>
                  <a:cubicBezTo>
                    <a:pt x="38" y="32"/>
                    <a:pt x="38" y="32"/>
                    <a:pt x="38" y="32"/>
                  </a:cubicBezTo>
                  <a:cubicBezTo>
                    <a:pt x="36" y="32"/>
                    <a:pt x="36" y="32"/>
                    <a:pt x="36" y="32"/>
                  </a:cubicBezTo>
                  <a:cubicBezTo>
                    <a:pt x="36" y="32"/>
                    <a:pt x="35" y="32"/>
                    <a:pt x="35" y="32"/>
                  </a:cubicBezTo>
                  <a:cubicBezTo>
                    <a:pt x="35" y="31"/>
                    <a:pt x="35" y="31"/>
                    <a:pt x="36" y="31"/>
                  </a:cubicBezTo>
                  <a:cubicBezTo>
                    <a:pt x="36" y="30"/>
                    <a:pt x="37" y="28"/>
                    <a:pt x="38" y="26"/>
                  </a:cubicBezTo>
                  <a:cubicBezTo>
                    <a:pt x="38" y="24"/>
                    <a:pt x="37" y="22"/>
                    <a:pt x="36" y="20"/>
                  </a:cubicBezTo>
                  <a:cubicBezTo>
                    <a:pt x="36" y="20"/>
                    <a:pt x="36" y="19"/>
                    <a:pt x="36" y="19"/>
                  </a:cubicBezTo>
                  <a:cubicBezTo>
                    <a:pt x="35" y="15"/>
                    <a:pt x="35" y="14"/>
                    <a:pt x="35" y="13"/>
                  </a:cubicBezTo>
                  <a:cubicBezTo>
                    <a:pt x="36" y="13"/>
                    <a:pt x="36" y="12"/>
                    <a:pt x="37" y="12"/>
                  </a:cubicBezTo>
                  <a:cubicBezTo>
                    <a:pt x="38" y="11"/>
                    <a:pt x="39" y="10"/>
                    <a:pt x="40" y="8"/>
                  </a:cubicBezTo>
                  <a:cubicBezTo>
                    <a:pt x="40" y="5"/>
                    <a:pt x="40" y="3"/>
                    <a:pt x="39" y="2"/>
                  </a:cubicBezTo>
                  <a:cubicBezTo>
                    <a:pt x="38" y="0"/>
                    <a:pt x="36" y="0"/>
                    <a:pt x="34" y="0"/>
                  </a:cubicBezTo>
                  <a:cubicBezTo>
                    <a:pt x="32" y="0"/>
                    <a:pt x="29" y="0"/>
                    <a:pt x="27" y="2"/>
                  </a:cubicBezTo>
                  <a:cubicBezTo>
                    <a:pt x="25" y="3"/>
                    <a:pt x="24" y="5"/>
                    <a:pt x="22" y="6"/>
                  </a:cubicBezTo>
                  <a:cubicBezTo>
                    <a:pt x="21" y="7"/>
                    <a:pt x="20" y="9"/>
                    <a:pt x="18" y="10"/>
                  </a:cubicBezTo>
                  <a:cubicBezTo>
                    <a:pt x="15" y="12"/>
                    <a:pt x="14" y="14"/>
                    <a:pt x="13" y="17"/>
                  </a:cubicBezTo>
                  <a:cubicBezTo>
                    <a:pt x="13" y="20"/>
                    <a:pt x="14" y="23"/>
                    <a:pt x="17" y="26"/>
                  </a:cubicBezTo>
                  <a:cubicBezTo>
                    <a:pt x="18" y="27"/>
                    <a:pt x="18" y="27"/>
                    <a:pt x="18" y="27"/>
                  </a:cubicBezTo>
                  <a:cubicBezTo>
                    <a:pt x="18" y="27"/>
                    <a:pt x="18" y="28"/>
                    <a:pt x="17" y="28"/>
                  </a:cubicBezTo>
                  <a:cubicBezTo>
                    <a:pt x="17" y="29"/>
                    <a:pt x="15" y="30"/>
                    <a:pt x="15" y="33"/>
                  </a:cubicBezTo>
                  <a:cubicBezTo>
                    <a:pt x="14" y="37"/>
                    <a:pt x="16" y="40"/>
                    <a:pt x="18" y="42"/>
                  </a:cubicBezTo>
                  <a:cubicBezTo>
                    <a:pt x="19" y="44"/>
                    <a:pt x="20" y="45"/>
                    <a:pt x="20" y="46"/>
                  </a:cubicBezTo>
                  <a:cubicBezTo>
                    <a:pt x="20" y="48"/>
                    <a:pt x="17" y="48"/>
                    <a:pt x="16" y="48"/>
                  </a:cubicBezTo>
                  <a:cubicBezTo>
                    <a:pt x="15" y="48"/>
                    <a:pt x="13" y="48"/>
                    <a:pt x="12" y="47"/>
                  </a:cubicBezTo>
                  <a:cubicBezTo>
                    <a:pt x="9" y="46"/>
                    <a:pt x="9" y="46"/>
                    <a:pt x="9" y="46"/>
                  </a:cubicBezTo>
                  <a:cubicBezTo>
                    <a:pt x="0" y="76"/>
                    <a:pt x="0" y="76"/>
                    <a:pt x="0" y="76"/>
                  </a:cubicBezTo>
                  <a:cubicBezTo>
                    <a:pt x="5" y="75"/>
                    <a:pt x="5" y="75"/>
                    <a:pt x="5" y="75"/>
                  </a:cubicBezTo>
                  <a:cubicBezTo>
                    <a:pt x="6" y="75"/>
                    <a:pt x="8" y="75"/>
                    <a:pt x="10" y="74"/>
                  </a:cubicBezTo>
                  <a:cubicBezTo>
                    <a:pt x="11" y="74"/>
                    <a:pt x="13" y="74"/>
                    <a:pt x="14" y="74"/>
                  </a:cubicBezTo>
                  <a:cubicBezTo>
                    <a:pt x="15" y="74"/>
                    <a:pt x="15" y="74"/>
                    <a:pt x="15" y="74"/>
                  </a:cubicBezTo>
                  <a:cubicBezTo>
                    <a:pt x="16" y="74"/>
                    <a:pt x="16" y="74"/>
                    <a:pt x="17" y="75"/>
                  </a:cubicBezTo>
                  <a:cubicBezTo>
                    <a:pt x="18" y="76"/>
                    <a:pt x="19" y="76"/>
                    <a:pt x="20" y="77"/>
                  </a:cubicBezTo>
                  <a:cubicBezTo>
                    <a:pt x="22" y="78"/>
                    <a:pt x="24" y="78"/>
                    <a:pt x="26" y="78"/>
                  </a:cubicBezTo>
                  <a:cubicBezTo>
                    <a:pt x="27" y="78"/>
                    <a:pt x="28" y="78"/>
                    <a:pt x="28" y="78"/>
                  </a:cubicBezTo>
                  <a:cubicBezTo>
                    <a:pt x="31" y="79"/>
                    <a:pt x="34" y="80"/>
                    <a:pt x="36" y="80"/>
                  </a:cubicBezTo>
                  <a:cubicBezTo>
                    <a:pt x="36" y="80"/>
                    <a:pt x="36" y="80"/>
                    <a:pt x="36" y="80"/>
                  </a:cubicBezTo>
                  <a:cubicBezTo>
                    <a:pt x="40" y="80"/>
                    <a:pt x="44" y="78"/>
                    <a:pt x="48" y="74"/>
                  </a:cubicBezTo>
                  <a:cubicBezTo>
                    <a:pt x="52" y="69"/>
                    <a:pt x="55" y="63"/>
                    <a:pt x="56" y="57"/>
                  </a:cubicBezTo>
                  <a:cubicBezTo>
                    <a:pt x="57" y="52"/>
                    <a:pt x="59" y="47"/>
                    <a:pt x="57" y="41"/>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7" name="Freeform 13">
              <a:extLst>
                <a:ext uri="{FF2B5EF4-FFF2-40B4-BE49-F238E27FC236}">
                  <a16:creationId xmlns:a16="http://schemas.microsoft.com/office/drawing/2014/main" id="{4E0C984F-38AB-1158-E759-9BF5BE9E65CB}"/>
                </a:ext>
              </a:extLst>
            </p:cNvPr>
            <p:cNvSpPr>
              <a:spLocks/>
            </p:cNvSpPr>
            <p:nvPr/>
          </p:nvSpPr>
          <p:spPr bwMode="auto">
            <a:xfrm rot="21097436">
              <a:off x="9972520" y="1122084"/>
              <a:ext cx="150355" cy="108548"/>
            </a:xfrm>
            <a:custGeom>
              <a:avLst/>
              <a:gdLst>
                <a:gd name="T0" fmla="*/ 177565 w 65"/>
                <a:gd name="T1" fmla="*/ 276764 h 43"/>
                <a:gd name="T2" fmla="*/ 156257 w 65"/>
                <a:gd name="T3" fmla="*/ 276764 h 43"/>
                <a:gd name="T4" fmla="*/ 106539 w 65"/>
                <a:gd name="T5" fmla="*/ 231709 h 43"/>
                <a:gd name="T6" fmla="*/ 99436 w 65"/>
                <a:gd name="T7" fmla="*/ 193091 h 43"/>
                <a:gd name="T8" fmla="*/ 92334 w 65"/>
                <a:gd name="T9" fmla="*/ 173782 h 43"/>
                <a:gd name="T10" fmla="*/ 71026 w 65"/>
                <a:gd name="T11" fmla="*/ 167346 h 43"/>
                <a:gd name="T12" fmla="*/ 14205 w 65"/>
                <a:gd name="T13" fmla="*/ 109418 h 43"/>
                <a:gd name="T14" fmla="*/ 21308 w 65"/>
                <a:gd name="T15" fmla="*/ 12873 h 43"/>
                <a:gd name="T16" fmla="*/ 56821 w 65"/>
                <a:gd name="T17" fmla="*/ 0 h 43"/>
                <a:gd name="T18" fmla="*/ 113642 w 65"/>
                <a:gd name="T19" fmla="*/ 12873 h 43"/>
                <a:gd name="T20" fmla="*/ 142052 w 65"/>
                <a:gd name="T21" fmla="*/ 19309 h 43"/>
                <a:gd name="T22" fmla="*/ 149155 w 65"/>
                <a:gd name="T23" fmla="*/ 19309 h 43"/>
                <a:gd name="T24" fmla="*/ 191770 w 65"/>
                <a:gd name="T25" fmla="*/ 12873 h 43"/>
                <a:gd name="T26" fmla="*/ 255694 w 65"/>
                <a:gd name="T27" fmla="*/ 0 h 43"/>
                <a:gd name="T28" fmla="*/ 362233 w 65"/>
                <a:gd name="T29" fmla="*/ 64364 h 43"/>
                <a:gd name="T30" fmla="*/ 362233 w 65"/>
                <a:gd name="T31" fmla="*/ 70800 h 43"/>
                <a:gd name="T32" fmla="*/ 397746 w 65"/>
                <a:gd name="T33" fmla="*/ 96546 h 43"/>
                <a:gd name="T34" fmla="*/ 447464 w 65"/>
                <a:gd name="T35" fmla="*/ 154473 h 43"/>
                <a:gd name="T36" fmla="*/ 454566 w 65"/>
                <a:gd name="T37" fmla="*/ 199528 h 43"/>
                <a:gd name="T38" fmla="*/ 383540 w 65"/>
                <a:gd name="T39" fmla="*/ 225273 h 43"/>
                <a:gd name="T40" fmla="*/ 348027 w 65"/>
                <a:gd name="T41" fmla="*/ 225273 h 43"/>
                <a:gd name="T42" fmla="*/ 319617 w 65"/>
                <a:gd name="T43" fmla="*/ 225273 h 43"/>
                <a:gd name="T44" fmla="*/ 277001 w 65"/>
                <a:gd name="T45" fmla="*/ 231709 h 43"/>
                <a:gd name="T46" fmla="*/ 255694 w 65"/>
                <a:gd name="T47" fmla="*/ 244582 h 43"/>
                <a:gd name="T48" fmla="*/ 177565 w 65"/>
                <a:gd name="T49" fmla="*/ 276764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5" h="43">
                  <a:moveTo>
                    <a:pt x="25" y="43"/>
                  </a:moveTo>
                  <a:cubicBezTo>
                    <a:pt x="24" y="43"/>
                    <a:pt x="23" y="43"/>
                    <a:pt x="22" y="43"/>
                  </a:cubicBezTo>
                  <a:cubicBezTo>
                    <a:pt x="18" y="42"/>
                    <a:pt x="16" y="39"/>
                    <a:pt x="15" y="36"/>
                  </a:cubicBezTo>
                  <a:cubicBezTo>
                    <a:pt x="14" y="34"/>
                    <a:pt x="14" y="32"/>
                    <a:pt x="14" y="30"/>
                  </a:cubicBezTo>
                  <a:cubicBezTo>
                    <a:pt x="14" y="29"/>
                    <a:pt x="14" y="28"/>
                    <a:pt x="13" y="27"/>
                  </a:cubicBezTo>
                  <a:cubicBezTo>
                    <a:pt x="13" y="26"/>
                    <a:pt x="12" y="26"/>
                    <a:pt x="10" y="26"/>
                  </a:cubicBezTo>
                  <a:cubicBezTo>
                    <a:pt x="4" y="25"/>
                    <a:pt x="3" y="20"/>
                    <a:pt x="2" y="17"/>
                  </a:cubicBezTo>
                  <a:cubicBezTo>
                    <a:pt x="1" y="12"/>
                    <a:pt x="0" y="6"/>
                    <a:pt x="3" y="2"/>
                  </a:cubicBezTo>
                  <a:cubicBezTo>
                    <a:pt x="4" y="1"/>
                    <a:pt x="6" y="0"/>
                    <a:pt x="8" y="0"/>
                  </a:cubicBezTo>
                  <a:cubicBezTo>
                    <a:pt x="11" y="0"/>
                    <a:pt x="14" y="1"/>
                    <a:pt x="16" y="2"/>
                  </a:cubicBezTo>
                  <a:cubicBezTo>
                    <a:pt x="18" y="2"/>
                    <a:pt x="19" y="3"/>
                    <a:pt x="20" y="3"/>
                  </a:cubicBezTo>
                  <a:cubicBezTo>
                    <a:pt x="20" y="3"/>
                    <a:pt x="21" y="3"/>
                    <a:pt x="21" y="3"/>
                  </a:cubicBezTo>
                  <a:cubicBezTo>
                    <a:pt x="23" y="3"/>
                    <a:pt x="25" y="2"/>
                    <a:pt x="27" y="2"/>
                  </a:cubicBezTo>
                  <a:cubicBezTo>
                    <a:pt x="30" y="1"/>
                    <a:pt x="33" y="0"/>
                    <a:pt x="36" y="0"/>
                  </a:cubicBezTo>
                  <a:cubicBezTo>
                    <a:pt x="43" y="1"/>
                    <a:pt x="47" y="5"/>
                    <a:pt x="51" y="10"/>
                  </a:cubicBezTo>
                  <a:cubicBezTo>
                    <a:pt x="51" y="11"/>
                    <a:pt x="51" y="11"/>
                    <a:pt x="51" y="11"/>
                  </a:cubicBezTo>
                  <a:cubicBezTo>
                    <a:pt x="52" y="12"/>
                    <a:pt x="54" y="14"/>
                    <a:pt x="56" y="15"/>
                  </a:cubicBezTo>
                  <a:cubicBezTo>
                    <a:pt x="58" y="18"/>
                    <a:pt x="61" y="21"/>
                    <a:pt x="63" y="24"/>
                  </a:cubicBezTo>
                  <a:cubicBezTo>
                    <a:pt x="65" y="27"/>
                    <a:pt x="65" y="30"/>
                    <a:pt x="64" y="31"/>
                  </a:cubicBezTo>
                  <a:cubicBezTo>
                    <a:pt x="62" y="34"/>
                    <a:pt x="59" y="35"/>
                    <a:pt x="54" y="35"/>
                  </a:cubicBezTo>
                  <a:cubicBezTo>
                    <a:pt x="52" y="35"/>
                    <a:pt x="51" y="35"/>
                    <a:pt x="49" y="35"/>
                  </a:cubicBezTo>
                  <a:cubicBezTo>
                    <a:pt x="48" y="35"/>
                    <a:pt x="46" y="35"/>
                    <a:pt x="45" y="35"/>
                  </a:cubicBezTo>
                  <a:cubicBezTo>
                    <a:pt x="42" y="35"/>
                    <a:pt x="40" y="35"/>
                    <a:pt x="39" y="36"/>
                  </a:cubicBezTo>
                  <a:cubicBezTo>
                    <a:pt x="38" y="37"/>
                    <a:pt x="37" y="37"/>
                    <a:pt x="36" y="38"/>
                  </a:cubicBezTo>
                  <a:cubicBezTo>
                    <a:pt x="33" y="41"/>
                    <a:pt x="29" y="43"/>
                    <a:pt x="25" y="43"/>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8" name="Freeform 13">
              <a:extLst>
                <a:ext uri="{FF2B5EF4-FFF2-40B4-BE49-F238E27FC236}">
                  <a16:creationId xmlns:a16="http://schemas.microsoft.com/office/drawing/2014/main" id="{67361A54-F2B8-5A8D-50AB-CDD48D8DD2D7}"/>
                </a:ext>
              </a:extLst>
            </p:cNvPr>
            <p:cNvSpPr>
              <a:spLocks/>
            </p:cNvSpPr>
            <p:nvPr/>
          </p:nvSpPr>
          <p:spPr bwMode="auto">
            <a:xfrm rot="21097436">
              <a:off x="9573095" y="846324"/>
              <a:ext cx="412824" cy="280892"/>
            </a:xfrm>
            <a:custGeom>
              <a:avLst/>
              <a:gdLst>
                <a:gd name="T0" fmla="*/ 1225098 w 179"/>
                <a:gd name="T1" fmla="*/ 477458 h 111"/>
                <a:gd name="T2" fmla="*/ 1210935 w 179"/>
                <a:gd name="T3" fmla="*/ 432293 h 111"/>
                <a:gd name="T4" fmla="*/ 1154283 w 179"/>
                <a:gd name="T5" fmla="*/ 348415 h 111"/>
                <a:gd name="T6" fmla="*/ 1062224 w 179"/>
                <a:gd name="T7" fmla="*/ 322607 h 111"/>
                <a:gd name="T8" fmla="*/ 948920 w 179"/>
                <a:gd name="T9" fmla="*/ 322607 h 111"/>
                <a:gd name="T10" fmla="*/ 920594 w 179"/>
                <a:gd name="T11" fmla="*/ 329059 h 111"/>
                <a:gd name="T12" fmla="*/ 878105 w 179"/>
                <a:gd name="T13" fmla="*/ 322607 h 111"/>
                <a:gd name="T14" fmla="*/ 736475 w 179"/>
                <a:gd name="T15" fmla="*/ 412937 h 111"/>
                <a:gd name="T16" fmla="*/ 701068 w 179"/>
                <a:gd name="T17" fmla="*/ 432293 h 111"/>
                <a:gd name="T18" fmla="*/ 665660 w 179"/>
                <a:gd name="T19" fmla="*/ 406485 h 111"/>
                <a:gd name="T20" fmla="*/ 616090 w 179"/>
                <a:gd name="T21" fmla="*/ 419389 h 111"/>
                <a:gd name="T22" fmla="*/ 587764 w 179"/>
                <a:gd name="T23" fmla="*/ 412937 h 111"/>
                <a:gd name="T24" fmla="*/ 545275 w 179"/>
                <a:gd name="T25" fmla="*/ 400032 h 111"/>
                <a:gd name="T26" fmla="*/ 531112 w 179"/>
                <a:gd name="T27" fmla="*/ 361320 h 111"/>
                <a:gd name="T28" fmla="*/ 460297 w 179"/>
                <a:gd name="T29" fmla="*/ 200016 h 111"/>
                <a:gd name="T30" fmla="*/ 439052 w 179"/>
                <a:gd name="T31" fmla="*/ 200016 h 111"/>
                <a:gd name="T32" fmla="*/ 424889 w 179"/>
                <a:gd name="T33" fmla="*/ 174208 h 111"/>
                <a:gd name="T34" fmla="*/ 361156 w 179"/>
                <a:gd name="T35" fmla="*/ 109686 h 111"/>
                <a:gd name="T36" fmla="*/ 311586 w 179"/>
                <a:gd name="T37" fmla="*/ 129043 h 111"/>
                <a:gd name="T38" fmla="*/ 290341 w 179"/>
                <a:gd name="T39" fmla="*/ 141947 h 111"/>
                <a:gd name="T40" fmla="*/ 269097 w 179"/>
                <a:gd name="T41" fmla="*/ 135495 h 111"/>
                <a:gd name="T42" fmla="*/ 269097 w 179"/>
                <a:gd name="T43" fmla="*/ 109686 h 111"/>
                <a:gd name="T44" fmla="*/ 191200 w 179"/>
                <a:gd name="T45" fmla="*/ 58069 h 111"/>
                <a:gd name="T46" fmla="*/ 155793 w 179"/>
                <a:gd name="T47" fmla="*/ 32261 h 111"/>
                <a:gd name="T48" fmla="*/ 92059 w 179"/>
                <a:gd name="T49" fmla="*/ 0 h 111"/>
                <a:gd name="T50" fmla="*/ 21244 w 179"/>
                <a:gd name="T51" fmla="*/ 103234 h 111"/>
                <a:gd name="T52" fmla="*/ 49570 w 179"/>
                <a:gd name="T53" fmla="*/ 154851 h 111"/>
                <a:gd name="T54" fmla="*/ 77896 w 179"/>
                <a:gd name="T55" fmla="*/ 212920 h 111"/>
                <a:gd name="T56" fmla="*/ 155793 w 179"/>
                <a:gd name="T57" fmla="*/ 251633 h 111"/>
                <a:gd name="T58" fmla="*/ 226608 w 179"/>
                <a:gd name="T59" fmla="*/ 238729 h 111"/>
                <a:gd name="T60" fmla="*/ 254934 w 179"/>
                <a:gd name="T61" fmla="*/ 277442 h 111"/>
                <a:gd name="T62" fmla="*/ 276178 w 179"/>
                <a:gd name="T63" fmla="*/ 322607 h 111"/>
                <a:gd name="T64" fmla="*/ 290341 w 179"/>
                <a:gd name="T65" fmla="*/ 419389 h 111"/>
                <a:gd name="T66" fmla="*/ 283260 w 179"/>
                <a:gd name="T67" fmla="*/ 490362 h 111"/>
                <a:gd name="T68" fmla="*/ 290341 w 179"/>
                <a:gd name="T69" fmla="*/ 561336 h 111"/>
                <a:gd name="T70" fmla="*/ 346993 w 179"/>
                <a:gd name="T71" fmla="*/ 671022 h 111"/>
                <a:gd name="T72" fmla="*/ 375319 w 179"/>
                <a:gd name="T73" fmla="*/ 664570 h 111"/>
                <a:gd name="T74" fmla="*/ 389482 w 179"/>
                <a:gd name="T75" fmla="*/ 658118 h 111"/>
                <a:gd name="T76" fmla="*/ 403645 w 179"/>
                <a:gd name="T77" fmla="*/ 664570 h 111"/>
                <a:gd name="T78" fmla="*/ 431971 w 179"/>
                <a:gd name="T79" fmla="*/ 677474 h 111"/>
                <a:gd name="T80" fmla="*/ 474460 w 179"/>
                <a:gd name="T81" fmla="*/ 703283 h 111"/>
                <a:gd name="T82" fmla="*/ 538193 w 179"/>
                <a:gd name="T83" fmla="*/ 664570 h 111"/>
                <a:gd name="T84" fmla="*/ 594845 w 179"/>
                <a:gd name="T85" fmla="*/ 716187 h 111"/>
                <a:gd name="T86" fmla="*/ 616090 w 179"/>
                <a:gd name="T87" fmla="*/ 709735 h 111"/>
                <a:gd name="T88" fmla="*/ 729394 w 179"/>
                <a:gd name="T89" fmla="*/ 690378 h 111"/>
                <a:gd name="T90" fmla="*/ 757720 w 179"/>
                <a:gd name="T91" fmla="*/ 690378 h 111"/>
                <a:gd name="T92" fmla="*/ 807290 w 179"/>
                <a:gd name="T93" fmla="*/ 677474 h 111"/>
                <a:gd name="T94" fmla="*/ 842698 w 179"/>
                <a:gd name="T95" fmla="*/ 683926 h 111"/>
                <a:gd name="T96" fmla="*/ 913512 w 179"/>
                <a:gd name="T97" fmla="*/ 683926 h 111"/>
                <a:gd name="T98" fmla="*/ 956001 w 179"/>
                <a:gd name="T99" fmla="*/ 638761 h 111"/>
                <a:gd name="T100" fmla="*/ 984327 w 179"/>
                <a:gd name="T101" fmla="*/ 658118 h 111"/>
                <a:gd name="T102" fmla="*/ 1097631 w 179"/>
                <a:gd name="T103" fmla="*/ 671022 h 111"/>
                <a:gd name="T104" fmla="*/ 1140120 w 179"/>
                <a:gd name="T105" fmla="*/ 658118 h 111"/>
                <a:gd name="T106" fmla="*/ 1189691 w 179"/>
                <a:gd name="T107" fmla="*/ 632309 h 111"/>
                <a:gd name="T108" fmla="*/ 1203854 w 179"/>
                <a:gd name="T109" fmla="*/ 580692 h 111"/>
                <a:gd name="T110" fmla="*/ 1246343 w 179"/>
                <a:gd name="T111" fmla="*/ 554884 h 1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9" h="111">
                  <a:moveTo>
                    <a:pt x="178" y="80"/>
                  </a:moveTo>
                  <a:cubicBezTo>
                    <a:pt x="178" y="78"/>
                    <a:pt x="176" y="75"/>
                    <a:pt x="173" y="74"/>
                  </a:cubicBezTo>
                  <a:cubicBezTo>
                    <a:pt x="172" y="73"/>
                    <a:pt x="171" y="72"/>
                    <a:pt x="171" y="70"/>
                  </a:cubicBezTo>
                  <a:cubicBezTo>
                    <a:pt x="171" y="69"/>
                    <a:pt x="171" y="68"/>
                    <a:pt x="171" y="67"/>
                  </a:cubicBezTo>
                  <a:cubicBezTo>
                    <a:pt x="171" y="66"/>
                    <a:pt x="171" y="65"/>
                    <a:pt x="170" y="64"/>
                  </a:cubicBezTo>
                  <a:cubicBezTo>
                    <a:pt x="170" y="61"/>
                    <a:pt x="169" y="56"/>
                    <a:pt x="163" y="54"/>
                  </a:cubicBezTo>
                  <a:cubicBezTo>
                    <a:pt x="162" y="54"/>
                    <a:pt x="161" y="54"/>
                    <a:pt x="160" y="53"/>
                  </a:cubicBezTo>
                  <a:cubicBezTo>
                    <a:pt x="156" y="52"/>
                    <a:pt x="153" y="52"/>
                    <a:pt x="150" y="50"/>
                  </a:cubicBezTo>
                  <a:cubicBezTo>
                    <a:pt x="147" y="49"/>
                    <a:pt x="145" y="48"/>
                    <a:pt x="143" y="48"/>
                  </a:cubicBezTo>
                  <a:cubicBezTo>
                    <a:pt x="140" y="48"/>
                    <a:pt x="137" y="49"/>
                    <a:pt x="134" y="50"/>
                  </a:cubicBezTo>
                  <a:cubicBezTo>
                    <a:pt x="134" y="51"/>
                    <a:pt x="133" y="51"/>
                    <a:pt x="133" y="51"/>
                  </a:cubicBezTo>
                  <a:cubicBezTo>
                    <a:pt x="132" y="51"/>
                    <a:pt x="131" y="51"/>
                    <a:pt x="130" y="51"/>
                  </a:cubicBezTo>
                  <a:cubicBezTo>
                    <a:pt x="129" y="50"/>
                    <a:pt x="127" y="50"/>
                    <a:pt x="126" y="50"/>
                  </a:cubicBezTo>
                  <a:cubicBezTo>
                    <a:pt x="125" y="50"/>
                    <a:pt x="125" y="50"/>
                    <a:pt x="124" y="50"/>
                  </a:cubicBezTo>
                  <a:cubicBezTo>
                    <a:pt x="118" y="51"/>
                    <a:pt x="112" y="56"/>
                    <a:pt x="107" y="60"/>
                  </a:cubicBezTo>
                  <a:cubicBezTo>
                    <a:pt x="106" y="62"/>
                    <a:pt x="105" y="63"/>
                    <a:pt x="104" y="64"/>
                  </a:cubicBezTo>
                  <a:cubicBezTo>
                    <a:pt x="103" y="64"/>
                    <a:pt x="103" y="64"/>
                    <a:pt x="103" y="64"/>
                  </a:cubicBezTo>
                  <a:cubicBezTo>
                    <a:pt x="102" y="65"/>
                    <a:pt x="100" y="67"/>
                    <a:pt x="99" y="67"/>
                  </a:cubicBezTo>
                  <a:cubicBezTo>
                    <a:pt x="98" y="67"/>
                    <a:pt x="98" y="67"/>
                    <a:pt x="98" y="66"/>
                  </a:cubicBezTo>
                  <a:cubicBezTo>
                    <a:pt x="97" y="65"/>
                    <a:pt x="96" y="63"/>
                    <a:pt x="94" y="63"/>
                  </a:cubicBezTo>
                  <a:cubicBezTo>
                    <a:pt x="93" y="63"/>
                    <a:pt x="93" y="63"/>
                    <a:pt x="92" y="63"/>
                  </a:cubicBezTo>
                  <a:cubicBezTo>
                    <a:pt x="90" y="63"/>
                    <a:pt x="89" y="64"/>
                    <a:pt x="87" y="65"/>
                  </a:cubicBezTo>
                  <a:cubicBezTo>
                    <a:pt x="87" y="65"/>
                    <a:pt x="86" y="65"/>
                    <a:pt x="85" y="65"/>
                  </a:cubicBezTo>
                  <a:cubicBezTo>
                    <a:pt x="85" y="65"/>
                    <a:pt x="84" y="65"/>
                    <a:pt x="83" y="64"/>
                  </a:cubicBezTo>
                  <a:cubicBezTo>
                    <a:pt x="82" y="63"/>
                    <a:pt x="81" y="62"/>
                    <a:pt x="78" y="62"/>
                  </a:cubicBezTo>
                  <a:cubicBezTo>
                    <a:pt x="78" y="62"/>
                    <a:pt x="78" y="62"/>
                    <a:pt x="77" y="62"/>
                  </a:cubicBezTo>
                  <a:cubicBezTo>
                    <a:pt x="76" y="62"/>
                    <a:pt x="75" y="62"/>
                    <a:pt x="74" y="62"/>
                  </a:cubicBezTo>
                  <a:cubicBezTo>
                    <a:pt x="74" y="60"/>
                    <a:pt x="75" y="58"/>
                    <a:pt x="75" y="56"/>
                  </a:cubicBezTo>
                  <a:cubicBezTo>
                    <a:pt x="77" y="49"/>
                    <a:pt x="79" y="42"/>
                    <a:pt x="72" y="34"/>
                  </a:cubicBezTo>
                  <a:cubicBezTo>
                    <a:pt x="70" y="31"/>
                    <a:pt x="67" y="31"/>
                    <a:pt x="65" y="31"/>
                  </a:cubicBezTo>
                  <a:cubicBezTo>
                    <a:pt x="64" y="31"/>
                    <a:pt x="64" y="31"/>
                    <a:pt x="63" y="31"/>
                  </a:cubicBezTo>
                  <a:cubicBezTo>
                    <a:pt x="63" y="31"/>
                    <a:pt x="62" y="31"/>
                    <a:pt x="62" y="31"/>
                  </a:cubicBezTo>
                  <a:cubicBezTo>
                    <a:pt x="61" y="31"/>
                    <a:pt x="61" y="31"/>
                    <a:pt x="60" y="31"/>
                  </a:cubicBezTo>
                  <a:cubicBezTo>
                    <a:pt x="60" y="30"/>
                    <a:pt x="60" y="30"/>
                    <a:pt x="60" y="27"/>
                  </a:cubicBezTo>
                  <a:cubicBezTo>
                    <a:pt x="60" y="26"/>
                    <a:pt x="60" y="24"/>
                    <a:pt x="59" y="23"/>
                  </a:cubicBezTo>
                  <a:cubicBezTo>
                    <a:pt x="58" y="19"/>
                    <a:pt x="55" y="17"/>
                    <a:pt x="51" y="17"/>
                  </a:cubicBezTo>
                  <a:cubicBezTo>
                    <a:pt x="51" y="17"/>
                    <a:pt x="50" y="17"/>
                    <a:pt x="50" y="17"/>
                  </a:cubicBezTo>
                  <a:cubicBezTo>
                    <a:pt x="47" y="18"/>
                    <a:pt x="46" y="19"/>
                    <a:pt x="44" y="20"/>
                  </a:cubicBezTo>
                  <a:cubicBezTo>
                    <a:pt x="44" y="21"/>
                    <a:pt x="43" y="21"/>
                    <a:pt x="43" y="22"/>
                  </a:cubicBezTo>
                  <a:cubicBezTo>
                    <a:pt x="42" y="22"/>
                    <a:pt x="42" y="22"/>
                    <a:pt x="41" y="22"/>
                  </a:cubicBezTo>
                  <a:cubicBezTo>
                    <a:pt x="40" y="22"/>
                    <a:pt x="39" y="22"/>
                    <a:pt x="39" y="22"/>
                  </a:cubicBezTo>
                  <a:cubicBezTo>
                    <a:pt x="38" y="21"/>
                    <a:pt x="38" y="21"/>
                    <a:pt x="38" y="21"/>
                  </a:cubicBezTo>
                  <a:cubicBezTo>
                    <a:pt x="38" y="21"/>
                    <a:pt x="38" y="21"/>
                    <a:pt x="38" y="20"/>
                  </a:cubicBezTo>
                  <a:cubicBezTo>
                    <a:pt x="38" y="19"/>
                    <a:pt x="38" y="18"/>
                    <a:pt x="38" y="17"/>
                  </a:cubicBezTo>
                  <a:cubicBezTo>
                    <a:pt x="37" y="14"/>
                    <a:pt x="35" y="12"/>
                    <a:pt x="31" y="10"/>
                  </a:cubicBezTo>
                  <a:cubicBezTo>
                    <a:pt x="30" y="9"/>
                    <a:pt x="29" y="9"/>
                    <a:pt x="27" y="9"/>
                  </a:cubicBezTo>
                  <a:cubicBezTo>
                    <a:pt x="26" y="8"/>
                    <a:pt x="25" y="8"/>
                    <a:pt x="25" y="8"/>
                  </a:cubicBezTo>
                  <a:cubicBezTo>
                    <a:pt x="23" y="7"/>
                    <a:pt x="23" y="6"/>
                    <a:pt x="22" y="5"/>
                  </a:cubicBezTo>
                  <a:cubicBezTo>
                    <a:pt x="22" y="5"/>
                    <a:pt x="21" y="4"/>
                    <a:pt x="21" y="3"/>
                  </a:cubicBezTo>
                  <a:cubicBezTo>
                    <a:pt x="19" y="1"/>
                    <a:pt x="16" y="0"/>
                    <a:pt x="13" y="0"/>
                  </a:cubicBezTo>
                  <a:cubicBezTo>
                    <a:pt x="9" y="0"/>
                    <a:pt x="4" y="3"/>
                    <a:pt x="2" y="7"/>
                  </a:cubicBezTo>
                  <a:cubicBezTo>
                    <a:pt x="0" y="10"/>
                    <a:pt x="1" y="13"/>
                    <a:pt x="3" y="16"/>
                  </a:cubicBezTo>
                  <a:cubicBezTo>
                    <a:pt x="4" y="18"/>
                    <a:pt x="5" y="20"/>
                    <a:pt x="6" y="22"/>
                  </a:cubicBezTo>
                  <a:cubicBezTo>
                    <a:pt x="7" y="24"/>
                    <a:pt x="7" y="24"/>
                    <a:pt x="7" y="24"/>
                  </a:cubicBezTo>
                  <a:cubicBezTo>
                    <a:pt x="8" y="25"/>
                    <a:pt x="8" y="26"/>
                    <a:pt x="8" y="27"/>
                  </a:cubicBezTo>
                  <a:cubicBezTo>
                    <a:pt x="8" y="29"/>
                    <a:pt x="9" y="31"/>
                    <a:pt x="11" y="33"/>
                  </a:cubicBezTo>
                  <a:cubicBezTo>
                    <a:pt x="13" y="35"/>
                    <a:pt x="16" y="39"/>
                    <a:pt x="21" y="39"/>
                  </a:cubicBezTo>
                  <a:cubicBezTo>
                    <a:pt x="22" y="39"/>
                    <a:pt x="22" y="39"/>
                    <a:pt x="22" y="39"/>
                  </a:cubicBezTo>
                  <a:cubicBezTo>
                    <a:pt x="23" y="39"/>
                    <a:pt x="25" y="38"/>
                    <a:pt x="27" y="38"/>
                  </a:cubicBezTo>
                  <a:cubicBezTo>
                    <a:pt x="28" y="37"/>
                    <a:pt x="31" y="37"/>
                    <a:pt x="32" y="37"/>
                  </a:cubicBezTo>
                  <a:cubicBezTo>
                    <a:pt x="33" y="37"/>
                    <a:pt x="34" y="37"/>
                    <a:pt x="35" y="38"/>
                  </a:cubicBezTo>
                  <a:cubicBezTo>
                    <a:pt x="35" y="38"/>
                    <a:pt x="36" y="41"/>
                    <a:pt x="36" y="43"/>
                  </a:cubicBezTo>
                  <a:cubicBezTo>
                    <a:pt x="37" y="44"/>
                    <a:pt x="37" y="46"/>
                    <a:pt x="37" y="47"/>
                  </a:cubicBezTo>
                  <a:cubicBezTo>
                    <a:pt x="38" y="48"/>
                    <a:pt x="38" y="49"/>
                    <a:pt x="39" y="50"/>
                  </a:cubicBezTo>
                  <a:cubicBezTo>
                    <a:pt x="41" y="54"/>
                    <a:pt x="43" y="58"/>
                    <a:pt x="42" y="62"/>
                  </a:cubicBezTo>
                  <a:cubicBezTo>
                    <a:pt x="42" y="63"/>
                    <a:pt x="42" y="64"/>
                    <a:pt x="41" y="65"/>
                  </a:cubicBezTo>
                  <a:cubicBezTo>
                    <a:pt x="41" y="67"/>
                    <a:pt x="40" y="68"/>
                    <a:pt x="40" y="69"/>
                  </a:cubicBezTo>
                  <a:cubicBezTo>
                    <a:pt x="40" y="72"/>
                    <a:pt x="40" y="74"/>
                    <a:pt x="40" y="76"/>
                  </a:cubicBezTo>
                  <a:cubicBezTo>
                    <a:pt x="40" y="77"/>
                    <a:pt x="40" y="78"/>
                    <a:pt x="40" y="78"/>
                  </a:cubicBezTo>
                  <a:cubicBezTo>
                    <a:pt x="40" y="81"/>
                    <a:pt x="41" y="84"/>
                    <a:pt x="41" y="87"/>
                  </a:cubicBezTo>
                  <a:cubicBezTo>
                    <a:pt x="42" y="89"/>
                    <a:pt x="42" y="92"/>
                    <a:pt x="42" y="94"/>
                  </a:cubicBezTo>
                  <a:cubicBezTo>
                    <a:pt x="42" y="97"/>
                    <a:pt x="42" y="103"/>
                    <a:pt x="49" y="104"/>
                  </a:cubicBezTo>
                  <a:cubicBezTo>
                    <a:pt x="49" y="104"/>
                    <a:pt x="49" y="104"/>
                    <a:pt x="49" y="104"/>
                  </a:cubicBezTo>
                  <a:cubicBezTo>
                    <a:pt x="51" y="104"/>
                    <a:pt x="53" y="103"/>
                    <a:pt x="53" y="103"/>
                  </a:cubicBezTo>
                  <a:cubicBezTo>
                    <a:pt x="54" y="103"/>
                    <a:pt x="54" y="102"/>
                    <a:pt x="54" y="102"/>
                  </a:cubicBezTo>
                  <a:cubicBezTo>
                    <a:pt x="54" y="102"/>
                    <a:pt x="54" y="102"/>
                    <a:pt x="55" y="102"/>
                  </a:cubicBezTo>
                  <a:cubicBezTo>
                    <a:pt x="55" y="102"/>
                    <a:pt x="55" y="102"/>
                    <a:pt x="56" y="103"/>
                  </a:cubicBezTo>
                  <a:cubicBezTo>
                    <a:pt x="57" y="103"/>
                    <a:pt x="57" y="103"/>
                    <a:pt x="57" y="103"/>
                  </a:cubicBezTo>
                  <a:cubicBezTo>
                    <a:pt x="58" y="103"/>
                    <a:pt x="59" y="104"/>
                    <a:pt x="60" y="104"/>
                  </a:cubicBezTo>
                  <a:cubicBezTo>
                    <a:pt x="60" y="104"/>
                    <a:pt x="60" y="105"/>
                    <a:pt x="61" y="105"/>
                  </a:cubicBezTo>
                  <a:cubicBezTo>
                    <a:pt x="61" y="106"/>
                    <a:pt x="62" y="107"/>
                    <a:pt x="63" y="107"/>
                  </a:cubicBezTo>
                  <a:cubicBezTo>
                    <a:pt x="64" y="108"/>
                    <a:pt x="66" y="109"/>
                    <a:pt x="67" y="109"/>
                  </a:cubicBezTo>
                  <a:cubicBezTo>
                    <a:pt x="70" y="109"/>
                    <a:pt x="73" y="107"/>
                    <a:pt x="75" y="105"/>
                  </a:cubicBezTo>
                  <a:cubicBezTo>
                    <a:pt x="76" y="104"/>
                    <a:pt x="76" y="104"/>
                    <a:pt x="76" y="103"/>
                  </a:cubicBezTo>
                  <a:cubicBezTo>
                    <a:pt x="76" y="104"/>
                    <a:pt x="76" y="105"/>
                    <a:pt x="77" y="106"/>
                  </a:cubicBezTo>
                  <a:cubicBezTo>
                    <a:pt x="77" y="108"/>
                    <a:pt x="79" y="111"/>
                    <a:pt x="84" y="111"/>
                  </a:cubicBezTo>
                  <a:cubicBezTo>
                    <a:pt x="85" y="111"/>
                    <a:pt x="86" y="110"/>
                    <a:pt x="87" y="110"/>
                  </a:cubicBezTo>
                  <a:cubicBezTo>
                    <a:pt x="87" y="110"/>
                    <a:pt x="87" y="110"/>
                    <a:pt x="87" y="110"/>
                  </a:cubicBezTo>
                  <a:cubicBezTo>
                    <a:pt x="90" y="110"/>
                    <a:pt x="92" y="109"/>
                    <a:pt x="95" y="108"/>
                  </a:cubicBezTo>
                  <a:cubicBezTo>
                    <a:pt x="98" y="108"/>
                    <a:pt x="100" y="107"/>
                    <a:pt x="103" y="107"/>
                  </a:cubicBezTo>
                  <a:cubicBezTo>
                    <a:pt x="103" y="107"/>
                    <a:pt x="103" y="107"/>
                    <a:pt x="104" y="107"/>
                  </a:cubicBezTo>
                  <a:cubicBezTo>
                    <a:pt x="105" y="107"/>
                    <a:pt x="106" y="107"/>
                    <a:pt x="107" y="107"/>
                  </a:cubicBezTo>
                  <a:cubicBezTo>
                    <a:pt x="109" y="107"/>
                    <a:pt x="111" y="107"/>
                    <a:pt x="113" y="106"/>
                  </a:cubicBezTo>
                  <a:cubicBezTo>
                    <a:pt x="114" y="105"/>
                    <a:pt x="114" y="105"/>
                    <a:pt x="114" y="105"/>
                  </a:cubicBezTo>
                  <a:cubicBezTo>
                    <a:pt x="115" y="105"/>
                    <a:pt x="115" y="105"/>
                    <a:pt x="115" y="106"/>
                  </a:cubicBezTo>
                  <a:cubicBezTo>
                    <a:pt x="116" y="106"/>
                    <a:pt x="117" y="106"/>
                    <a:pt x="119" y="106"/>
                  </a:cubicBezTo>
                  <a:cubicBezTo>
                    <a:pt x="119" y="107"/>
                    <a:pt x="120" y="107"/>
                    <a:pt x="121" y="107"/>
                  </a:cubicBezTo>
                  <a:cubicBezTo>
                    <a:pt x="124" y="107"/>
                    <a:pt x="127" y="106"/>
                    <a:pt x="129" y="106"/>
                  </a:cubicBezTo>
                  <a:cubicBezTo>
                    <a:pt x="132" y="105"/>
                    <a:pt x="133" y="103"/>
                    <a:pt x="134" y="101"/>
                  </a:cubicBezTo>
                  <a:cubicBezTo>
                    <a:pt x="134" y="100"/>
                    <a:pt x="135" y="100"/>
                    <a:pt x="135" y="99"/>
                  </a:cubicBezTo>
                  <a:cubicBezTo>
                    <a:pt x="135" y="100"/>
                    <a:pt x="136" y="100"/>
                    <a:pt x="136" y="100"/>
                  </a:cubicBezTo>
                  <a:cubicBezTo>
                    <a:pt x="137" y="101"/>
                    <a:pt x="138" y="102"/>
                    <a:pt x="139" y="102"/>
                  </a:cubicBezTo>
                  <a:cubicBezTo>
                    <a:pt x="143" y="104"/>
                    <a:pt x="147" y="105"/>
                    <a:pt x="151" y="105"/>
                  </a:cubicBezTo>
                  <a:cubicBezTo>
                    <a:pt x="152" y="105"/>
                    <a:pt x="154" y="104"/>
                    <a:pt x="155" y="104"/>
                  </a:cubicBezTo>
                  <a:cubicBezTo>
                    <a:pt x="157" y="104"/>
                    <a:pt x="159" y="103"/>
                    <a:pt x="160" y="102"/>
                  </a:cubicBezTo>
                  <a:cubicBezTo>
                    <a:pt x="160" y="102"/>
                    <a:pt x="161" y="102"/>
                    <a:pt x="161" y="102"/>
                  </a:cubicBezTo>
                  <a:cubicBezTo>
                    <a:pt x="161" y="101"/>
                    <a:pt x="162" y="101"/>
                    <a:pt x="163" y="101"/>
                  </a:cubicBezTo>
                  <a:cubicBezTo>
                    <a:pt x="164" y="101"/>
                    <a:pt x="166" y="100"/>
                    <a:pt x="168" y="98"/>
                  </a:cubicBezTo>
                  <a:cubicBezTo>
                    <a:pt x="169" y="96"/>
                    <a:pt x="170" y="94"/>
                    <a:pt x="170" y="93"/>
                  </a:cubicBezTo>
                  <a:cubicBezTo>
                    <a:pt x="170" y="92"/>
                    <a:pt x="170" y="91"/>
                    <a:pt x="170" y="90"/>
                  </a:cubicBezTo>
                  <a:cubicBezTo>
                    <a:pt x="170" y="90"/>
                    <a:pt x="171" y="89"/>
                    <a:pt x="172" y="89"/>
                  </a:cubicBezTo>
                  <a:cubicBezTo>
                    <a:pt x="174" y="88"/>
                    <a:pt x="175" y="87"/>
                    <a:pt x="176" y="86"/>
                  </a:cubicBezTo>
                  <a:cubicBezTo>
                    <a:pt x="178" y="84"/>
                    <a:pt x="179" y="82"/>
                    <a:pt x="178" y="80"/>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09" name="Freeform 14">
              <a:extLst>
                <a:ext uri="{FF2B5EF4-FFF2-40B4-BE49-F238E27FC236}">
                  <a16:creationId xmlns:a16="http://schemas.microsoft.com/office/drawing/2014/main" id="{0C85815F-2B95-2A59-BC05-B1A7D4976A2F}"/>
                </a:ext>
              </a:extLst>
            </p:cNvPr>
            <p:cNvSpPr>
              <a:spLocks/>
            </p:cNvSpPr>
            <p:nvPr/>
          </p:nvSpPr>
          <p:spPr bwMode="auto">
            <a:xfrm rot="21097436">
              <a:off x="9571407" y="1022531"/>
              <a:ext cx="90387" cy="110452"/>
            </a:xfrm>
            <a:custGeom>
              <a:avLst/>
              <a:gdLst>
                <a:gd name="T0" fmla="*/ 270419 w 39"/>
                <a:gd name="T1" fmla="*/ 140810 h 44"/>
                <a:gd name="T2" fmla="*/ 263302 w 39"/>
                <a:gd name="T3" fmla="*/ 121608 h 44"/>
                <a:gd name="T4" fmla="*/ 263302 w 39"/>
                <a:gd name="T5" fmla="*/ 115208 h 44"/>
                <a:gd name="T6" fmla="*/ 241954 w 39"/>
                <a:gd name="T7" fmla="*/ 51203 h 44"/>
                <a:gd name="T8" fmla="*/ 192140 w 39"/>
                <a:gd name="T9" fmla="*/ 6400 h 44"/>
                <a:gd name="T10" fmla="*/ 156558 w 39"/>
                <a:gd name="T11" fmla="*/ 0 h 44"/>
                <a:gd name="T12" fmla="*/ 85395 w 39"/>
                <a:gd name="T13" fmla="*/ 19201 h 44"/>
                <a:gd name="T14" fmla="*/ 56930 w 39"/>
                <a:gd name="T15" fmla="*/ 64004 h 44"/>
                <a:gd name="T16" fmla="*/ 42698 w 39"/>
                <a:gd name="T17" fmla="*/ 89606 h 44"/>
                <a:gd name="T18" fmla="*/ 35581 w 39"/>
                <a:gd name="T19" fmla="*/ 96006 h 44"/>
                <a:gd name="T20" fmla="*/ 14233 w 39"/>
                <a:gd name="T21" fmla="*/ 166411 h 44"/>
                <a:gd name="T22" fmla="*/ 42698 w 39"/>
                <a:gd name="T23" fmla="*/ 198413 h 44"/>
                <a:gd name="T24" fmla="*/ 56930 w 39"/>
                <a:gd name="T25" fmla="*/ 211214 h 44"/>
                <a:gd name="T26" fmla="*/ 99628 w 39"/>
                <a:gd name="T27" fmla="*/ 243216 h 44"/>
                <a:gd name="T28" fmla="*/ 135209 w 39"/>
                <a:gd name="T29" fmla="*/ 262418 h 44"/>
                <a:gd name="T30" fmla="*/ 156558 w 39"/>
                <a:gd name="T31" fmla="*/ 275219 h 44"/>
                <a:gd name="T32" fmla="*/ 192140 w 39"/>
                <a:gd name="T33" fmla="*/ 281619 h 44"/>
                <a:gd name="T34" fmla="*/ 234837 w 39"/>
                <a:gd name="T35" fmla="*/ 275219 h 44"/>
                <a:gd name="T36" fmla="*/ 270419 w 39"/>
                <a:gd name="T37" fmla="*/ 230416 h 44"/>
                <a:gd name="T38" fmla="*/ 270419 w 39"/>
                <a:gd name="T39" fmla="*/ 140810 h 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 h="44">
                  <a:moveTo>
                    <a:pt x="38" y="22"/>
                  </a:moveTo>
                  <a:cubicBezTo>
                    <a:pt x="38" y="21"/>
                    <a:pt x="37" y="20"/>
                    <a:pt x="37" y="19"/>
                  </a:cubicBezTo>
                  <a:cubicBezTo>
                    <a:pt x="37" y="18"/>
                    <a:pt x="37" y="18"/>
                    <a:pt x="37" y="18"/>
                  </a:cubicBezTo>
                  <a:cubicBezTo>
                    <a:pt x="36" y="15"/>
                    <a:pt x="36" y="11"/>
                    <a:pt x="34" y="8"/>
                  </a:cubicBezTo>
                  <a:cubicBezTo>
                    <a:pt x="33" y="5"/>
                    <a:pt x="30" y="2"/>
                    <a:pt x="27" y="1"/>
                  </a:cubicBezTo>
                  <a:cubicBezTo>
                    <a:pt x="26" y="0"/>
                    <a:pt x="24" y="0"/>
                    <a:pt x="22" y="0"/>
                  </a:cubicBezTo>
                  <a:cubicBezTo>
                    <a:pt x="19" y="0"/>
                    <a:pt x="14" y="1"/>
                    <a:pt x="12" y="3"/>
                  </a:cubicBezTo>
                  <a:cubicBezTo>
                    <a:pt x="10" y="5"/>
                    <a:pt x="9" y="8"/>
                    <a:pt x="8" y="10"/>
                  </a:cubicBezTo>
                  <a:cubicBezTo>
                    <a:pt x="8" y="11"/>
                    <a:pt x="7" y="13"/>
                    <a:pt x="6" y="14"/>
                  </a:cubicBezTo>
                  <a:cubicBezTo>
                    <a:pt x="5" y="15"/>
                    <a:pt x="5" y="15"/>
                    <a:pt x="5" y="15"/>
                  </a:cubicBezTo>
                  <a:cubicBezTo>
                    <a:pt x="3" y="17"/>
                    <a:pt x="0" y="21"/>
                    <a:pt x="2" y="26"/>
                  </a:cubicBezTo>
                  <a:cubicBezTo>
                    <a:pt x="3" y="29"/>
                    <a:pt x="5" y="30"/>
                    <a:pt x="6" y="31"/>
                  </a:cubicBezTo>
                  <a:cubicBezTo>
                    <a:pt x="7" y="32"/>
                    <a:pt x="8" y="32"/>
                    <a:pt x="8" y="33"/>
                  </a:cubicBezTo>
                  <a:cubicBezTo>
                    <a:pt x="10" y="35"/>
                    <a:pt x="12" y="37"/>
                    <a:pt x="14" y="38"/>
                  </a:cubicBezTo>
                  <a:cubicBezTo>
                    <a:pt x="16" y="40"/>
                    <a:pt x="18" y="41"/>
                    <a:pt x="19" y="41"/>
                  </a:cubicBezTo>
                  <a:cubicBezTo>
                    <a:pt x="20" y="42"/>
                    <a:pt x="21" y="42"/>
                    <a:pt x="22" y="43"/>
                  </a:cubicBezTo>
                  <a:cubicBezTo>
                    <a:pt x="24" y="44"/>
                    <a:pt x="26" y="44"/>
                    <a:pt x="27" y="44"/>
                  </a:cubicBezTo>
                  <a:cubicBezTo>
                    <a:pt x="29" y="44"/>
                    <a:pt x="31" y="44"/>
                    <a:pt x="33" y="43"/>
                  </a:cubicBezTo>
                  <a:cubicBezTo>
                    <a:pt x="35" y="41"/>
                    <a:pt x="37" y="39"/>
                    <a:pt x="38" y="36"/>
                  </a:cubicBezTo>
                  <a:cubicBezTo>
                    <a:pt x="39" y="31"/>
                    <a:pt x="38" y="26"/>
                    <a:pt x="38" y="22"/>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0" name="Freeform 15">
              <a:extLst>
                <a:ext uri="{FF2B5EF4-FFF2-40B4-BE49-F238E27FC236}">
                  <a16:creationId xmlns:a16="http://schemas.microsoft.com/office/drawing/2014/main" id="{7717A158-0AD3-6599-AF22-8BB8E53E83E2}"/>
                </a:ext>
              </a:extLst>
            </p:cNvPr>
            <p:cNvSpPr>
              <a:spLocks/>
            </p:cNvSpPr>
            <p:nvPr/>
          </p:nvSpPr>
          <p:spPr bwMode="auto">
            <a:xfrm rot="21097436">
              <a:off x="9611334" y="1613078"/>
              <a:ext cx="34764" cy="39991"/>
            </a:xfrm>
            <a:custGeom>
              <a:avLst/>
              <a:gdLst>
                <a:gd name="T0" fmla="*/ 71163 w 15"/>
                <a:gd name="T1" fmla="*/ 6373 h 16"/>
                <a:gd name="T2" fmla="*/ 42698 w 15"/>
                <a:gd name="T3" fmla="*/ 0 h 16"/>
                <a:gd name="T4" fmla="*/ 7116 w 15"/>
                <a:gd name="T5" fmla="*/ 12746 h 16"/>
                <a:gd name="T6" fmla="*/ 0 w 15"/>
                <a:gd name="T7" fmla="*/ 44610 h 16"/>
                <a:gd name="T8" fmla="*/ 71163 w 15"/>
                <a:gd name="T9" fmla="*/ 101966 h 16"/>
                <a:gd name="T10" fmla="*/ 71163 w 15"/>
                <a:gd name="T11" fmla="*/ 101966 h 16"/>
                <a:gd name="T12" fmla="*/ 85395 w 15"/>
                <a:gd name="T13" fmla="*/ 101966 h 16"/>
                <a:gd name="T14" fmla="*/ 106744 w 15"/>
                <a:gd name="T15" fmla="*/ 63729 h 16"/>
                <a:gd name="T16" fmla="*/ 71163 w 15"/>
                <a:gd name="T17" fmla="*/ 6373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 h="16">
                  <a:moveTo>
                    <a:pt x="10" y="1"/>
                  </a:moveTo>
                  <a:cubicBezTo>
                    <a:pt x="9" y="1"/>
                    <a:pt x="7" y="0"/>
                    <a:pt x="6" y="0"/>
                  </a:cubicBezTo>
                  <a:cubicBezTo>
                    <a:pt x="4" y="0"/>
                    <a:pt x="3" y="1"/>
                    <a:pt x="1" y="2"/>
                  </a:cubicBezTo>
                  <a:cubicBezTo>
                    <a:pt x="0" y="4"/>
                    <a:pt x="0" y="5"/>
                    <a:pt x="0" y="7"/>
                  </a:cubicBezTo>
                  <a:cubicBezTo>
                    <a:pt x="1" y="11"/>
                    <a:pt x="6" y="16"/>
                    <a:pt x="10" y="16"/>
                  </a:cubicBezTo>
                  <a:cubicBezTo>
                    <a:pt x="10" y="16"/>
                    <a:pt x="10" y="16"/>
                    <a:pt x="10" y="16"/>
                  </a:cubicBezTo>
                  <a:cubicBezTo>
                    <a:pt x="11" y="16"/>
                    <a:pt x="11" y="16"/>
                    <a:pt x="12" y="16"/>
                  </a:cubicBezTo>
                  <a:cubicBezTo>
                    <a:pt x="14" y="15"/>
                    <a:pt x="15" y="13"/>
                    <a:pt x="15" y="10"/>
                  </a:cubicBezTo>
                  <a:cubicBezTo>
                    <a:pt x="15" y="7"/>
                    <a:pt x="12" y="3"/>
                    <a:pt x="10" y="1"/>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1" name="Freeform 16">
              <a:extLst>
                <a:ext uri="{FF2B5EF4-FFF2-40B4-BE49-F238E27FC236}">
                  <a16:creationId xmlns:a16="http://schemas.microsoft.com/office/drawing/2014/main" id="{C672E9BE-578B-C0A6-4B49-09290B66013E}"/>
                </a:ext>
              </a:extLst>
            </p:cNvPr>
            <p:cNvSpPr>
              <a:spLocks/>
            </p:cNvSpPr>
            <p:nvPr/>
          </p:nvSpPr>
          <p:spPr bwMode="auto">
            <a:xfrm rot="21097436">
              <a:off x="9738550" y="1573035"/>
              <a:ext cx="27811" cy="27613"/>
            </a:xfrm>
            <a:custGeom>
              <a:avLst/>
              <a:gdLst>
                <a:gd name="T0" fmla="*/ 78279 w 12"/>
                <a:gd name="T1" fmla="*/ 25602 h 11"/>
                <a:gd name="T2" fmla="*/ 49814 w 12"/>
                <a:gd name="T3" fmla="*/ 0 h 11"/>
                <a:gd name="T4" fmla="*/ 7116 w 12"/>
                <a:gd name="T5" fmla="*/ 38403 h 11"/>
                <a:gd name="T6" fmla="*/ 21349 w 12"/>
                <a:gd name="T7" fmla="*/ 64005 h 11"/>
                <a:gd name="T8" fmla="*/ 35581 w 12"/>
                <a:gd name="T9" fmla="*/ 70405 h 11"/>
                <a:gd name="T10" fmla="*/ 35581 w 12"/>
                <a:gd name="T11" fmla="*/ 70405 h 11"/>
                <a:gd name="T12" fmla="*/ 71163 w 12"/>
                <a:gd name="T13" fmla="*/ 51204 h 11"/>
                <a:gd name="T14" fmla="*/ 78279 w 12"/>
                <a:gd name="T15" fmla="*/ 25602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1">
                  <a:moveTo>
                    <a:pt x="11" y="4"/>
                  </a:moveTo>
                  <a:cubicBezTo>
                    <a:pt x="11" y="0"/>
                    <a:pt x="8" y="0"/>
                    <a:pt x="7" y="0"/>
                  </a:cubicBezTo>
                  <a:cubicBezTo>
                    <a:pt x="3" y="0"/>
                    <a:pt x="1" y="4"/>
                    <a:pt x="1" y="6"/>
                  </a:cubicBezTo>
                  <a:cubicBezTo>
                    <a:pt x="0" y="8"/>
                    <a:pt x="2" y="10"/>
                    <a:pt x="3" y="10"/>
                  </a:cubicBezTo>
                  <a:cubicBezTo>
                    <a:pt x="4" y="10"/>
                    <a:pt x="4" y="11"/>
                    <a:pt x="5" y="11"/>
                  </a:cubicBezTo>
                  <a:cubicBezTo>
                    <a:pt x="5" y="11"/>
                    <a:pt x="5" y="11"/>
                    <a:pt x="5" y="11"/>
                  </a:cubicBezTo>
                  <a:cubicBezTo>
                    <a:pt x="7" y="11"/>
                    <a:pt x="9" y="10"/>
                    <a:pt x="10" y="8"/>
                  </a:cubicBezTo>
                  <a:cubicBezTo>
                    <a:pt x="11" y="7"/>
                    <a:pt x="12" y="6"/>
                    <a:pt x="11" y="4"/>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2" name="Freeform 17">
              <a:extLst>
                <a:ext uri="{FF2B5EF4-FFF2-40B4-BE49-F238E27FC236}">
                  <a16:creationId xmlns:a16="http://schemas.microsoft.com/office/drawing/2014/main" id="{9887C31E-9B80-725C-CDD7-CEE57D8EBFF3}"/>
                </a:ext>
              </a:extLst>
            </p:cNvPr>
            <p:cNvSpPr>
              <a:spLocks/>
            </p:cNvSpPr>
            <p:nvPr/>
          </p:nvSpPr>
          <p:spPr bwMode="auto">
            <a:xfrm rot="21097436">
              <a:off x="8962974" y="1250041"/>
              <a:ext cx="496259" cy="482752"/>
            </a:xfrm>
            <a:custGeom>
              <a:avLst/>
              <a:gdLst>
                <a:gd name="T0" fmla="*/ 1481249 w 215"/>
                <a:gd name="T1" fmla="*/ 895764 h 191"/>
                <a:gd name="T2" fmla="*/ 1452900 w 215"/>
                <a:gd name="T3" fmla="*/ 869987 h 191"/>
                <a:gd name="T4" fmla="*/ 1396201 w 215"/>
                <a:gd name="T5" fmla="*/ 805543 h 191"/>
                <a:gd name="T6" fmla="*/ 1339503 w 215"/>
                <a:gd name="T7" fmla="*/ 766877 h 191"/>
                <a:gd name="T8" fmla="*/ 1282804 w 215"/>
                <a:gd name="T9" fmla="*/ 708878 h 191"/>
                <a:gd name="T10" fmla="*/ 1261542 w 215"/>
                <a:gd name="T11" fmla="*/ 670212 h 191"/>
                <a:gd name="T12" fmla="*/ 1268630 w 215"/>
                <a:gd name="T13" fmla="*/ 579991 h 191"/>
                <a:gd name="T14" fmla="*/ 1282804 w 215"/>
                <a:gd name="T15" fmla="*/ 444660 h 191"/>
                <a:gd name="T16" fmla="*/ 1275717 w 215"/>
                <a:gd name="T17" fmla="*/ 367328 h 191"/>
                <a:gd name="T18" fmla="*/ 1289892 w 215"/>
                <a:gd name="T19" fmla="*/ 322217 h 191"/>
                <a:gd name="T20" fmla="*/ 1304066 w 215"/>
                <a:gd name="T21" fmla="*/ 283551 h 191"/>
                <a:gd name="T22" fmla="*/ 1311154 w 215"/>
                <a:gd name="T23" fmla="*/ 225552 h 191"/>
                <a:gd name="T24" fmla="*/ 1282804 w 215"/>
                <a:gd name="T25" fmla="*/ 135331 h 191"/>
                <a:gd name="T26" fmla="*/ 1254455 w 215"/>
                <a:gd name="T27" fmla="*/ 103110 h 191"/>
                <a:gd name="T28" fmla="*/ 1169407 w 215"/>
                <a:gd name="T29" fmla="*/ 19333 h 191"/>
                <a:gd name="T30" fmla="*/ 1056010 w 215"/>
                <a:gd name="T31" fmla="*/ 57999 h 191"/>
                <a:gd name="T32" fmla="*/ 1048923 w 215"/>
                <a:gd name="T33" fmla="*/ 96665 h 191"/>
                <a:gd name="T34" fmla="*/ 1034748 w 215"/>
                <a:gd name="T35" fmla="*/ 193330 h 191"/>
                <a:gd name="T36" fmla="*/ 1027661 w 215"/>
                <a:gd name="T37" fmla="*/ 244885 h 191"/>
                <a:gd name="T38" fmla="*/ 1034748 w 215"/>
                <a:gd name="T39" fmla="*/ 322217 h 191"/>
                <a:gd name="T40" fmla="*/ 1013486 w 215"/>
                <a:gd name="T41" fmla="*/ 399549 h 191"/>
                <a:gd name="T42" fmla="*/ 999312 w 215"/>
                <a:gd name="T43" fmla="*/ 283551 h 191"/>
                <a:gd name="T44" fmla="*/ 978050 w 215"/>
                <a:gd name="T45" fmla="*/ 103110 h 191"/>
                <a:gd name="T46" fmla="*/ 928438 w 215"/>
                <a:gd name="T47" fmla="*/ 64443 h 191"/>
                <a:gd name="T48" fmla="*/ 35437 w 215"/>
                <a:gd name="T49" fmla="*/ 528436 h 191"/>
                <a:gd name="T50" fmla="*/ 14175 w 215"/>
                <a:gd name="T51" fmla="*/ 631546 h 191"/>
                <a:gd name="T52" fmla="*/ 21262 w 215"/>
                <a:gd name="T53" fmla="*/ 670212 h 191"/>
                <a:gd name="T54" fmla="*/ 106310 w 215"/>
                <a:gd name="T55" fmla="*/ 779766 h 191"/>
                <a:gd name="T56" fmla="*/ 212619 w 215"/>
                <a:gd name="T57" fmla="*/ 824876 h 191"/>
                <a:gd name="T58" fmla="*/ 226794 w 215"/>
                <a:gd name="T59" fmla="*/ 818432 h 191"/>
                <a:gd name="T60" fmla="*/ 248056 w 215"/>
                <a:gd name="T61" fmla="*/ 824876 h 191"/>
                <a:gd name="T62" fmla="*/ 240969 w 215"/>
                <a:gd name="T63" fmla="*/ 902208 h 191"/>
                <a:gd name="T64" fmla="*/ 255143 w 215"/>
                <a:gd name="T65" fmla="*/ 1050428 h 191"/>
                <a:gd name="T66" fmla="*/ 347278 w 215"/>
                <a:gd name="T67" fmla="*/ 1063317 h 191"/>
                <a:gd name="T68" fmla="*/ 418152 w 215"/>
                <a:gd name="T69" fmla="*/ 1076206 h 191"/>
                <a:gd name="T70" fmla="*/ 524461 w 215"/>
                <a:gd name="T71" fmla="*/ 1095539 h 191"/>
                <a:gd name="T72" fmla="*/ 581160 w 215"/>
                <a:gd name="T73" fmla="*/ 1108427 h 191"/>
                <a:gd name="T74" fmla="*/ 715819 w 215"/>
                <a:gd name="T75" fmla="*/ 1076206 h 191"/>
                <a:gd name="T76" fmla="*/ 765430 w 215"/>
                <a:gd name="T77" fmla="*/ 1082650 h 191"/>
                <a:gd name="T78" fmla="*/ 850478 w 215"/>
                <a:gd name="T79" fmla="*/ 1089094 h 191"/>
                <a:gd name="T80" fmla="*/ 928438 w 215"/>
                <a:gd name="T81" fmla="*/ 1018207 h 191"/>
                <a:gd name="T82" fmla="*/ 949700 w 215"/>
                <a:gd name="T83" fmla="*/ 985985 h 191"/>
                <a:gd name="T84" fmla="*/ 949700 w 215"/>
                <a:gd name="T85" fmla="*/ 1018207 h 191"/>
                <a:gd name="T86" fmla="*/ 942613 w 215"/>
                <a:gd name="T87" fmla="*/ 1076206 h 191"/>
                <a:gd name="T88" fmla="*/ 1020574 w 215"/>
                <a:gd name="T89" fmla="*/ 1089094 h 191"/>
                <a:gd name="T90" fmla="*/ 1027661 w 215"/>
                <a:gd name="T91" fmla="*/ 1121316 h 191"/>
                <a:gd name="T92" fmla="*/ 1112709 w 215"/>
                <a:gd name="T93" fmla="*/ 1185760 h 191"/>
                <a:gd name="T94" fmla="*/ 1183582 w 215"/>
                <a:gd name="T95" fmla="*/ 1211537 h 191"/>
                <a:gd name="T96" fmla="*/ 1304066 w 215"/>
                <a:gd name="T97" fmla="*/ 1217981 h 191"/>
                <a:gd name="T98" fmla="*/ 1382027 w 215"/>
                <a:gd name="T99" fmla="*/ 1153538 h 191"/>
                <a:gd name="T100" fmla="*/ 1382027 w 215"/>
                <a:gd name="T101" fmla="*/ 1114872 h 191"/>
                <a:gd name="T102" fmla="*/ 1382027 w 215"/>
                <a:gd name="T103" fmla="*/ 1063317 h 191"/>
                <a:gd name="T104" fmla="*/ 1353677 w 215"/>
                <a:gd name="T105" fmla="*/ 1005318 h 191"/>
                <a:gd name="T106" fmla="*/ 1360765 w 215"/>
                <a:gd name="T107" fmla="*/ 998874 h 191"/>
                <a:gd name="T108" fmla="*/ 1403289 w 215"/>
                <a:gd name="T109" fmla="*/ 1018207 h 191"/>
                <a:gd name="T110" fmla="*/ 1431638 w 215"/>
                <a:gd name="T111" fmla="*/ 1011762 h 191"/>
                <a:gd name="T112" fmla="*/ 1467074 w 215"/>
                <a:gd name="T113" fmla="*/ 1037540 h 191"/>
                <a:gd name="T114" fmla="*/ 1516686 w 215"/>
                <a:gd name="T115" fmla="*/ 992429 h 19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5" h="191">
                  <a:moveTo>
                    <a:pt x="212" y="142"/>
                  </a:moveTo>
                  <a:cubicBezTo>
                    <a:pt x="211" y="141"/>
                    <a:pt x="210" y="140"/>
                    <a:pt x="209" y="139"/>
                  </a:cubicBezTo>
                  <a:cubicBezTo>
                    <a:pt x="209" y="139"/>
                    <a:pt x="208" y="138"/>
                    <a:pt x="207" y="138"/>
                  </a:cubicBezTo>
                  <a:cubicBezTo>
                    <a:pt x="207" y="137"/>
                    <a:pt x="206" y="136"/>
                    <a:pt x="205" y="135"/>
                  </a:cubicBezTo>
                  <a:cubicBezTo>
                    <a:pt x="205" y="134"/>
                    <a:pt x="205" y="134"/>
                    <a:pt x="204" y="133"/>
                  </a:cubicBezTo>
                  <a:cubicBezTo>
                    <a:pt x="202" y="130"/>
                    <a:pt x="199" y="127"/>
                    <a:pt x="197" y="125"/>
                  </a:cubicBezTo>
                  <a:cubicBezTo>
                    <a:pt x="196" y="124"/>
                    <a:pt x="195" y="124"/>
                    <a:pt x="194" y="123"/>
                  </a:cubicBezTo>
                  <a:cubicBezTo>
                    <a:pt x="193" y="121"/>
                    <a:pt x="191" y="120"/>
                    <a:pt x="189" y="119"/>
                  </a:cubicBezTo>
                  <a:cubicBezTo>
                    <a:pt x="187" y="118"/>
                    <a:pt x="185" y="117"/>
                    <a:pt x="184" y="115"/>
                  </a:cubicBezTo>
                  <a:cubicBezTo>
                    <a:pt x="183" y="114"/>
                    <a:pt x="182" y="112"/>
                    <a:pt x="181" y="110"/>
                  </a:cubicBezTo>
                  <a:cubicBezTo>
                    <a:pt x="181" y="109"/>
                    <a:pt x="181" y="109"/>
                    <a:pt x="181" y="108"/>
                  </a:cubicBezTo>
                  <a:cubicBezTo>
                    <a:pt x="180" y="107"/>
                    <a:pt x="179" y="105"/>
                    <a:pt x="178" y="104"/>
                  </a:cubicBezTo>
                  <a:cubicBezTo>
                    <a:pt x="178" y="103"/>
                    <a:pt x="177" y="102"/>
                    <a:pt x="177" y="101"/>
                  </a:cubicBezTo>
                  <a:cubicBezTo>
                    <a:pt x="175" y="98"/>
                    <a:pt x="177" y="95"/>
                    <a:pt x="179" y="90"/>
                  </a:cubicBezTo>
                  <a:cubicBezTo>
                    <a:pt x="182" y="86"/>
                    <a:pt x="184" y="80"/>
                    <a:pt x="183" y="75"/>
                  </a:cubicBezTo>
                  <a:cubicBezTo>
                    <a:pt x="183" y="73"/>
                    <a:pt x="182" y="71"/>
                    <a:pt x="181" y="69"/>
                  </a:cubicBezTo>
                  <a:cubicBezTo>
                    <a:pt x="180" y="66"/>
                    <a:pt x="179" y="64"/>
                    <a:pt x="179" y="61"/>
                  </a:cubicBezTo>
                  <a:cubicBezTo>
                    <a:pt x="179" y="60"/>
                    <a:pt x="179" y="59"/>
                    <a:pt x="180" y="57"/>
                  </a:cubicBezTo>
                  <a:cubicBezTo>
                    <a:pt x="181" y="56"/>
                    <a:pt x="181" y="56"/>
                    <a:pt x="181" y="56"/>
                  </a:cubicBezTo>
                  <a:cubicBezTo>
                    <a:pt x="181" y="54"/>
                    <a:pt x="182" y="52"/>
                    <a:pt x="182" y="50"/>
                  </a:cubicBezTo>
                  <a:cubicBezTo>
                    <a:pt x="182" y="49"/>
                    <a:pt x="182" y="49"/>
                    <a:pt x="182" y="49"/>
                  </a:cubicBezTo>
                  <a:cubicBezTo>
                    <a:pt x="183" y="47"/>
                    <a:pt x="183" y="46"/>
                    <a:pt x="184" y="44"/>
                  </a:cubicBezTo>
                  <a:cubicBezTo>
                    <a:pt x="185" y="42"/>
                    <a:pt x="185" y="39"/>
                    <a:pt x="185" y="35"/>
                  </a:cubicBezTo>
                  <a:cubicBezTo>
                    <a:pt x="185" y="35"/>
                    <a:pt x="185" y="35"/>
                    <a:pt x="185" y="35"/>
                  </a:cubicBezTo>
                  <a:cubicBezTo>
                    <a:pt x="185" y="32"/>
                    <a:pt x="185" y="29"/>
                    <a:pt x="184" y="25"/>
                  </a:cubicBezTo>
                  <a:cubicBezTo>
                    <a:pt x="183" y="23"/>
                    <a:pt x="182" y="22"/>
                    <a:pt x="181" y="21"/>
                  </a:cubicBezTo>
                  <a:cubicBezTo>
                    <a:pt x="180" y="20"/>
                    <a:pt x="180" y="19"/>
                    <a:pt x="179" y="19"/>
                  </a:cubicBezTo>
                  <a:cubicBezTo>
                    <a:pt x="179" y="18"/>
                    <a:pt x="178" y="17"/>
                    <a:pt x="177" y="16"/>
                  </a:cubicBezTo>
                  <a:cubicBezTo>
                    <a:pt x="175" y="12"/>
                    <a:pt x="173" y="7"/>
                    <a:pt x="168" y="5"/>
                  </a:cubicBezTo>
                  <a:cubicBezTo>
                    <a:pt x="167" y="4"/>
                    <a:pt x="166" y="4"/>
                    <a:pt x="165" y="3"/>
                  </a:cubicBezTo>
                  <a:cubicBezTo>
                    <a:pt x="163" y="2"/>
                    <a:pt x="160" y="0"/>
                    <a:pt x="157" y="0"/>
                  </a:cubicBezTo>
                  <a:cubicBezTo>
                    <a:pt x="151" y="0"/>
                    <a:pt x="149" y="6"/>
                    <a:pt x="149" y="9"/>
                  </a:cubicBezTo>
                  <a:cubicBezTo>
                    <a:pt x="149" y="10"/>
                    <a:pt x="149" y="10"/>
                    <a:pt x="149" y="10"/>
                  </a:cubicBezTo>
                  <a:cubicBezTo>
                    <a:pt x="148" y="12"/>
                    <a:pt x="148" y="14"/>
                    <a:pt x="148" y="15"/>
                  </a:cubicBezTo>
                  <a:cubicBezTo>
                    <a:pt x="147" y="17"/>
                    <a:pt x="147" y="20"/>
                    <a:pt x="146" y="22"/>
                  </a:cubicBezTo>
                  <a:cubicBezTo>
                    <a:pt x="146" y="24"/>
                    <a:pt x="146" y="27"/>
                    <a:pt x="146" y="30"/>
                  </a:cubicBezTo>
                  <a:cubicBezTo>
                    <a:pt x="146" y="31"/>
                    <a:pt x="146" y="33"/>
                    <a:pt x="146" y="34"/>
                  </a:cubicBezTo>
                  <a:cubicBezTo>
                    <a:pt x="146" y="36"/>
                    <a:pt x="145" y="37"/>
                    <a:pt x="145" y="38"/>
                  </a:cubicBezTo>
                  <a:cubicBezTo>
                    <a:pt x="145" y="40"/>
                    <a:pt x="145" y="43"/>
                    <a:pt x="145" y="46"/>
                  </a:cubicBezTo>
                  <a:cubicBezTo>
                    <a:pt x="145" y="47"/>
                    <a:pt x="146" y="49"/>
                    <a:pt x="146" y="50"/>
                  </a:cubicBezTo>
                  <a:cubicBezTo>
                    <a:pt x="146" y="52"/>
                    <a:pt x="147" y="54"/>
                    <a:pt x="147" y="55"/>
                  </a:cubicBezTo>
                  <a:cubicBezTo>
                    <a:pt x="146" y="58"/>
                    <a:pt x="144" y="62"/>
                    <a:pt x="143" y="62"/>
                  </a:cubicBezTo>
                  <a:cubicBezTo>
                    <a:pt x="143" y="62"/>
                    <a:pt x="142" y="62"/>
                    <a:pt x="141" y="59"/>
                  </a:cubicBezTo>
                  <a:cubicBezTo>
                    <a:pt x="140" y="54"/>
                    <a:pt x="140" y="49"/>
                    <a:pt x="141" y="44"/>
                  </a:cubicBezTo>
                  <a:cubicBezTo>
                    <a:pt x="142" y="41"/>
                    <a:pt x="142" y="39"/>
                    <a:pt x="142" y="37"/>
                  </a:cubicBezTo>
                  <a:cubicBezTo>
                    <a:pt x="143" y="29"/>
                    <a:pt x="140" y="22"/>
                    <a:pt x="138" y="16"/>
                  </a:cubicBezTo>
                  <a:cubicBezTo>
                    <a:pt x="136" y="14"/>
                    <a:pt x="135" y="13"/>
                    <a:pt x="134" y="12"/>
                  </a:cubicBezTo>
                  <a:cubicBezTo>
                    <a:pt x="131" y="10"/>
                    <a:pt x="131" y="10"/>
                    <a:pt x="131" y="10"/>
                  </a:cubicBezTo>
                  <a:cubicBezTo>
                    <a:pt x="94" y="118"/>
                    <a:pt x="94" y="118"/>
                    <a:pt x="94" y="118"/>
                  </a:cubicBezTo>
                  <a:cubicBezTo>
                    <a:pt x="5" y="82"/>
                    <a:pt x="5" y="82"/>
                    <a:pt x="5" y="82"/>
                  </a:cubicBezTo>
                  <a:cubicBezTo>
                    <a:pt x="4" y="84"/>
                    <a:pt x="4" y="84"/>
                    <a:pt x="4" y="84"/>
                  </a:cubicBezTo>
                  <a:cubicBezTo>
                    <a:pt x="0" y="88"/>
                    <a:pt x="1" y="93"/>
                    <a:pt x="2" y="98"/>
                  </a:cubicBezTo>
                  <a:cubicBezTo>
                    <a:pt x="2" y="98"/>
                    <a:pt x="2" y="99"/>
                    <a:pt x="2" y="100"/>
                  </a:cubicBezTo>
                  <a:cubicBezTo>
                    <a:pt x="3" y="101"/>
                    <a:pt x="3" y="102"/>
                    <a:pt x="3" y="104"/>
                  </a:cubicBezTo>
                  <a:cubicBezTo>
                    <a:pt x="3" y="105"/>
                    <a:pt x="3" y="107"/>
                    <a:pt x="4" y="109"/>
                  </a:cubicBezTo>
                  <a:cubicBezTo>
                    <a:pt x="5" y="116"/>
                    <a:pt x="11" y="118"/>
                    <a:pt x="15" y="121"/>
                  </a:cubicBezTo>
                  <a:cubicBezTo>
                    <a:pt x="18" y="122"/>
                    <a:pt x="20" y="123"/>
                    <a:pt x="21" y="124"/>
                  </a:cubicBezTo>
                  <a:cubicBezTo>
                    <a:pt x="24" y="126"/>
                    <a:pt x="26" y="127"/>
                    <a:pt x="30" y="128"/>
                  </a:cubicBezTo>
                  <a:cubicBezTo>
                    <a:pt x="30" y="128"/>
                    <a:pt x="30" y="128"/>
                    <a:pt x="30" y="128"/>
                  </a:cubicBezTo>
                  <a:cubicBezTo>
                    <a:pt x="31" y="128"/>
                    <a:pt x="32" y="127"/>
                    <a:pt x="32" y="127"/>
                  </a:cubicBezTo>
                  <a:cubicBezTo>
                    <a:pt x="33" y="127"/>
                    <a:pt x="33" y="127"/>
                    <a:pt x="34" y="127"/>
                  </a:cubicBezTo>
                  <a:cubicBezTo>
                    <a:pt x="35" y="127"/>
                    <a:pt x="35" y="128"/>
                    <a:pt x="35" y="128"/>
                  </a:cubicBezTo>
                  <a:cubicBezTo>
                    <a:pt x="36" y="130"/>
                    <a:pt x="37" y="134"/>
                    <a:pt x="35" y="137"/>
                  </a:cubicBezTo>
                  <a:cubicBezTo>
                    <a:pt x="35" y="138"/>
                    <a:pt x="34" y="139"/>
                    <a:pt x="34" y="140"/>
                  </a:cubicBezTo>
                  <a:cubicBezTo>
                    <a:pt x="33" y="141"/>
                    <a:pt x="31" y="143"/>
                    <a:pt x="31" y="146"/>
                  </a:cubicBezTo>
                  <a:cubicBezTo>
                    <a:pt x="29" y="152"/>
                    <a:pt x="32" y="159"/>
                    <a:pt x="36" y="163"/>
                  </a:cubicBezTo>
                  <a:cubicBezTo>
                    <a:pt x="39" y="165"/>
                    <a:pt x="43" y="165"/>
                    <a:pt x="46" y="165"/>
                  </a:cubicBezTo>
                  <a:cubicBezTo>
                    <a:pt x="46" y="165"/>
                    <a:pt x="49" y="165"/>
                    <a:pt x="49" y="165"/>
                  </a:cubicBezTo>
                  <a:cubicBezTo>
                    <a:pt x="51" y="165"/>
                    <a:pt x="52" y="166"/>
                    <a:pt x="54" y="166"/>
                  </a:cubicBezTo>
                  <a:cubicBezTo>
                    <a:pt x="55" y="166"/>
                    <a:pt x="57" y="167"/>
                    <a:pt x="59" y="167"/>
                  </a:cubicBezTo>
                  <a:cubicBezTo>
                    <a:pt x="63" y="167"/>
                    <a:pt x="68" y="168"/>
                    <a:pt x="72" y="169"/>
                  </a:cubicBezTo>
                  <a:cubicBezTo>
                    <a:pt x="73" y="169"/>
                    <a:pt x="74" y="170"/>
                    <a:pt x="74" y="170"/>
                  </a:cubicBezTo>
                  <a:cubicBezTo>
                    <a:pt x="76" y="171"/>
                    <a:pt x="78" y="172"/>
                    <a:pt x="81" y="172"/>
                  </a:cubicBezTo>
                  <a:cubicBezTo>
                    <a:pt x="81" y="172"/>
                    <a:pt x="82" y="172"/>
                    <a:pt x="82" y="172"/>
                  </a:cubicBezTo>
                  <a:cubicBezTo>
                    <a:pt x="86" y="172"/>
                    <a:pt x="90" y="171"/>
                    <a:pt x="93" y="170"/>
                  </a:cubicBezTo>
                  <a:cubicBezTo>
                    <a:pt x="96" y="169"/>
                    <a:pt x="98" y="168"/>
                    <a:pt x="101" y="167"/>
                  </a:cubicBezTo>
                  <a:cubicBezTo>
                    <a:pt x="101" y="167"/>
                    <a:pt x="102" y="167"/>
                    <a:pt x="102" y="167"/>
                  </a:cubicBezTo>
                  <a:cubicBezTo>
                    <a:pt x="104" y="167"/>
                    <a:pt x="106" y="168"/>
                    <a:pt x="108" y="168"/>
                  </a:cubicBezTo>
                  <a:cubicBezTo>
                    <a:pt x="110" y="169"/>
                    <a:pt x="113" y="169"/>
                    <a:pt x="115" y="169"/>
                  </a:cubicBezTo>
                  <a:cubicBezTo>
                    <a:pt x="117" y="169"/>
                    <a:pt x="118" y="169"/>
                    <a:pt x="120" y="169"/>
                  </a:cubicBezTo>
                  <a:cubicBezTo>
                    <a:pt x="123" y="168"/>
                    <a:pt x="126" y="165"/>
                    <a:pt x="129" y="161"/>
                  </a:cubicBezTo>
                  <a:cubicBezTo>
                    <a:pt x="130" y="160"/>
                    <a:pt x="131" y="159"/>
                    <a:pt x="131" y="158"/>
                  </a:cubicBezTo>
                  <a:cubicBezTo>
                    <a:pt x="132" y="156"/>
                    <a:pt x="133" y="154"/>
                    <a:pt x="134" y="154"/>
                  </a:cubicBezTo>
                  <a:cubicBezTo>
                    <a:pt x="134" y="153"/>
                    <a:pt x="134" y="153"/>
                    <a:pt x="134" y="153"/>
                  </a:cubicBezTo>
                  <a:cubicBezTo>
                    <a:pt x="134" y="153"/>
                    <a:pt x="135" y="154"/>
                    <a:pt x="135" y="154"/>
                  </a:cubicBezTo>
                  <a:cubicBezTo>
                    <a:pt x="135" y="155"/>
                    <a:pt x="135" y="156"/>
                    <a:pt x="134" y="158"/>
                  </a:cubicBezTo>
                  <a:cubicBezTo>
                    <a:pt x="133" y="159"/>
                    <a:pt x="133" y="160"/>
                    <a:pt x="132" y="162"/>
                  </a:cubicBezTo>
                  <a:cubicBezTo>
                    <a:pt x="132" y="164"/>
                    <a:pt x="132" y="165"/>
                    <a:pt x="133" y="167"/>
                  </a:cubicBezTo>
                  <a:cubicBezTo>
                    <a:pt x="135" y="169"/>
                    <a:pt x="138" y="169"/>
                    <a:pt x="140" y="169"/>
                  </a:cubicBezTo>
                  <a:cubicBezTo>
                    <a:pt x="141" y="169"/>
                    <a:pt x="143" y="169"/>
                    <a:pt x="144" y="169"/>
                  </a:cubicBezTo>
                  <a:cubicBezTo>
                    <a:pt x="144" y="170"/>
                    <a:pt x="145" y="171"/>
                    <a:pt x="145" y="173"/>
                  </a:cubicBezTo>
                  <a:cubicBezTo>
                    <a:pt x="145" y="173"/>
                    <a:pt x="145" y="174"/>
                    <a:pt x="145" y="174"/>
                  </a:cubicBezTo>
                  <a:cubicBezTo>
                    <a:pt x="146" y="177"/>
                    <a:pt x="146" y="180"/>
                    <a:pt x="148" y="182"/>
                  </a:cubicBezTo>
                  <a:cubicBezTo>
                    <a:pt x="151" y="184"/>
                    <a:pt x="154" y="184"/>
                    <a:pt x="157" y="184"/>
                  </a:cubicBezTo>
                  <a:cubicBezTo>
                    <a:pt x="157" y="184"/>
                    <a:pt x="158" y="184"/>
                    <a:pt x="159" y="184"/>
                  </a:cubicBezTo>
                  <a:cubicBezTo>
                    <a:pt x="162" y="185"/>
                    <a:pt x="164" y="186"/>
                    <a:pt x="167" y="188"/>
                  </a:cubicBezTo>
                  <a:cubicBezTo>
                    <a:pt x="171" y="190"/>
                    <a:pt x="174" y="191"/>
                    <a:pt x="177" y="191"/>
                  </a:cubicBezTo>
                  <a:cubicBezTo>
                    <a:pt x="179" y="191"/>
                    <a:pt x="182" y="191"/>
                    <a:pt x="184" y="189"/>
                  </a:cubicBezTo>
                  <a:cubicBezTo>
                    <a:pt x="185" y="189"/>
                    <a:pt x="185" y="189"/>
                    <a:pt x="185" y="189"/>
                  </a:cubicBezTo>
                  <a:cubicBezTo>
                    <a:pt x="189" y="187"/>
                    <a:pt x="194" y="185"/>
                    <a:pt x="195" y="179"/>
                  </a:cubicBezTo>
                  <a:cubicBezTo>
                    <a:pt x="195" y="178"/>
                    <a:pt x="195" y="177"/>
                    <a:pt x="195" y="176"/>
                  </a:cubicBezTo>
                  <a:cubicBezTo>
                    <a:pt x="195" y="175"/>
                    <a:pt x="195" y="174"/>
                    <a:pt x="195" y="173"/>
                  </a:cubicBezTo>
                  <a:cubicBezTo>
                    <a:pt x="195" y="173"/>
                    <a:pt x="195" y="172"/>
                    <a:pt x="195" y="172"/>
                  </a:cubicBezTo>
                  <a:cubicBezTo>
                    <a:pt x="196" y="170"/>
                    <a:pt x="196" y="167"/>
                    <a:pt x="195" y="165"/>
                  </a:cubicBezTo>
                  <a:cubicBezTo>
                    <a:pt x="194" y="163"/>
                    <a:pt x="192" y="162"/>
                    <a:pt x="189" y="161"/>
                  </a:cubicBezTo>
                  <a:cubicBezTo>
                    <a:pt x="190" y="160"/>
                    <a:pt x="191" y="158"/>
                    <a:pt x="191" y="156"/>
                  </a:cubicBezTo>
                  <a:cubicBezTo>
                    <a:pt x="191" y="156"/>
                    <a:pt x="191" y="155"/>
                    <a:pt x="191" y="154"/>
                  </a:cubicBezTo>
                  <a:cubicBezTo>
                    <a:pt x="192" y="154"/>
                    <a:pt x="192" y="155"/>
                    <a:pt x="192" y="155"/>
                  </a:cubicBezTo>
                  <a:cubicBezTo>
                    <a:pt x="193" y="156"/>
                    <a:pt x="194" y="157"/>
                    <a:pt x="196" y="158"/>
                  </a:cubicBezTo>
                  <a:cubicBezTo>
                    <a:pt x="197" y="158"/>
                    <a:pt x="197" y="158"/>
                    <a:pt x="198" y="158"/>
                  </a:cubicBezTo>
                  <a:cubicBezTo>
                    <a:pt x="200" y="158"/>
                    <a:pt x="201" y="158"/>
                    <a:pt x="201" y="157"/>
                  </a:cubicBezTo>
                  <a:cubicBezTo>
                    <a:pt x="201" y="157"/>
                    <a:pt x="202" y="157"/>
                    <a:pt x="202" y="157"/>
                  </a:cubicBezTo>
                  <a:cubicBezTo>
                    <a:pt x="202" y="157"/>
                    <a:pt x="202" y="158"/>
                    <a:pt x="202" y="158"/>
                  </a:cubicBezTo>
                  <a:cubicBezTo>
                    <a:pt x="203" y="159"/>
                    <a:pt x="204" y="161"/>
                    <a:pt x="207" y="161"/>
                  </a:cubicBezTo>
                  <a:cubicBezTo>
                    <a:pt x="207" y="161"/>
                    <a:pt x="208" y="161"/>
                    <a:pt x="208" y="161"/>
                  </a:cubicBezTo>
                  <a:cubicBezTo>
                    <a:pt x="211" y="160"/>
                    <a:pt x="213" y="158"/>
                    <a:pt x="214" y="154"/>
                  </a:cubicBezTo>
                  <a:cubicBezTo>
                    <a:pt x="215" y="150"/>
                    <a:pt x="215" y="145"/>
                    <a:pt x="212" y="142"/>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3" name="Freeform 18">
              <a:extLst>
                <a:ext uri="{FF2B5EF4-FFF2-40B4-BE49-F238E27FC236}">
                  <a16:creationId xmlns:a16="http://schemas.microsoft.com/office/drawing/2014/main" id="{6DE75190-7778-1288-CFFF-453871669351}"/>
                </a:ext>
              </a:extLst>
            </p:cNvPr>
            <p:cNvSpPr>
              <a:spLocks/>
            </p:cNvSpPr>
            <p:nvPr/>
          </p:nvSpPr>
          <p:spPr bwMode="auto">
            <a:xfrm rot="21097436">
              <a:off x="9316075" y="1194281"/>
              <a:ext cx="76481" cy="96170"/>
            </a:xfrm>
            <a:custGeom>
              <a:avLst/>
              <a:gdLst>
                <a:gd name="T0" fmla="*/ 128093 w 33"/>
                <a:gd name="T1" fmla="*/ 6453 h 38"/>
                <a:gd name="T2" fmla="*/ 78279 w 33"/>
                <a:gd name="T3" fmla="*/ 0 h 38"/>
                <a:gd name="T4" fmla="*/ 35581 w 33"/>
                <a:gd name="T5" fmla="*/ 6453 h 38"/>
                <a:gd name="T6" fmla="*/ 7116 w 33"/>
                <a:gd name="T7" fmla="*/ 77433 h 38"/>
                <a:gd name="T8" fmla="*/ 21349 w 33"/>
                <a:gd name="T9" fmla="*/ 103243 h 38"/>
                <a:gd name="T10" fmla="*/ 28465 w 33"/>
                <a:gd name="T11" fmla="*/ 109696 h 38"/>
                <a:gd name="T12" fmla="*/ 35581 w 33"/>
                <a:gd name="T13" fmla="*/ 116149 h 38"/>
                <a:gd name="T14" fmla="*/ 64046 w 33"/>
                <a:gd name="T15" fmla="*/ 167770 h 38"/>
                <a:gd name="T16" fmla="*/ 128093 w 33"/>
                <a:gd name="T17" fmla="*/ 245203 h 38"/>
                <a:gd name="T18" fmla="*/ 170791 w 33"/>
                <a:gd name="T19" fmla="*/ 225845 h 38"/>
                <a:gd name="T20" fmla="*/ 227721 w 33"/>
                <a:gd name="T21" fmla="*/ 96791 h 38"/>
                <a:gd name="T22" fmla="*/ 128093 w 33"/>
                <a:gd name="T23" fmla="*/ 6453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8">
                  <a:moveTo>
                    <a:pt x="18" y="1"/>
                  </a:moveTo>
                  <a:cubicBezTo>
                    <a:pt x="15" y="1"/>
                    <a:pt x="13" y="0"/>
                    <a:pt x="11" y="0"/>
                  </a:cubicBezTo>
                  <a:cubicBezTo>
                    <a:pt x="9" y="0"/>
                    <a:pt x="7" y="1"/>
                    <a:pt x="5" y="1"/>
                  </a:cubicBezTo>
                  <a:cubicBezTo>
                    <a:pt x="2" y="3"/>
                    <a:pt x="0" y="7"/>
                    <a:pt x="1" y="12"/>
                  </a:cubicBezTo>
                  <a:cubicBezTo>
                    <a:pt x="2" y="13"/>
                    <a:pt x="3" y="15"/>
                    <a:pt x="3" y="16"/>
                  </a:cubicBezTo>
                  <a:cubicBezTo>
                    <a:pt x="3" y="16"/>
                    <a:pt x="4" y="16"/>
                    <a:pt x="4" y="17"/>
                  </a:cubicBezTo>
                  <a:cubicBezTo>
                    <a:pt x="5" y="18"/>
                    <a:pt x="5" y="18"/>
                    <a:pt x="5" y="18"/>
                  </a:cubicBezTo>
                  <a:cubicBezTo>
                    <a:pt x="6" y="21"/>
                    <a:pt x="8" y="23"/>
                    <a:pt x="9" y="26"/>
                  </a:cubicBezTo>
                  <a:cubicBezTo>
                    <a:pt x="10" y="30"/>
                    <a:pt x="12" y="38"/>
                    <a:pt x="18" y="38"/>
                  </a:cubicBezTo>
                  <a:cubicBezTo>
                    <a:pt x="20" y="38"/>
                    <a:pt x="22" y="37"/>
                    <a:pt x="24" y="35"/>
                  </a:cubicBezTo>
                  <a:cubicBezTo>
                    <a:pt x="27" y="31"/>
                    <a:pt x="33" y="22"/>
                    <a:pt x="32" y="15"/>
                  </a:cubicBezTo>
                  <a:cubicBezTo>
                    <a:pt x="31" y="8"/>
                    <a:pt x="24" y="3"/>
                    <a:pt x="18" y="1"/>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4" name="Freeform 19">
              <a:extLst>
                <a:ext uri="{FF2B5EF4-FFF2-40B4-BE49-F238E27FC236}">
                  <a16:creationId xmlns:a16="http://schemas.microsoft.com/office/drawing/2014/main" id="{B4CC9B4F-540B-7119-D678-DCA5D8D32CDC}"/>
                </a:ext>
              </a:extLst>
            </p:cNvPr>
            <p:cNvSpPr>
              <a:spLocks/>
            </p:cNvSpPr>
            <p:nvPr/>
          </p:nvSpPr>
          <p:spPr bwMode="auto">
            <a:xfrm rot="21097436">
              <a:off x="9286400" y="1198506"/>
              <a:ext cx="18251" cy="30470"/>
            </a:xfrm>
            <a:custGeom>
              <a:avLst/>
              <a:gdLst>
                <a:gd name="T0" fmla="*/ 35026 w 8"/>
                <a:gd name="T1" fmla="*/ 19422 h 12"/>
                <a:gd name="T2" fmla="*/ 35026 w 8"/>
                <a:gd name="T3" fmla="*/ 19422 h 12"/>
                <a:gd name="T4" fmla="*/ 35026 w 8"/>
                <a:gd name="T5" fmla="*/ 0 h 12"/>
                <a:gd name="T6" fmla="*/ 0 w 8"/>
                <a:gd name="T7" fmla="*/ 38844 h 12"/>
                <a:gd name="T8" fmla="*/ 21015 w 8"/>
                <a:gd name="T9" fmla="*/ 38844 h 12"/>
                <a:gd name="T10" fmla="*/ 21015 w 8"/>
                <a:gd name="T11" fmla="*/ 38844 h 12"/>
                <a:gd name="T12" fmla="*/ 0 w 8"/>
                <a:gd name="T13" fmla="*/ 38844 h 12"/>
                <a:gd name="T14" fmla="*/ 7005 w 8"/>
                <a:gd name="T15" fmla="*/ 64740 h 12"/>
                <a:gd name="T16" fmla="*/ 35026 w 8"/>
                <a:gd name="T17" fmla="*/ 77688 h 12"/>
                <a:gd name="T18" fmla="*/ 35026 w 8"/>
                <a:gd name="T19" fmla="*/ 58266 h 12"/>
                <a:gd name="T20" fmla="*/ 49036 w 8"/>
                <a:gd name="T21" fmla="*/ 51792 h 12"/>
                <a:gd name="T22" fmla="*/ 35026 w 8"/>
                <a:gd name="T23" fmla="*/ 1942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2">
                  <a:moveTo>
                    <a:pt x="5" y="3"/>
                  </a:moveTo>
                  <a:cubicBezTo>
                    <a:pt x="5" y="3"/>
                    <a:pt x="5" y="3"/>
                    <a:pt x="5" y="3"/>
                  </a:cubicBezTo>
                  <a:cubicBezTo>
                    <a:pt x="5" y="0"/>
                    <a:pt x="5" y="0"/>
                    <a:pt x="5" y="0"/>
                  </a:cubicBezTo>
                  <a:cubicBezTo>
                    <a:pt x="2" y="0"/>
                    <a:pt x="0" y="3"/>
                    <a:pt x="0" y="6"/>
                  </a:cubicBezTo>
                  <a:cubicBezTo>
                    <a:pt x="3" y="6"/>
                    <a:pt x="3" y="6"/>
                    <a:pt x="3" y="6"/>
                  </a:cubicBezTo>
                  <a:cubicBezTo>
                    <a:pt x="3" y="6"/>
                    <a:pt x="3" y="6"/>
                    <a:pt x="3" y="6"/>
                  </a:cubicBezTo>
                  <a:cubicBezTo>
                    <a:pt x="0" y="6"/>
                    <a:pt x="0" y="6"/>
                    <a:pt x="0" y="6"/>
                  </a:cubicBezTo>
                  <a:cubicBezTo>
                    <a:pt x="0" y="7"/>
                    <a:pt x="0" y="8"/>
                    <a:pt x="1" y="10"/>
                  </a:cubicBezTo>
                  <a:cubicBezTo>
                    <a:pt x="2" y="11"/>
                    <a:pt x="3" y="12"/>
                    <a:pt x="5" y="12"/>
                  </a:cubicBezTo>
                  <a:cubicBezTo>
                    <a:pt x="5" y="9"/>
                    <a:pt x="5" y="9"/>
                    <a:pt x="5" y="9"/>
                  </a:cubicBezTo>
                  <a:cubicBezTo>
                    <a:pt x="6" y="9"/>
                    <a:pt x="6" y="9"/>
                    <a:pt x="7" y="8"/>
                  </a:cubicBezTo>
                  <a:cubicBezTo>
                    <a:pt x="8" y="6"/>
                    <a:pt x="8" y="4"/>
                    <a:pt x="5" y="3"/>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5" name="Freeform 22">
              <a:extLst>
                <a:ext uri="{FF2B5EF4-FFF2-40B4-BE49-F238E27FC236}">
                  <a16:creationId xmlns:a16="http://schemas.microsoft.com/office/drawing/2014/main" id="{7DE8F6A2-1111-D309-370A-E9884971D5D4}"/>
                </a:ext>
              </a:extLst>
            </p:cNvPr>
            <p:cNvSpPr>
              <a:spLocks/>
            </p:cNvSpPr>
            <p:nvPr/>
          </p:nvSpPr>
          <p:spPr bwMode="auto">
            <a:xfrm rot="21097436">
              <a:off x="9322910" y="1702660"/>
              <a:ext cx="32157" cy="38087"/>
            </a:xfrm>
            <a:custGeom>
              <a:avLst/>
              <a:gdLst>
                <a:gd name="T0" fmla="*/ 42316 w 14"/>
                <a:gd name="T1" fmla="*/ 0 h 15"/>
                <a:gd name="T2" fmla="*/ 0 w 14"/>
                <a:gd name="T3" fmla="*/ 32370 h 15"/>
                <a:gd name="T4" fmla="*/ 21158 w 14"/>
                <a:gd name="T5" fmla="*/ 71214 h 15"/>
                <a:gd name="T6" fmla="*/ 21158 w 14"/>
                <a:gd name="T7" fmla="*/ 71214 h 15"/>
                <a:gd name="T8" fmla="*/ 56422 w 14"/>
                <a:gd name="T9" fmla="*/ 97110 h 15"/>
                <a:gd name="T10" fmla="*/ 56422 w 14"/>
                <a:gd name="T11" fmla="*/ 97110 h 15"/>
                <a:gd name="T12" fmla="*/ 91685 w 14"/>
                <a:gd name="T13" fmla="*/ 84162 h 15"/>
                <a:gd name="T14" fmla="*/ 91685 w 14"/>
                <a:gd name="T15" fmla="*/ 32370 h 15"/>
                <a:gd name="T16" fmla="*/ 42316 w 14"/>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 h="15">
                  <a:moveTo>
                    <a:pt x="6" y="0"/>
                  </a:moveTo>
                  <a:cubicBezTo>
                    <a:pt x="3" y="0"/>
                    <a:pt x="1" y="2"/>
                    <a:pt x="0" y="5"/>
                  </a:cubicBezTo>
                  <a:cubicBezTo>
                    <a:pt x="0" y="7"/>
                    <a:pt x="0" y="9"/>
                    <a:pt x="3" y="11"/>
                  </a:cubicBezTo>
                  <a:cubicBezTo>
                    <a:pt x="3" y="11"/>
                    <a:pt x="3" y="11"/>
                    <a:pt x="3" y="11"/>
                  </a:cubicBezTo>
                  <a:cubicBezTo>
                    <a:pt x="4" y="15"/>
                    <a:pt x="7" y="15"/>
                    <a:pt x="8" y="15"/>
                  </a:cubicBezTo>
                  <a:cubicBezTo>
                    <a:pt x="8" y="15"/>
                    <a:pt x="8" y="15"/>
                    <a:pt x="8" y="15"/>
                  </a:cubicBezTo>
                  <a:cubicBezTo>
                    <a:pt x="10" y="15"/>
                    <a:pt x="11" y="14"/>
                    <a:pt x="13" y="13"/>
                  </a:cubicBezTo>
                  <a:cubicBezTo>
                    <a:pt x="14" y="10"/>
                    <a:pt x="14" y="7"/>
                    <a:pt x="13" y="5"/>
                  </a:cubicBezTo>
                  <a:cubicBezTo>
                    <a:pt x="12" y="2"/>
                    <a:pt x="9" y="0"/>
                    <a:pt x="6" y="0"/>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6" name="Freeform 24">
              <a:extLst>
                <a:ext uri="{FF2B5EF4-FFF2-40B4-BE49-F238E27FC236}">
                  <a16:creationId xmlns:a16="http://schemas.microsoft.com/office/drawing/2014/main" id="{D1FA8D05-721C-109B-4E1D-37C65C171924}"/>
                </a:ext>
              </a:extLst>
            </p:cNvPr>
            <p:cNvSpPr>
              <a:spLocks noEditPoints="1"/>
            </p:cNvSpPr>
            <p:nvPr/>
          </p:nvSpPr>
          <p:spPr bwMode="auto">
            <a:xfrm rot="21097436">
              <a:off x="8841132" y="1152381"/>
              <a:ext cx="1992856" cy="1384461"/>
            </a:xfrm>
            <a:custGeom>
              <a:avLst/>
              <a:gdLst>
                <a:gd name="T0" fmla="*/ 5913486 w 863"/>
                <a:gd name="T1" fmla="*/ 2006974 h 547"/>
                <a:gd name="T2" fmla="*/ 5615685 w 863"/>
                <a:gd name="T3" fmla="*/ 1832735 h 547"/>
                <a:gd name="T4" fmla="*/ 5488056 w 863"/>
                <a:gd name="T5" fmla="*/ 1555243 h 547"/>
                <a:gd name="T6" fmla="*/ 6012753 w 863"/>
                <a:gd name="T7" fmla="*/ 1697216 h 547"/>
                <a:gd name="T8" fmla="*/ 6005663 w 863"/>
                <a:gd name="T9" fmla="*/ 1258392 h 547"/>
                <a:gd name="T10" fmla="*/ 5601504 w 863"/>
                <a:gd name="T11" fmla="*/ 1148686 h 547"/>
                <a:gd name="T12" fmla="*/ 5211526 w 863"/>
                <a:gd name="T13" fmla="*/ 1090606 h 547"/>
                <a:gd name="T14" fmla="*/ 5140620 w 863"/>
                <a:gd name="T15" fmla="*/ 832475 h 547"/>
                <a:gd name="T16" fmla="*/ 4885362 w 863"/>
                <a:gd name="T17" fmla="*/ 600156 h 547"/>
                <a:gd name="T18" fmla="*/ 4715190 w 863"/>
                <a:gd name="T19" fmla="*/ 561436 h 547"/>
                <a:gd name="T20" fmla="*/ 4353574 w 863"/>
                <a:gd name="T21" fmla="*/ 406557 h 547"/>
                <a:gd name="T22" fmla="*/ 3899781 w 863"/>
                <a:gd name="T23" fmla="*/ 406557 h 547"/>
                <a:gd name="T24" fmla="*/ 3708337 w 863"/>
                <a:gd name="T25" fmla="*/ 90346 h 547"/>
                <a:gd name="T26" fmla="*/ 3403445 w 863"/>
                <a:gd name="T27" fmla="*/ 613063 h 547"/>
                <a:gd name="T28" fmla="*/ 3311269 w 863"/>
                <a:gd name="T29" fmla="*/ 83893 h 547"/>
                <a:gd name="T30" fmla="*/ 3162368 w 863"/>
                <a:gd name="T31" fmla="*/ 974447 h 547"/>
                <a:gd name="T32" fmla="*/ 3502712 w 863"/>
                <a:gd name="T33" fmla="*/ 1090606 h 547"/>
                <a:gd name="T34" fmla="*/ 3424717 w 863"/>
                <a:gd name="T35" fmla="*/ 1574603 h 547"/>
                <a:gd name="T36" fmla="*/ 3275816 w 863"/>
                <a:gd name="T37" fmla="*/ 1458444 h 547"/>
                <a:gd name="T38" fmla="*/ 3034739 w 863"/>
                <a:gd name="T39" fmla="*/ 1464897 h 547"/>
                <a:gd name="T40" fmla="*/ 2814933 w 863"/>
                <a:gd name="T41" fmla="*/ 1135779 h 547"/>
                <a:gd name="T42" fmla="*/ 2793661 w 863"/>
                <a:gd name="T43" fmla="*/ 722769 h 547"/>
                <a:gd name="T44" fmla="*/ 3006377 w 863"/>
                <a:gd name="T45" fmla="*/ 225865 h 547"/>
                <a:gd name="T46" fmla="*/ 2580946 w 863"/>
                <a:gd name="T47" fmla="*/ 374291 h 547"/>
                <a:gd name="T48" fmla="*/ 2453317 w 863"/>
                <a:gd name="T49" fmla="*/ 780848 h 547"/>
                <a:gd name="T50" fmla="*/ 2609308 w 863"/>
                <a:gd name="T51" fmla="*/ 1200312 h 547"/>
                <a:gd name="T52" fmla="*/ 2666032 w 863"/>
                <a:gd name="T53" fmla="*/ 1413271 h 547"/>
                <a:gd name="T54" fmla="*/ 2467498 w 863"/>
                <a:gd name="T55" fmla="*/ 1735936 h 547"/>
                <a:gd name="T56" fmla="*/ 2396593 w 863"/>
                <a:gd name="T57" fmla="*/ 1458444 h 547"/>
                <a:gd name="T58" fmla="*/ 2233511 w 863"/>
                <a:gd name="T59" fmla="*/ 1561697 h 547"/>
                <a:gd name="T60" fmla="*/ 2077520 w 863"/>
                <a:gd name="T61" fmla="*/ 1542337 h 547"/>
                <a:gd name="T62" fmla="*/ 1744266 w 863"/>
                <a:gd name="T63" fmla="*/ 1477804 h 547"/>
                <a:gd name="T64" fmla="*/ 1453555 w 863"/>
                <a:gd name="T65" fmla="*/ 1155139 h 547"/>
                <a:gd name="T66" fmla="*/ 1333016 w 863"/>
                <a:gd name="T67" fmla="*/ 1316472 h 547"/>
                <a:gd name="T68" fmla="*/ 1148663 w 863"/>
                <a:gd name="T69" fmla="*/ 1593963 h 547"/>
                <a:gd name="T70" fmla="*/ 935947 w 863"/>
                <a:gd name="T71" fmla="*/ 1277752 h 547"/>
                <a:gd name="T72" fmla="*/ 574331 w 863"/>
                <a:gd name="T73" fmla="*/ 1161593 h 547"/>
                <a:gd name="T74" fmla="*/ 503426 w 863"/>
                <a:gd name="T75" fmla="*/ 832475 h 547"/>
                <a:gd name="T76" fmla="*/ 2403683 w 863"/>
                <a:gd name="T77" fmla="*/ 3529951 h 547"/>
                <a:gd name="T78" fmla="*/ 2623489 w 863"/>
                <a:gd name="T79" fmla="*/ 3097580 h 547"/>
                <a:gd name="T80" fmla="*/ 2857476 w 863"/>
                <a:gd name="T81" fmla="*/ 2891075 h 547"/>
                <a:gd name="T82" fmla="*/ 3304178 w 863"/>
                <a:gd name="T83" fmla="*/ 2484518 h 547"/>
                <a:gd name="T84" fmla="*/ 3467260 w 863"/>
                <a:gd name="T85" fmla="*/ 1987614 h 547"/>
                <a:gd name="T86" fmla="*/ 3729609 w 863"/>
                <a:gd name="T87" fmla="*/ 1955348 h 547"/>
                <a:gd name="T88" fmla="*/ 3913962 w 863"/>
                <a:gd name="T89" fmla="*/ 1574603 h 547"/>
                <a:gd name="T90" fmla="*/ 3814695 w 863"/>
                <a:gd name="T91" fmla="*/ 1193859 h 547"/>
                <a:gd name="T92" fmla="*/ 3765061 w 863"/>
                <a:gd name="T93" fmla="*/ 1097060 h 547"/>
                <a:gd name="T94" fmla="*/ 4218854 w 863"/>
                <a:gd name="T95" fmla="*/ 1038980 h 547"/>
                <a:gd name="T96" fmla="*/ 4346483 w 863"/>
                <a:gd name="T97" fmla="*/ 1290659 h 547"/>
                <a:gd name="T98" fmla="*/ 4757733 w 863"/>
                <a:gd name="T99" fmla="*/ 1387458 h 547"/>
                <a:gd name="T100" fmla="*/ 4786095 w 863"/>
                <a:gd name="T101" fmla="*/ 2000521 h 547"/>
                <a:gd name="T102" fmla="*/ 4403207 w 863"/>
                <a:gd name="T103" fmla="*/ 2207026 h 547"/>
                <a:gd name="T104" fmla="*/ 4857000 w 863"/>
                <a:gd name="T105" fmla="*/ 2278012 h 547"/>
                <a:gd name="T106" fmla="*/ 5161892 w 863"/>
                <a:gd name="T107" fmla="*/ 2381265 h 547"/>
                <a:gd name="T108" fmla="*/ 5502237 w 863"/>
                <a:gd name="T109" fmla="*/ 2555504 h 547"/>
                <a:gd name="T110" fmla="*/ 5934758 w 863"/>
                <a:gd name="T111" fmla="*/ 2439345 h 547"/>
                <a:gd name="T112" fmla="*/ 5849672 w 863"/>
                <a:gd name="T113" fmla="*/ 2329639 h 547"/>
                <a:gd name="T114" fmla="*/ 3495622 w 863"/>
                <a:gd name="T115" fmla="*/ 780848 h 547"/>
                <a:gd name="T116" fmla="*/ 3240364 w 863"/>
                <a:gd name="T117" fmla="*/ 2226386 h 547"/>
                <a:gd name="T118" fmla="*/ 4062863 w 863"/>
                <a:gd name="T119" fmla="*/ 903461 h 54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63" h="547">
                  <a:moveTo>
                    <a:pt x="862" y="359"/>
                  </a:moveTo>
                  <a:cubicBezTo>
                    <a:pt x="863" y="356"/>
                    <a:pt x="863" y="352"/>
                    <a:pt x="862" y="349"/>
                  </a:cubicBezTo>
                  <a:cubicBezTo>
                    <a:pt x="860" y="347"/>
                    <a:pt x="859" y="344"/>
                    <a:pt x="856" y="342"/>
                  </a:cubicBezTo>
                  <a:cubicBezTo>
                    <a:pt x="856" y="342"/>
                    <a:pt x="855" y="342"/>
                    <a:pt x="855" y="341"/>
                  </a:cubicBezTo>
                  <a:cubicBezTo>
                    <a:pt x="855" y="341"/>
                    <a:pt x="854" y="341"/>
                    <a:pt x="854" y="340"/>
                  </a:cubicBezTo>
                  <a:cubicBezTo>
                    <a:pt x="854" y="340"/>
                    <a:pt x="855" y="339"/>
                    <a:pt x="856" y="339"/>
                  </a:cubicBezTo>
                  <a:cubicBezTo>
                    <a:pt x="858" y="335"/>
                    <a:pt x="858" y="330"/>
                    <a:pt x="854" y="326"/>
                  </a:cubicBezTo>
                  <a:cubicBezTo>
                    <a:pt x="853" y="324"/>
                    <a:pt x="851" y="324"/>
                    <a:pt x="849" y="323"/>
                  </a:cubicBezTo>
                  <a:cubicBezTo>
                    <a:pt x="848" y="323"/>
                    <a:pt x="847" y="323"/>
                    <a:pt x="847" y="323"/>
                  </a:cubicBezTo>
                  <a:cubicBezTo>
                    <a:pt x="847" y="322"/>
                    <a:pt x="847" y="322"/>
                    <a:pt x="847" y="321"/>
                  </a:cubicBezTo>
                  <a:cubicBezTo>
                    <a:pt x="847" y="320"/>
                    <a:pt x="847" y="318"/>
                    <a:pt x="846" y="316"/>
                  </a:cubicBezTo>
                  <a:cubicBezTo>
                    <a:pt x="845" y="315"/>
                    <a:pt x="842" y="315"/>
                    <a:pt x="841" y="315"/>
                  </a:cubicBezTo>
                  <a:cubicBezTo>
                    <a:pt x="841" y="315"/>
                    <a:pt x="841" y="315"/>
                    <a:pt x="841" y="315"/>
                  </a:cubicBezTo>
                  <a:cubicBezTo>
                    <a:pt x="840" y="315"/>
                    <a:pt x="839" y="315"/>
                    <a:pt x="839" y="315"/>
                  </a:cubicBezTo>
                  <a:cubicBezTo>
                    <a:pt x="838" y="315"/>
                    <a:pt x="838" y="315"/>
                    <a:pt x="838" y="315"/>
                  </a:cubicBezTo>
                  <a:cubicBezTo>
                    <a:pt x="838" y="315"/>
                    <a:pt x="838" y="315"/>
                    <a:pt x="838" y="315"/>
                  </a:cubicBezTo>
                  <a:cubicBezTo>
                    <a:pt x="837" y="315"/>
                    <a:pt x="837" y="314"/>
                    <a:pt x="837" y="313"/>
                  </a:cubicBezTo>
                  <a:cubicBezTo>
                    <a:pt x="836" y="313"/>
                    <a:pt x="835" y="312"/>
                    <a:pt x="834" y="311"/>
                  </a:cubicBezTo>
                  <a:cubicBezTo>
                    <a:pt x="834" y="310"/>
                    <a:pt x="833" y="310"/>
                    <a:pt x="833" y="310"/>
                  </a:cubicBezTo>
                  <a:cubicBezTo>
                    <a:pt x="833" y="310"/>
                    <a:pt x="833" y="310"/>
                    <a:pt x="833" y="310"/>
                  </a:cubicBezTo>
                  <a:cubicBezTo>
                    <a:pt x="833" y="309"/>
                    <a:pt x="834" y="307"/>
                    <a:pt x="834" y="306"/>
                  </a:cubicBezTo>
                  <a:cubicBezTo>
                    <a:pt x="836" y="303"/>
                    <a:pt x="836" y="303"/>
                    <a:pt x="836" y="303"/>
                  </a:cubicBezTo>
                  <a:cubicBezTo>
                    <a:pt x="833" y="302"/>
                    <a:pt x="833" y="302"/>
                    <a:pt x="833" y="302"/>
                  </a:cubicBezTo>
                  <a:cubicBezTo>
                    <a:pt x="831" y="301"/>
                    <a:pt x="830" y="301"/>
                    <a:pt x="829" y="301"/>
                  </a:cubicBezTo>
                  <a:cubicBezTo>
                    <a:pt x="828" y="301"/>
                    <a:pt x="826" y="301"/>
                    <a:pt x="826" y="301"/>
                  </a:cubicBezTo>
                  <a:cubicBezTo>
                    <a:pt x="825" y="301"/>
                    <a:pt x="824" y="301"/>
                    <a:pt x="824" y="301"/>
                  </a:cubicBezTo>
                  <a:cubicBezTo>
                    <a:pt x="824" y="300"/>
                    <a:pt x="824" y="299"/>
                    <a:pt x="824" y="299"/>
                  </a:cubicBezTo>
                  <a:cubicBezTo>
                    <a:pt x="824" y="297"/>
                    <a:pt x="823" y="292"/>
                    <a:pt x="817" y="292"/>
                  </a:cubicBezTo>
                  <a:cubicBezTo>
                    <a:pt x="815" y="292"/>
                    <a:pt x="813" y="293"/>
                    <a:pt x="812" y="294"/>
                  </a:cubicBezTo>
                  <a:cubicBezTo>
                    <a:pt x="811" y="294"/>
                    <a:pt x="810" y="295"/>
                    <a:pt x="810" y="295"/>
                  </a:cubicBezTo>
                  <a:cubicBezTo>
                    <a:pt x="810" y="295"/>
                    <a:pt x="809" y="294"/>
                    <a:pt x="808" y="293"/>
                  </a:cubicBezTo>
                  <a:cubicBezTo>
                    <a:pt x="807" y="292"/>
                    <a:pt x="807" y="291"/>
                    <a:pt x="806" y="290"/>
                  </a:cubicBezTo>
                  <a:cubicBezTo>
                    <a:pt x="804" y="289"/>
                    <a:pt x="801" y="289"/>
                    <a:pt x="800" y="289"/>
                  </a:cubicBezTo>
                  <a:cubicBezTo>
                    <a:pt x="798" y="289"/>
                    <a:pt x="798" y="289"/>
                    <a:pt x="798" y="289"/>
                  </a:cubicBezTo>
                  <a:cubicBezTo>
                    <a:pt x="797" y="289"/>
                    <a:pt x="796" y="289"/>
                    <a:pt x="796" y="289"/>
                  </a:cubicBezTo>
                  <a:cubicBezTo>
                    <a:pt x="794" y="288"/>
                    <a:pt x="793" y="287"/>
                    <a:pt x="792" y="284"/>
                  </a:cubicBezTo>
                  <a:cubicBezTo>
                    <a:pt x="791" y="281"/>
                    <a:pt x="790" y="278"/>
                    <a:pt x="787" y="276"/>
                  </a:cubicBezTo>
                  <a:cubicBezTo>
                    <a:pt x="786" y="276"/>
                    <a:pt x="786" y="276"/>
                    <a:pt x="785" y="276"/>
                  </a:cubicBezTo>
                  <a:cubicBezTo>
                    <a:pt x="785" y="275"/>
                    <a:pt x="785" y="274"/>
                    <a:pt x="785" y="274"/>
                  </a:cubicBezTo>
                  <a:cubicBezTo>
                    <a:pt x="784" y="273"/>
                    <a:pt x="783" y="270"/>
                    <a:pt x="779" y="270"/>
                  </a:cubicBezTo>
                  <a:cubicBezTo>
                    <a:pt x="779" y="270"/>
                    <a:pt x="778" y="270"/>
                    <a:pt x="777" y="270"/>
                  </a:cubicBezTo>
                  <a:cubicBezTo>
                    <a:pt x="776" y="271"/>
                    <a:pt x="775" y="271"/>
                    <a:pt x="775" y="272"/>
                  </a:cubicBezTo>
                  <a:cubicBezTo>
                    <a:pt x="775" y="272"/>
                    <a:pt x="775" y="272"/>
                    <a:pt x="775" y="271"/>
                  </a:cubicBezTo>
                  <a:cubicBezTo>
                    <a:pt x="774" y="270"/>
                    <a:pt x="772" y="270"/>
                    <a:pt x="771" y="268"/>
                  </a:cubicBezTo>
                  <a:cubicBezTo>
                    <a:pt x="771" y="268"/>
                    <a:pt x="771" y="268"/>
                    <a:pt x="770" y="268"/>
                  </a:cubicBezTo>
                  <a:cubicBezTo>
                    <a:pt x="771" y="268"/>
                    <a:pt x="772" y="268"/>
                    <a:pt x="772" y="268"/>
                  </a:cubicBezTo>
                  <a:cubicBezTo>
                    <a:pt x="773" y="268"/>
                    <a:pt x="774" y="268"/>
                    <a:pt x="775" y="268"/>
                  </a:cubicBezTo>
                  <a:cubicBezTo>
                    <a:pt x="777" y="267"/>
                    <a:pt x="779" y="266"/>
                    <a:pt x="780" y="263"/>
                  </a:cubicBezTo>
                  <a:cubicBezTo>
                    <a:pt x="781" y="261"/>
                    <a:pt x="780" y="258"/>
                    <a:pt x="779" y="256"/>
                  </a:cubicBezTo>
                  <a:cubicBezTo>
                    <a:pt x="777" y="253"/>
                    <a:pt x="774" y="252"/>
                    <a:pt x="771" y="251"/>
                  </a:cubicBezTo>
                  <a:cubicBezTo>
                    <a:pt x="768" y="250"/>
                    <a:pt x="766" y="249"/>
                    <a:pt x="765" y="247"/>
                  </a:cubicBezTo>
                  <a:cubicBezTo>
                    <a:pt x="765" y="246"/>
                    <a:pt x="765" y="246"/>
                    <a:pt x="765" y="246"/>
                  </a:cubicBezTo>
                  <a:cubicBezTo>
                    <a:pt x="765" y="244"/>
                    <a:pt x="768" y="243"/>
                    <a:pt x="770" y="243"/>
                  </a:cubicBezTo>
                  <a:cubicBezTo>
                    <a:pt x="772" y="242"/>
                    <a:pt x="773" y="242"/>
                    <a:pt x="774" y="241"/>
                  </a:cubicBezTo>
                  <a:cubicBezTo>
                    <a:pt x="776" y="240"/>
                    <a:pt x="776" y="240"/>
                    <a:pt x="776" y="240"/>
                  </a:cubicBezTo>
                  <a:cubicBezTo>
                    <a:pt x="776" y="240"/>
                    <a:pt x="777" y="240"/>
                    <a:pt x="777" y="239"/>
                  </a:cubicBezTo>
                  <a:cubicBezTo>
                    <a:pt x="777" y="239"/>
                    <a:pt x="777" y="240"/>
                    <a:pt x="779" y="240"/>
                  </a:cubicBezTo>
                  <a:cubicBezTo>
                    <a:pt x="779" y="241"/>
                    <a:pt x="779" y="241"/>
                    <a:pt x="779" y="241"/>
                  </a:cubicBezTo>
                  <a:cubicBezTo>
                    <a:pt x="782" y="243"/>
                    <a:pt x="784" y="245"/>
                    <a:pt x="788" y="247"/>
                  </a:cubicBezTo>
                  <a:cubicBezTo>
                    <a:pt x="789" y="248"/>
                    <a:pt x="789" y="248"/>
                    <a:pt x="790" y="248"/>
                  </a:cubicBezTo>
                  <a:cubicBezTo>
                    <a:pt x="792" y="249"/>
                    <a:pt x="793" y="249"/>
                    <a:pt x="794" y="251"/>
                  </a:cubicBezTo>
                  <a:cubicBezTo>
                    <a:pt x="795" y="251"/>
                    <a:pt x="795" y="251"/>
                    <a:pt x="795" y="251"/>
                  </a:cubicBezTo>
                  <a:cubicBezTo>
                    <a:pt x="797" y="253"/>
                    <a:pt x="799" y="256"/>
                    <a:pt x="802" y="256"/>
                  </a:cubicBezTo>
                  <a:cubicBezTo>
                    <a:pt x="803" y="256"/>
                    <a:pt x="804" y="256"/>
                    <a:pt x="805" y="255"/>
                  </a:cubicBezTo>
                  <a:cubicBezTo>
                    <a:pt x="805" y="258"/>
                    <a:pt x="805" y="261"/>
                    <a:pt x="807" y="262"/>
                  </a:cubicBezTo>
                  <a:cubicBezTo>
                    <a:pt x="809" y="264"/>
                    <a:pt x="812" y="265"/>
                    <a:pt x="814" y="266"/>
                  </a:cubicBezTo>
                  <a:cubicBezTo>
                    <a:pt x="815" y="266"/>
                    <a:pt x="816" y="266"/>
                    <a:pt x="816" y="266"/>
                  </a:cubicBezTo>
                  <a:cubicBezTo>
                    <a:pt x="818" y="267"/>
                    <a:pt x="820" y="268"/>
                    <a:pt x="822" y="270"/>
                  </a:cubicBezTo>
                  <a:cubicBezTo>
                    <a:pt x="826" y="275"/>
                    <a:pt x="830" y="278"/>
                    <a:pt x="838" y="278"/>
                  </a:cubicBezTo>
                  <a:cubicBezTo>
                    <a:pt x="843" y="278"/>
                    <a:pt x="847" y="277"/>
                    <a:pt x="849" y="274"/>
                  </a:cubicBezTo>
                  <a:cubicBezTo>
                    <a:pt x="850" y="272"/>
                    <a:pt x="851" y="270"/>
                    <a:pt x="849" y="266"/>
                  </a:cubicBezTo>
                  <a:cubicBezTo>
                    <a:pt x="848" y="263"/>
                    <a:pt x="848" y="263"/>
                    <a:pt x="848" y="263"/>
                  </a:cubicBezTo>
                  <a:cubicBezTo>
                    <a:pt x="847" y="260"/>
                    <a:pt x="845" y="255"/>
                    <a:pt x="843" y="252"/>
                  </a:cubicBezTo>
                  <a:cubicBezTo>
                    <a:pt x="844" y="252"/>
                    <a:pt x="844" y="252"/>
                    <a:pt x="845" y="252"/>
                  </a:cubicBezTo>
                  <a:cubicBezTo>
                    <a:pt x="846" y="252"/>
                    <a:pt x="846" y="252"/>
                    <a:pt x="847" y="251"/>
                  </a:cubicBezTo>
                  <a:cubicBezTo>
                    <a:pt x="850" y="250"/>
                    <a:pt x="851" y="247"/>
                    <a:pt x="852" y="245"/>
                  </a:cubicBezTo>
                  <a:cubicBezTo>
                    <a:pt x="852" y="244"/>
                    <a:pt x="852" y="243"/>
                    <a:pt x="853" y="242"/>
                  </a:cubicBezTo>
                  <a:cubicBezTo>
                    <a:pt x="855" y="239"/>
                    <a:pt x="855" y="237"/>
                    <a:pt x="853" y="234"/>
                  </a:cubicBezTo>
                  <a:cubicBezTo>
                    <a:pt x="853" y="234"/>
                    <a:pt x="852" y="234"/>
                    <a:pt x="852" y="233"/>
                  </a:cubicBezTo>
                  <a:cubicBezTo>
                    <a:pt x="852" y="233"/>
                    <a:pt x="853" y="232"/>
                    <a:pt x="853" y="231"/>
                  </a:cubicBezTo>
                  <a:cubicBezTo>
                    <a:pt x="854" y="230"/>
                    <a:pt x="855" y="229"/>
                    <a:pt x="854" y="227"/>
                  </a:cubicBezTo>
                  <a:cubicBezTo>
                    <a:pt x="853" y="225"/>
                    <a:pt x="851" y="224"/>
                    <a:pt x="850" y="223"/>
                  </a:cubicBezTo>
                  <a:cubicBezTo>
                    <a:pt x="849" y="223"/>
                    <a:pt x="849" y="223"/>
                    <a:pt x="849" y="223"/>
                  </a:cubicBezTo>
                  <a:cubicBezTo>
                    <a:pt x="848" y="222"/>
                    <a:pt x="848" y="222"/>
                    <a:pt x="847" y="221"/>
                  </a:cubicBezTo>
                  <a:cubicBezTo>
                    <a:pt x="851" y="221"/>
                    <a:pt x="853" y="219"/>
                    <a:pt x="854" y="218"/>
                  </a:cubicBezTo>
                  <a:cubicBezTo>
                    <a:pt x="855" y="215"/>
                    <a:pt x="855" y="213"/>
                    <a:pt x="854" y="211"/>
                  </a:cubicBezTo>
                  <a:cubicBezTo>
                    <a:pt x="854" y="210"/>
                    <a:pt x="854" y="209"/>
                    <a:pt x="854" y="209"/>
                  </a:cubicBezTo>
                  <a:cubicBezTo>
                    <a:pt x="854" y="208"/>
                    <a:pt x="855" y="208"/>
                    <a:pt x="855" y="207"/>
                  </a:cubicBezTo>
                  <a:cubicBezTo>
                    <a:pt x="856" y="205"/>
                    <a:pt x="858" y="200"/>
                    <a:pt x="852" y="197"/>
                  </a:cubicBezTo>
                  <a:cubicBezTo>
                    <a:pt x="850" y="196"/>
                    <a:pt x="848" y="196"/>
                    <a:pt x="847" y="195"/>
                  </a:cubicBezTo>
                  <a:cubicBezTo>
                    <a:pt x="845" y="195"/>
                    <a:pt x="844" y="195"/>
                    <a:pt x="843" y="194"/>
                  </a:cubicBezTo>
                  <a:cubicBezTo>
                    <a:pt x="842" y="194"/>
                    <a:pt x="842" y="194"/>
                    <a:pt x="842" y="194"/>
                  </a:cubicBezTo>
                  <a:cubicBezTo>
                    <a:pt x="840" y="193"/>
                    <a:pt x="839" y="192"/>
                    <a:pt x="837" y="192"/>
                  </a:cubicBezTo>
                  <a:cubicBezTo>
                    <a:pt x="835" y="192"/>
                    <a:pt x="833" y="193"/>
                    <a:pt x="831" y="195"/>
                  </a:cubicBezTo>
                  <a:cubicBezTo>
                    <a:pt x="830" y="196"/>
                    <a:pt x="829" y="197"/>
                    <a:pt x="829" y="198"/>
                  </a:cubicBezTo>
                  <a:cubicBezTo>
                    <a:pt x="827" y="199"/>
                    <a:pt x="826" y="201"/>
                    <a:pt x="825" y="201"/>
                  </a:cubicBezTo>
                  <a:cubicBezTo>
                    <a:pt x="825" y="200"/>
                    <a:pt x="825" y="200"/>
                    <a:pt x="825" y="199"/>
                  </a:cubicBezTo>
                  <a:cubicBezTo>
                    <a:pt x="825" y="196"/>
                    <a:pt x="825" y="193"/>
                    <a:pt x="823" y="191"/>
                  </a:cubicBezTo>
                  <a:cubicBezTo>
                    <a:pt x="822" y="190"/>
                    <a:pt x="821" y="189"/>
                    <a:pt x="819" y="189"/>
                  </a:cubicBezTo>
                  <a:cubicBezTo>
                    <a:pt x="819" y="189"/>
                    <a:pt x="818" y="189"/>
                    <a:pt x="818" y="190"/>
                  </a:cubicBezTo>
                  <a:cubicBezTo>
                    <a:pt x="816" y="190"/>
                    <a:pt x="814" y="191"/>
                    <a:pt x="812" y="193"/>
                  </a:cubicBezTo>
                  <a:cubicBezTo>
                    <a:pt x="811" y="193"/>
                    <a:pt x="810" y="194"/>
                    <a:pt x="810" y="194"/>
                  </a:cubicBezTo>
                  <a:cubicBezTo>
                    <a:pt x="810" y="194"/>
                    <a:pt x="810" y="194"/>
                    <a:pt x="810" y="194"/>
                  </a:cubicBezTo>
                  <a:cubicBezTo>
                    <a:pt x="809" y="194"/>
                    <a:pt x="808" y="193"/>
                    <a:pt x="807" y="191"/>
                  </a:cubicBezTo>
                  <a:cubicBezTo>
                    <a:pt x="806" y="191"/>
                    <a:pt x="806" y="190"/>
                    <a:pt x="805" y="189"/>
                  </a:cubicBezTo>
                  <a:cubicBezTo>
                    <a:pt x="802" y="186"/>
                    <a:pt x="799" y="183"/>
                    <a:pt x="796" y="181"/>
                  </a:cubicBezTo>
                  <a:cubicBezTo>
                    <a:pt x="796" y="181"/>
                    <a:pt x="796" y="181"/>
                    <a:pt x="796" y="181"/>
                  </a:cubicBezTo>
                  <a:cubicBezTo>
                    <a:pt x="795" y="180"/>
                    <a:pt x="793" y="178"/>
                    <a:pt x="790" y="178"/>
                  </a:cubicBezTo>
                  <a:cubicBezTo>
                    <a:pt x="790" y="178"/>
                    <a:pt x="789" y="178"/>
                    <a:pt x="789" y="178"/>
                  </a:cubicBezTo>
                  <a:cubicBezTo>
                    <a:pt x="788" y="179"/>
                    <a:pt x="787" y="179"/>
                    <a:pt x="786" y="180"/>
                  </a:cubicBezTo>
                  <a:cubicBezTo>
                    <a:pt x="785" y="177"/>
                    <a:pt x="785" y="175"/>
                    <a:pt x="783" y="174"/>
                  </a:cubicBezTo>
                  <a:cubicBezTo>
                    <a:pt x="782" y="174"/>
                    <a:pt x="782" y="174"/>
                    <a:pt x="782" y="174"/>
                  </a:cubicBezTo>
                  <a:cubicBezTo>
                    <a:pt x="782" y="174"/>
                    <a:pt x="782" y="174"/>
                    <a:pt x="782" y="174"/>
                  </a:cubicBezTo>
                  <a:cubicBezTo>
                    <a:pt x="780" y="174"/>
                    <a:pt x="778" y="176"/>
                    <a:pt x="776" y="177"/>
                  </a:cubicBezTo>
                  <a:cubicBezTo>
                    <a:pt x="776" y="178"/>
                    <a:pt x="775" y="179"/>
                    <a:pt x="774" y="179"/>
                  </a:cubicBezTo>
                  <a:cubicBezTo>
                    <a:pt x="774" y="179"/>
                    <a:pt x="774" y="179"/>
                    <a:pt x="774" y="179"/>
                  </a:cubicBezTo>
                  <a:cubicBezTo>
                    <a:pt x="773" y="179"/>
                    <a:pt x="773" y="179"/>
                    <a:pt x="772" y="179"/>
                  </a:cubicBezTo>
                  <a:cubicBezTo>
                    <a:pt x="772" y="179"/>
                    <a:pt x="771" y="179"/>
                    <a:pt x="771" y="179"/>
                  </a:cubicBezTo>
                  <a:cubicBezTo>
                    <a:pt x="770" y="179"/>
                    <a:pt x="769" y="180"/>
                    <a:pt x="768" y="180"/>
                  </a:cubicBezTo>
                  <a:cubicBezTo>
                    <a:pt x="767" y="180"/>
                    <a:pt x="767" y="180"/>
                    <a:pt x="766" y="181"/>
                  </a:cubicBezTo>
                  <a:cubicBezTo>
                    <a:pt x="766" y="181"/>
                    <a:pt x="765" y="181"/>
                    <a:pt x="765" y="181"/>
                  </a:cubicBezTo>
                  <a:cubicBezTo>
                    <a:pt x="764" y="181"/>
                    <a:pt x="763" y="181"/>
                    <a:pt x="762" y="180"/>
                  </a:cubicBezTo>
                  <a:cubicBezTo>
                    <a:pt x="762" y="180"/>
                    <a:pt x="761" y="180"/>
                    <a:pt x="760" y="179"/>
                  </a:cubicBezTo>
                  <a:cubicBezTo>
                    <a:pt x="755" y="178"/>
                    <a:pt x="751" y="176"/>
                    <a:pt x="747" y="173"/>
                  </a:cubicBezTo>
                  <a:cubicBezTo>
                    <a:pt x="746" y="173"/>
                    <a:pt x="746" y="173"/>
                    <a:pt x="746" y="173"/>
                  </a:cubicBezTo>
                  <a:cubicBezTo>
                    <a:pt x="742" y="171"/>
                    <a:pt x="738" y="170"/>
                    <a:pt x="735" y="169"/>
                  </a:cubicBezTo>
                  <a:cubicBezTo>
                    <a:pt x="733" y="169"/>
                    <a:pt x="731" y="168"/>
                    <a:pt x="729" y="168"/>
                  </a:cubicBezTo>
                  <a:cubicBezTo>
                    <a:pt x="727" y="167"/>
                    <a:pt x="726" y="165"/>
                    <a:pt x="727" y="163"/>
                  </a:cubicBezTo>
                  <a:cubicBezTo>
                    <a:pt x="727" y="163"/>
                    <a:pt x="728" y="161"/>
                    <a:pt x="728" y="161"/>
                  </a:cubicBezTo>
                  <a:cubicBezTo>
                    <a:pt x="730" y="159"/>
                    <a:pt x="733" y="156"/>
                    <a:pt x="731" y="152"/>
                  </a:cubicBezTo>
                  <a:cubicBezTo>
                    <a:pt x="731" y="151"/>
                    <a:pt x="730" y="151"/>
                    <a:pt x="730" y="150"/>
                  </a:cubicBezTo>
                  <a:cubicBezTo>
                    <a:pt x="731" y="150"/>
                    <a:pt x="733" y="149"/>
                    <a:pt x="734" y="149"/>
                  </a:cubicBezTo>
                  <a:cubicBezTo>
                    <a:pt x="736" y="149"/>
                    <a:pt x="737" y="149"/>
                    <a:pt x="738" y="148"/>
                  </a:cubicBezTo>
                  <a:cubicBezTo>
                    <a:pt x="742" y="147"/>
                    <a:pt x="745" y="143"/>
                    <a:pt x="745" y="140"/>
                  </a:cubicBezTo>
                  <a:cubicBezTo>
                    <a:pt x="745" y="137"/>
                    <a:pt x="743" y="134"/>
                    <a:pt x="740" y="132"/>
                  </a:cubicBezTo>
                  <a:cubicBezTo>
                    <a:pt x="738" y="131"/>
                    <a:pt x="737" y="131"/>
                    <a:pt x="735" y="131"/>
                  </a:cubicBezTo>
                  <a:cubicBezTo>
                    <a:pt x="732" y="131"/>
                    <a:pt x="730" y="132"/>
                    <a:pt x="727" y="133"/>
                  </a:cubicBezTo>
                  <a:cubicBezTo>
                    <a:pt x="725" y="134"/>
                    <a:pt x="724" y="135"/>
                    <a:pt x="722" y="135"/>
                  </a:cubicBezTo>
                  <a:cubicBezTo>
                    <a:pt x="721" y="135"/>
                    <a:pt x="720" y="135"/>
                    <a:pt x="719" y="135"/>
                  </a:cubicBezTo>
                  <a:cubicBezTo>
                    <a:pt x="718" y="135"/>
                    <a:pt x="718" y="135"/>
                    <a:pt x="717" y="135"/>
                  </a:cubicBezTo>
                  <a:cubicBezTo>
                    <a:pt x="717" y="135"/>
                    <a:pt x="717" y="135"/>
                    <a:pt x="717" y="135"/>
                  </a:cubicBezTo>
                  <a:cubicBezTo>
                    <a:pt x="717" y="135"/>
                    <a:pt x="717" y="135"/>
                    <a:pt x="718" y="134"/>
                  </a:cubicBezTo>
                  <a:cubicBezTo>
                    <a:pt x="718" y="132"/>
                    <a:pt x="721" y="129"/>
                    <a:pt x="724" y="129"/>
                  </a:cubicBezTo>
                  <a:cubicBezTo>
                    <a:pt x="724" y="129"/>
                    <a:pt x="725" y="129"/>
                    <a:pt x="725" y="129"/>
                  </a:cubicBezTo>
                  <a:cubicBezTo>
                    <a:pt x="727" y="129"/>
                    <a:pt x="732" y="129"/>
                    <a:pt x="733" y="125"/>
                  </a:cubicBezTo>
                  <a:cubicBezTo>
                    <a:pt x="734" y="121"/>
                    <a:pt x="732" y="117"/>
                    <a:pt x="727" y="112"/>
                  </a:cubicBezTo>
                  <a:cubicBezTo>
                    <a:pt x="725" y="111"/>
                    <a:pt x="717" y="106"/>
                    <a:pt x="712" y="106"/>
                  </a:cubicBezTo>
                  <a:cubicBezTo>
                    <a:pt x="708" y="106"/>
                    <a:pt x="706" y="108"/>
                    <a:pt x="706" y="113"/>
                  </a:cubicBezTo>
                  <a:cubicBezTo>
                    <a:pt x="706" y="113"/>
                    <a:pt x="706" y="114"/>
                    <a:pt x="706" y="115"/>
                  </a:cubicBezTo>
                  <a:cubicBezTo>
                    <a:pt x="706" y="115"/>
                    <a:pt x="705" y="114"/>
                    <a:pt x="705" y="114"/>
                  </a:cubicBezTo>
                  <a:cubicBezTo>
                    <a:pt x="704" y="113"/>
                    <a:pt x="704" y="112"/>
                    <a:pt x="703" y="112"/>
                  </a:cubicBezTo>
                  <a:cubicBezTo>
                    <a:pt x="703" y="111"/>
                    <a:pt x="704" y="109"/>
                    <a:pt x="705" y="109"/>
                  </a:cubicBezTo>
                  <a:cubicBezTo>
                    <a:pt x="705" y="108"/>
                    <a:pt x="706" y="108"/>
                    <a:pt x="706" y="107"/>
                  </a:cubicBezTo>
                  <a:cubicBezTo>
                    <a:pt x="706" y="107"/>
                    <a:pt x="706" y="107"/>
                    <a:pt x="706" y="107"/>
                  </a:cubicBezTo>
                  <a:cubicBezTo>
                    <a:pt x="707" y="105"/>
                    <a:pt x="710" y="101"/>
                    <a:pt x="707" y="97"/>
                  </a:cubicBezTo>
                  <a:cubicBezTo>
                    <a:pt x="705" y="95"/>
                    <a:pt x="702" y="95"/>
                    <a:pt x="701" y="95"/>
                  </a:cubicBezTo>
                  <a:cubicBezTo>
                    <a:pt x="701" y="95"/>
                    <a:pt x="700" y="95"/>
                    <a:pt x="699" y="95"/>
                  </a:cubicBezTo>
                  <a:cubicBezTo>
                    <a:pt x="699" y="95"/>
                    <a:pt x="698" y="95"/>
                    <a:pt x="698" y="95"/>
                  </a:cubicBezTo>
                  <a:cubicBezTo>
                    <a:pt x="697" y="95"/>
                    <a:pt x="697" y="95"/>
                    <a:pt x="697" y="95"/>
                  </a:cubicBezTo>
                  <a:cubicBezTo>
                    <a:pt x="697" y="95"/>
                    <a:pt x="696" y="94"/>
                    <a:pt x="695" y="94"/>
                  </a:cubicBezTo>
                  <a:cubicBezTo>
                    <a:pt x="694" y="93"/>
                    <a:pt x="693" y="92"/>
                    <a:pt x="691" y="92"/>
                  </a:cubicBezTo>
                  <a:cubicBezTo>
                    <a:pt x="690" y="92"/>
                    <a:pt x="690" y="92"/>
                    <a:pt x="689" y="93"/>
                  </a:cubicBezTo>
                  <a:cubicBezTo>
                    <a:pt x="689" y="93"/>
                    <a:pt x="688" y="93"/>
                    <a:pt x="687" y="94"/>
                  </a:cubicBezTo>
                  <a:cubicBezTo>
                    <a:pt x="687" y="93"/>
                    <a:pt x="687" y="93"/>
                    <a:pt x="687" y="93"/>
                  </a:cubicBezTo>
                  <a:cubicBezTo>
                    <a:pt x="685" y="93"/>
                    <a:pt x="685" y="93"/>
                    <a:pt x="685" y="93"/>
                  </a:cubicBezTo>
                  <a:cubicBezTo>
                    <a:pt x="683" y="93"/>
                    <a:pt x="681" y="94"/>
                    <a:pt x="679" y="95"/>
                  </a:cubicBezTo>
                  <a:cubicBezTo>
                    <a:pt x="679" y="95"/>
                    <a:pt x="679" y="95"/>
                    <a:pt x="679" y="95"/>
                  </a:cubicBezTo>
                  <a:cubicBezTo>
                    <a:pt x="678" y="96"/>
                    <a:pt x="677" y="97"/>
                    <a:pt x="676" y="97"/>
                  </a:cubicBezTo>
                  <a:cubicBezTo>
                    <a:pt x="676" y="98"/>
                    <a:pt x="675" y="98"/>
                    <a:pt x="675" y="99"/>
                  </a:cubicBezTo>
                  <a:cubicBezTo>
                    <a:pt x="675" y="99"/>
                    <a:pt x="675" y="98"/>
                    <a:pt x="675" y="98"/>
                  </a:cubicBezTo>
                  <a:cubicBezTo>
                    <a:pt x="675" y="96"/>
                    <a:pt x="675" y="90"/>
                    <a:pt x="670" y="88"/>
                  </a:cubicBezTo>
                  <a:cubicBezTo>
                    <a:pt x="670" y="88"/>
                    <a:pt x="669" y="88"/>
                    <a:pt x="668" y="88"/>
                  </a:cubicBezTo>
                  <a:cubicBezTo>
                    <a:pt x="664" y="88"/>
                    <a:pt x="663" y="92"/>
                    <a:pt x="661" y="95"/>
                  </a:cubicBezTo>
                  <a:cubicBezTo>
                    <a:pt x="661" y="96"/>
                    <a:pt x="661" y="97"/>
                    <a:pt x="661" y="97"/>
                  </a:cubicBezTo>
                  <a:cubicBezTo>
                    <a:pt x="660" y="98"/>
                    <a:pt x="660" y="99"/>
                    <a:pt x="659" y="99"/>
                  </a:cubicBezTo>
                  <a:cubicBezTo>
                    <a:pt x="658" y="101"/>
                    <a:pt x="656" y="104"/>
                    <a:pt x="655" y="104"/>
                  </a:cubicBezTo>
                  <a:cubicBezTo>
                    <a:pt x="654" y="104"/>
                    <a:pt x="654" y="104"/>
                    <a:pt x="654" y="104"/>
                  </a:cubicBezTo>
                  <a:cubicBezTo>
                    <a:pt x="654" y="104"/>
                    <a:pt x="653" y="103"/>
                    <a:pt x="654" y="101"/>
                  </a:cubicBezTo>
                  <a:cubicBezTo>
                    <a:pt x="655" y="98"/>
                    <a:pt x="656" y="97"/>
                    <a:pt x="656" y="96"/>
                  </a:cubicBezTo>
                  <a:cubicBezTo>
                    <a:pt x="659" y="95"/>
                    <a:pt x="663" y="92"/>
                    <a:pt x="665" y="87"/>
                  </a:cubicBezTo>
                  <a:cubicBezTo>
                    <a:pt x="666" y="85"/>
                    <a:pt x="665" y="83"/>
                    <a:pt x="664" y="82"/>
                  </a:cubicBezTo>
                  <a:cubicBezTo>
                    <a:pt x="663" y="80"/>
                    <a:pt x="661" y="79"/>
                    <a:pt x="659" y="78"/>
                  </a:cubicBezTo>
                  <a:cubicBezTo>
                    <a:pt x="659" y="78"/>
                    <a:pt x="658" y="78"/>
                    <a:pt x="658" y="78"/>
                  </a:cubicBezTo>
                  <a:cubicBezTo>
                    <a:pt x="657" y="78"/>
                    <a:pt x="657" y="77"/>
                    <a:pt x="656" y="77"/>
                  </a:cubicBezTo>
                  <a:cubicBezTo>
                    <a:pt x="654" y="76"/>
                    <a:pt x="651" y="74"/>
                    <a:pt x="648" y="74"/>
                  </a:cubicBezTo>
                  <a:cubicBezTo>
                    <a:pt x="647" y="73"/>
                    <a:pt x="646" y="73"/>
                    <a:pt x="645" y="73"/>
                  </a:cubicBezTo>
                  <a:cubicBezTo>
                    <a:pt x="642" y="73"/>
                    <a:pt x="640" y="74"/>
                    <a:pt x="638" y="76"/>
                  </a:cubicBezTo>
                  <a:cubicBezTo>
                    <a:pt x="637" y="78"/>
                    <a:pt x="637" y="80"/>
                    <a:pt x="637" y="82"/>
                  </a:cubicBezTo>
                  <a:cubicBezTo>
                    <a:pt x="637" y="83"/>
                    <a:pt x="637" y="84"/>
                    <a:pt x="637" y="85"/>
                  </a:cubicBezTo>
                  <a:cubicBezTo>
                    <a:pt x="637" y="86"/>
                    <a:pt x="636" y="87"/>
                    <a:pt x="636" y="87"/>
                  </a:cubicBezTo>
                  <a:cubicBezTo>
                    <a:pt x="636" y="87"/>
                    <a:pt x="636" y="86"/>
                    <a:pt x="635" y="86"/>
                  </a:cubicBezTo>
                  <a:cubicBezTo>
                    <a:pt x="634" y="82"/>
                    <a:pt x="632" y="77"/>
                    <a:pt x="627" y="76"/>
                  </a:cubicBezTo>
                  <a:cubicBezTo>
                    <a:pt x="626" y="76"/>
                    <a:pt x="626" y="76"/>
                    <a:pt x="625" y="76"/>
                  </a:cubicBezTo>
                  <a:cubicBezTo>
                    <a:pt x="623" y="76"/>
                    <a:pt x="621" y="77"/>
                    <a:pt x="619" y="78"/>
                  </a:cubicBezTo>
                  <a:cubicBezTo>
                    <a:pt x="619" y="78"/>
                    <a:pt x="618" y="79"/>
                    <a:pt x="617" y="79"/>
                  </a:cubicBezTo>
                  <a:cubicBezTo>
                    <a:pt x="618" y="79"/>
                    <a:pt x="618" y="78"/>
                    <a:pt x="618" y="77"/>
                  </a:cubicBezTo>
                  <a:cubicBezTo>
                    <a:pt x="620" y="75"/>
                    <a:pt x="622" y="72"/>
                    <a:pt x="621" y="70"/>
                  </a:cubicBezTo>
                  <a:cubicBezTo>
                    <a:pt x="621" y="64"/>
                    <a:pt x="616" y="63"/>
                    <a:pt x="614" y="63"/>
                  </a:cubicBezTo>
                  <a:cubicBezTo>
                    <a:pt x="611" y="63"/>
                    <a:pt x="610" y="62"/>
                    <a:pt x="609" y="61"/>
                  </a:cubicBezTo>
                  <a:cubicBezTo>
                    <a:pt x="609" y="60"/>
                    <a:pt x="608" y="59"/>
                    <a:pt x="608" y="58"/>
                  </a:cubicBezTo>
                  <a:cubicBezTo>
                    <a:pt x="608" y="56"/>
                    <a:pt x="607" y="55"/>
                    <a:pt x="607" y="54"/>
                  </a:cubicBezTo>
                  <a:cubicBezTo>
                    <a:pt x="605" y="50"/>
                    <a:pt x="600" y="47"/>
                    <a:pt x="596" y="46"/>
                  </a:cubicBezTo>
                  <a:cubicBezTo>
                    <a:pt x="596" y="46"/>
                    <a:pt x="595" y="46"/>
                    <a:pt x="595" y="46"/>
                  </a:cubicBezTo>
                  <a:cubicBezTo>
                    <a:pt x="594" y="46"/>
                    <a:pt x="593" y="46"/>
                    <a:pt x="593" y="47"/>
                  </a:cubicBezTo>
                  <a:cubicBezTo>
                    <a:pt x="592" y="47"/>
                    <a:pt x="591" y="47"/>
                    <a:pt x="591" y="47"/>
                  </a:cubicBezTo>
                  <a:cubicBezTo>
                    <a:pt x="590" y="47"/>
                    <a:pt x="590" y="47"/>
                    <a:pt x="589" y="47"/>
                  </a:cubicBezTo>
                  <a:cubicBezTo>
                    <a:pt x="588" y="46"/>
                    <a:pt x="587" y="46"/>
                    <a:pt x="586" y="45"/>
                  </a:cubicBezTo>
                  <a:cubicBezTo>
                    <a:pt x="584" y="44"/>
                    <a:pt x="581" y="43"/>
                    <a:pt x="578" y="43"/>
                  </a:cubicBezTo>
                  <a:cubicBezTo>
                    <a:pt x="578" y="43"/>
                    <a:pt x="577" y="43"/>
                    <a:pt x="576" y="44"/>
                  </a:cubicBezTo>
                  <a:cubicBezTo>
                    <a:pt x="572" y="44"/>
                    <a:pt x="568" y="47"/>
                    <a:pt x="564" y="52"/>
                  </a:cubicBezTo>
                  <a:cubicBezTo>
                    <a:pt x="561" y="57"/>
                    <a:pt x="560" y="60"/>
                    <a:pt x="564" y="65"/>
                  </a:cubicBezTo>
                  <a:cubicBezTo>
                    <a:pt x="564" y="65"/>
                    <a:pt x="564" y="65"/>
                    <a:pt x="564" y="65"/>
                  </a:cubicBezTo>
                  <a:cubicBezTo>
                    <a:pt x="563" y="66"/>
                    <a:pt x="562" y="66"/>
                    <a:pt x="561" y="67"/>
                  </a:cubicBezTo>
                  <a:cubicBezTo>
                    <a:pt x="560" y="65"/>
                    <a:pt x="557" y="64"/>
                    <a:pt x="555" y="64"/>
                  </a:cubicBezTo>
                  <a:cubicBezTo>
                    <a:pt x="555" y="64"/>
                    <a:pt x="554" y="64"/>
                    <a:pt x="554" y="63"/>
                  </a:cubicBezTo>
                  <a:cubicBezTo>
                    <a:pt x="553" y="63"/>
                    <a:pt x="551" y="63"/>
                    <a:pt x="550" y="63"/>
                  </a:cubicBezTo>
                  <a:cubicBezTo>
                    <a:pt x="549" y="63"/>
                    <a:pt x="549" y="63"/>
                    <a:pt x="549" y="63"/>
                  </a:cubicBezTo>
                  <a:cubicBezTo>
                    <a:pt x="549" y="63"/>
                    <a:pt x="549" y="63"/>
                    <a:pt x="549" y="63"/>
                  </a:cubicBezTo>
                  <a:cubicBezTo>
                    <a:pt x="545" y="63"/>
                    <a:pt x="544" y="67"/>
                    <a:pt x="544" y="70"/>
                  </a:cubicBezTo>
                  <a:cubicBezTo>
                    <a:pt x="543" y="70"/>
                    <a:pt x="543" y="71"/>
                    <a:pt x="543" y="71"/>
                  </a:cubicBezTo>
                  <a:cubicBezTo>
                    <a:pt x="542" y="74"/>
                    <a:pt x="541" y="76"/>
                    <a:pt x="541" y="77"/>
                  </a:cubicBezTo>
                  <a:cubicBezTo>
                    <a:pt x="540" y="76"/>
                    <a:pt x="540" y="74"/>
                    <a:pt x="540" y="72"/>
                  </a:cubicBezTo>
                  <a:cubicBezTo>
                    <a:pt x="540" y="72"/>
                    <a:pt x="540" y="71"/>
                    <a:pt x="540" y="71"/>
                  </a:cubicBezTo>
                  <a:cubicBezTo>
                    <a:pt x="540" y="70"/>
                    <a:pt x="540" y="69"/>
                    <a:pt x="540" y="69"/>
                  </a:cubicBezTo>
                  <a:cubicBezTo>
                    <a:pt x="540" y="66"/>
                    <a:pt x="539" y="64"/>
                    <a:pt x="540" y="62"/>
                  </a:cubicBezTo>
                  <a:cubicBezTo>
                    <a:pt x="540" y="62"/>
                    <a:pt x="540" y="62"/>
                    <a:pt x="541" y="61"/>
                  </a:cubicBezTo>
                  <a:cubicBezTo>
                    <a:pt x="542" y="60"/>
                    <a:pt x="543" y="60"/>
                    <a:pt x="543" y="58"/>
                  </a:cubicBezTo>
                  <a:cubicBezTo>
                    <a:pt x="547" y="52"/>
                    <a:pt x="543" y="47"/>
                    <a:pt x="541" y="43"/>
                  </a:cubicBezTo>
                  <a:cubicBezTo>
                    <a:pt x="540" y="42"/>
                    <a:pt x="539" y="41"/>
                    <a:pt x="539" y="40"/>
                  </a:cubicBezTo>
                  <a:cubicBezTo>
                    <a:pt x="538" y="38"/>
                    <a:pt x="537" y="37"/>
                    <a:pt x="536" y="36"/>
                  </a:cubicBezTo>
                  <a:cubicBezTo>
                    <a:pt x="535" y="34"/>
                    <a:pt x="534" y="33"/>
                    <a:pt x="533" y="32"/>
                  </a:cubicBezTo>
                  <a:cubicBezTo>
                    <a:pt x="533" y="31"/>
                    <a:pt x="533" y="30"/>
                    <a:pt x="533" y="29"/>
                  </a:cubicBezTo>
                  <a:cubicBezTo>
                    <a:pt x="532" y="28"/>
                    <a:pt x="532" y="27"/>
                    <a:pt x="532" y="26"/>
                  </a:cubicBezTo>
                  <a:cubicBezTo>
                    <a:pt x="531" y="21"/>
                    <a:pt x="527" y="16"/>
                    <a:pt x="523" y="14"/>
                  </a:cubicBezTo>
                  <a:cubicBezTo>
                    <a:pt x="522" y="13"/>
                    <a:pt x="521" y="13"/>
                    <a:pt x="519" y="13"/>
                  </a:cubicBezTo>
                  <a:cubicBezTo>
                    <a:pt x="517" y="13"/>
                    <a:pt x="515" y="14"/>
                    <a:pt x="513" y="15"/>
                  </a:cubicBezTo>
                  <a:cubicBezTo>
                    <a:pt x="512" y="16"/>
                    <a:pt x="511" y="16"/>
                    <a:pt x="510" y="17"/>
                  </a:cubicBezTo>
                  <a:cubicBezTo>
                    <a:pt x="509" y="17"/>
                    <a:pt x="509" y="17"/>
                    <a:pt x="508" y="17"/>
                  </a:cubicBezTo>
                  <a:cubicBezTo>
                    <a:pt x="506" y="18"/>
                    <a:pt x="504" y="18"/>
                    <a:pt x="501" y="20"/>
                  </a:cubicBezTo>
                  <a:cubicBezTo>
                    <a:pt x="496" y="23"/>
                    <a:pt x="491" y="28"/>
                    <a:pt x="487" y="33"/>
                  </a:cubicBezTo>
                  <a:cubicBezTo>
                    <a:pt x="479" y="43"/>
                    <a:pt x="473" y="57"/>
                    <a:pt x="479" y="67"/>
                  </a:cubicBezTo>
                  <a:cubicBezTo>
                    <a:pt x="480" y="68"/>
                    <a:pt x="482" y="70"/>
                    <a:pt x="484" y="71"/>
                  </a:cubicBezTo>
                  <a:cubicBezTo>
                    <a:pt x="485" y="72"/>
                    <a:pt x="488" y="74"/>
                    <a:pt x="489" y="75"/>
                  </a:cubicBezTo>
                  <a:cubicBezTo>
                    <a:pt x="488" y="76"/>
                    <a:pt x="488" y="76"/>
                    <a:pt x="487" y="76"/>
                  </a:cubicBezTo>
                  <a:cubicBezTo>
                    <a:pt x="487" y="76"/>
                    <a:pt x="486" y="77"/>
                    <a:pt x="486" y="77"/>
                  </a:cubicBezTo>
                  <a:cubicBezTo>
                    <a:pt x="484" y="79"/>
                    <a:pt x="481" y="81"/>
                    <a:pt x="479" y="85"/>
                  </a:cubicBezTo>
                  <a:cubicBezTo>
                    <a:pt x="476" y="94"/>
                    <a:pt x="485" y="100"/>
                    <a:pt x="489" y="102"/>
                  </a:cubicBezTo>
                  <a:cubicBezTo>
                    <a:pt x="493" y="105"/>
                    <a:pt x="495" y="106"/>
                    <a:pt x="494" y="110"/>
                  </a:cubicBezTo>
                  <a:cubicBezTo>
                    <a:pt x="494" y="111"/>
                    <a:pt x="494" y="111"/>
                    <a:pt x="494" y="112"/>
                  </a:cubicBezTo>
                  <a:cubicBezTo>
                    <a:pt x="494" y="108"/>
                    <a:pt x="490" y="106"/>
                    <a:pt x="487" y="104"/>
                  </a:cubicBezTo>
                  <a:cubicBezTo>
                    <a:pt x="486" y="103"/>
                    <a:pt x="484" y="102"/>
                    <a:pt x="483" y="101"/>
                  </a:cubicBezTo>
                  <a:cubicBezTo>
                    <a:pt x="482" y="100"/>
                    <a:pt x="481" y="97"/>
                    <a:pt x="480" y="95"/>
                  </a:cubicBezTo>
                  <a:cubicBezTo>
                    <a:pt x="480" y="94"/>
                    <a:pt x="479" y="93"/>
                    <a:pt x="478" y="91"/>
                  </a:cubicBezTo>
                  <a:cubicBezTo>
                    <a:pt x="478" y="90"/>
                    <a:pt x="478" y="90"/>
                    <a:pt x="478" y="90"/>
                  </a:cubicBezTo>
                  <a:cubicBezTo>
                    <a:pt x="476" y="87"/>
                    <a:pt x="475" y="86"/>
                    <a:pt x="475" y="83"/>
                  </a:cubicBezTo>
                  <a:cubicBezTo>
                    <a:pt x="475" y="81"/>
                    <a:pt x="475" y="80"/>
                    <a:pt x="476" y="78"/>
                  </a:cubicBezTo>
                  <a:cubicBezTo>
                    <a:pt x="476" y="73"/>
                    <a:pt x="477" y="68"/>
                    <a:pt x="473" y="62"/>
                  </a:cubicBezTo>
                  <a:cubicBezTo>
                    <a:pt x="473" y="62"/>
                    <a:pt x="472" y="61"/>
                    <a:pt x="472" y="61"/>
                  </a:cubicBezTo>
                  <a:cubicBezTo>
                    <a:pt x="471" y="60"/>
                    <a:pt x="471" y="59"/>
                    <a:pt x="471" y="58"/>
                  </a:cubicBezTo>
                  <a:cubicBezTo>
                    <a:pt x="471" y="55"/>
                    <a:pt x="472" y="51"/>
                    <a:pt x="473" y="49"/>
                  </a:cubicBezTo>
                  <a:cubicBezTo>
                    <a:pt x="474" y="46"/>
                    <a:pt x="475" y="43"/>
                    <a:pt x="477" y="41"/>
                  </a:cubicBezTo>
                  <a:cubicBezTo>
                    <a:pt x="477" y="40"/>
                    <a:pt x="478" y="39"/>
                    <a:pt x="478" y="38"/>
                  </a:cubicBezTo>
                  <a:cubicBezTo>
                    <a:pt x="479" y="36"/>
                    <a:pt x="481" y="33"/>
                    <a:pt x="483" y="31"/>
                  </a:cubicBezTo>
                  <a:cubicBezTo>
                    <a:pt x="483" y="30"/>
                    <a:pt x="484" y="30"/>
                    <a:pt x="485" y="29"/>
                  </a:cubicBezTo>
                  <a:cubicBezTo>
                    <a:pt x="487" y="25"/>
                    <a:pt x="489" y="22"/>
                    <a:pt x="489" y="17"/>
                  </a:cubicBezTo>
                  <a:cubicBezTo>
                    <a:pt x="488" y="14"/>
                    <a:pt x="488" y="14"/>
                    <a:pt x="488" y="14"/>
                  </a:cubicBezTo>
                  <a:cubicBezTo>
                    <a:pt x="486" y="14"/>
                    <a:pt x="486" y="14"/>
                    <a:pt x="486" y="14"/>
                  </a:cubicBezTo>
                  <a:cubicBezTo>
                    <a:pt x="481" y="14"/>
                    <a:pt x="477" y="14"/>
                    <a:pt x="473" y="13"/>
                  </a:cubicBezTo>
                  <a:cubicBezTo>
                    <a:pt x="470" y="13"/>
                    <a:pt x="470" y="13"/>
                    <a:pt x="470" y="13"/>
                  </a:cubicBezTo>
                  <a:cubicBezTo>
                    <a:pt x="469" y="13"/>
                    <a:pt x="468" y="13"/>
                    <a:pt x="467" y="13"/>
                  </a:cubicBezTo>
                  <a:cubicBezTo>
                    <a:pt x="464" y="13"/>
                    <a:pt x="462" y="13"/>
                    <a:pt x="460" y="15"/>
                  </a:cubicBezTo>
                  <a:cubicBezTo>
                    <a:pt x="459" y="16"/>
                    <a:pt x="459" y="16"/>
                    <a:pt x="458" y="17"/>
                  </a:cubicBezTo>
                  <a:cubicBezTo>
                    <a:pt x="455" y="19"/>
                    <a:pt x="451" y="22"/>
                    <a:pt x="449" y="25"/>
                  </a:cubicBezTo>
                  <a:cubicBezTo>
                    <a:pt x="448" y="27"/>
                    <a:pt x="448" y="27"/>
                    <a:pt x="448" y="27"/>
                  </a:cubicBezTo>
                  <a:cubicBezTo>
                    <a:pt x="443" y="36"/>
                    <a:pt x="437" y="44"/>
                    <a:pt x="434" y="54"/>
                  </a:cubicBezTo>
                  <a:cubicBezTo>
                    <a:pt x="430" y="68"/>
                    <a:pt x="426" y="89"/>
                    <a:pt x="428" y="108"/>
                  </a:cubicBezTo>
                  <a:cubicBezTo>
                    <a:pt x="430" y="115"/>
                    <a:pt x="434" y="119"/>
                    <a:pt x="441" y="121"/>
                  </a:cubicBezTo>
                  <a:cubicBezTo>
                    <a:pt x="444" y="122"/>
                    <a:pt x="446" y="122"/>
                    <a:pt x="449" y="122"/>
                  </a:cubicBezTo>
                  <a:cubicBezTo>
                    <a:pt x="450" y="122"/>
                    <a:pt x="450" y="122"/>
                    <a:pt x="450" y="122"/>
                  </a:cubicBezTo>
                  <a:cubicBezTo>
                    <a:pt x="454" y="122"/>
                    <a:pt x="461" y="126"/>
                    <a:pt x="461" y="129"/>
                  </a:cubicBezTo>
                  <a:cubicBezTo>
                    <a:pt x="461" y="129"/>
                    <a:pt x="461" y="129"/>
                    <a:pt x="460" y="129"/>
                  </a:cubicBezTo>
                  <a:cubicBezTo>
                    <a:pt x="458" y="129"/>
                    <a:pt x="453" y="127"/>
                    <a:pt x="452" y="126"/>
                  </a:cubicBezTo>
                  <a:cubicBezTo>
                    <a:pt x="452" y="126"/>
                    <a:pt x="450" y="126"/>
                    <a:pt x="449" y="125"/>
                  </a:cubicBezTo>
                  <a:cubicBezTo>
                    <a:pt x="447" y="124"/>
                    <a:pt x="443" y="123"/>
                    <a:pt x="440" y="123"/>
                  </a:cubicBezTo>
                  <a:cubicBezTo>
                    <a:pt x="438" y="123"/>
                    <a:pt x="437" y="124"/>
                    <a:pt x="436" y="125"/>
                  </a:cubicBezTo>
                  <a:cubicBezTo>
                    <a:pt x="431" y="129"/>
                    <a:pt x="434" y="134"/>
                    <a:pt x="436" y="137"/>
                  </a:cubicBezTo>
                  <a:cubicBezTo>
                    <a:pt x="437" y="138"/>
                    <a:pt x="437" y="139"/>
                    <a:pt x="437" y="139"/>
                  </a:cubicBezTo>
                  <a:cubicBezTo>
                    <a:pt x="439" y="145"/>
                    <a:pt x="442" y="147"/>
                    <a:pt x="446" y="151"/>
                  </a:cubicBezTo>
                  <a:cubicBezTo>
                    <a:pt x="452" y="156"/>
                    <a:pt x="460" y="157"/>
                    <a:pt x="463" y="157"/>
                  </a:cubicBezTo>
                  <a:cubicBezTo>
                    <a:pt x="463" y="157"/>
                    <a:pt x="464" y="157"/>
                    <a:pt x="464" y="157"/>
                  </a:cubicBezTo>
                  <a:cubicBezTo>
                    <a:pt x="466" y="157"/>
                    <a:pt x="468" y="157"/>
                    <a:pt x="469" y="156"/>
                  </a:cubicBezTo>
                  <a:cubicBezTo>
                    <a:pt x="470" y="156"/>
                    <a:pt x="471" y="156"/>
                    <a:pt x="472" y="156"/>
                  </a:cubicBezTo>
                  <a:cubicBezTo>
                    <a:pt x="472" y="156"/>
                    <a:pt x="473" y="156"/>
                    <a:pt x="474" y="158"/>
                  </a:cubicBezTo>
                  <a:cubicBezTo>
                    <a:pt x="475" y="159"/>
                    <a:pt x="475" y="159"/>
                    <a:pt x="475" y="159"/>
                  </a:cubicBezTo>
                  <a:cubicBezTo>
                    <a:pt x="477" y="162"/>
                    <a:pt x="480" y="166"/>
                    <a:pt x="484" y="167"/>
                  </a:cubicBezTo>
                  <a:cubicBezTo>
                    <a:pt x="485" y="167"/>
                    <a:pt x="485" y="167"/>
                    <a:pt x="486" y="167"/>
                  </a:cubicBezTo>
                  <a:cubicBezTo>
                    <a:pt x="488" y="167"/>
                    <a:pt x="489" y="166"/>
                    <a:pt x="491" y="166"/>
                  </a:cubicBezTo>
                  <a:cubicBezTo>
                    <a:pt x="492" y="165"/>
                    <a:pt x="493" y="165"/>
                    <a:pt x="494" y="165"/>
                  </a:cubicBezTo>
                  <a:cubicBezTo>
                    <a:pt x="494" y="165"/>
                    <a:pt x="495" y="165"/>
                    <a:pt x="495" y="165"/>
                  </a:cubicBezTo>
                  <a:cubicBezTo>
                    <a:pt x="498" y="166"/>
                    <a:pt x="498" y="166"/>
                    <a:pt x="498" y="166"/>
                  </a:cubicBezTo>
                  <a:cubicBezTo>
                    <a:pt x="500" y="166"/>
                    <a:pt x="502" y="167"/>
                    <a:pt x="505" y="167"/>
                  </a:cubicBezTo>
                  <a:cubicBezTo>
                    <a:pt x="503" y="167"/>
                    <a:pt x="501" y="168"/>
                    <a:pt x="500" y="168"/>
                  </a:cubicBezTo>
                  <a:cubicBezTo>
                    <a:pt x="499" y="169"/>
                    <a:pt x="499" y="169"/>
                    <a:pt x="498" y="169"/>
                  </a:cubicBezTo>
                  <a:cubicBezTo>
                    <a:pt x="497" y="169"/>
                    <a:pt x="496" y="169"/>
                    <a:pt x="495" y="169"/>
                  </a:cubicBezTo>
                  <a:cubicBezTo>
                    <a:pt x="495" y="169"/>
                    <a:pt x="495" y="169"/>
                    <a:pt x="495" y="169"/>
                  </a:cubicBezTo>
                  <a:cubicBezTo>
                    <a:pt x="495" y="169"/>
                    <a:pt x="494" y="169"/>
                    <a:pt x="494" y="169"/>
                  </a:cubicBezTo>
                  <a:cubicBezTo>
                    <a:pt x="494" y="169"/>
                    <a:pt x="493" y="169"/>
                    <a:pt x="492" y="169"/>
                  </a:cubicBezTo>
                  <a:cubicBezTo>
                    <a:pt x="492" y="169"/>
                    <a:pt x="491" y="169"/>
                    <a:pt x="491" y="169"/>
                  </a:cubicBezTo>
                  <a:cubicBezTo>
                    <a:pt x="487" y="171"/>
                    <a:pt x="487" y="176"/>
                    <a:pt x="488" y="181"/>
                  </a:cubicBezTo>
                  <a:cubicBezTo>
                    <a:pt x="488" y="181"/>
                    <a:pt x="488" y="182"/>
                    <a:pt x="488" y="182"/>
                  </a:cubicBezTo>
                  <a:cubicBezTo>
                    <a:pt x="488" y="186"/>
                    <a:pt x="488" y="190"/>
                    <a:pt x="489" y="193"/>
                  </a:cubicBezTo>
                  <a:cubicBezTo>
                    <a:pt x="490" y="198"/>
                    <a:pt x="494" y="199"/>
                    <a:pt x="497" y="199"/>
                  </a:cubicBezTo>
                  <a:cubicBezTo>
                    <a:pt x="497" y="200"/>
                    <a:pt x="497" y="200"/>
                    <a:pt x="497" y="201"/>
                  </a:cubicBezTo>
                  <a:cubicBezTo>
                    <a:pt x="497" y="201"/>
                    <a:pt x="497" y="202"/>
                    <a:pt x="497" y="203"/>
                  </a:cubicBezTo>
                  <a:cubicBezTo>
                    <a:pt x="497" y="203"/>
                    <a:pt x="497" y="204"/>
                    <a:pt x="497" y="204"/>
                  </a:cubicBezTo>
                  <a:cubicBezTo>
                    <a:pt x="497" y="206"/>
                    <a:pt x="497" y="209"/>
                    <a:pt x="496" y="210"/>
                  </a:cubicBezTo>
                  <a:cubicBezTo>
                    <a:pt x="495" y="210"/>
                    <a:pt x="494" y="211"/>
                    <a:pt x="494" y="211"/>
                  </a:cubicBezTo>
                  <a:cubicBezTo>
                    <a:pt x="492" y="212"/>
                    <a:pt x="489" y="213"/>
                    <a:pt x="488" y="215"/>
                  </a:cubicBezTo>
                  <a:cubicBezTo>
                    <a:pt x="487" y="217"/>
                    <a:pt x="487" y="220"/>
                    <a:pt x="487" y="223"/>
                  </a:cubicBezTo>
                  <a:cubicBezTo>
                    <a:pt x="487" y="224"/>
                    <a:pt x="487" y="225"/>
                    <a:pt x="486" y="226"/>
                  </a:cubicBezTo>
                  <a:cubicBezTo>
                    <a:pt x="486" y="229"/>
                    <a:pt x="486" y="231"/>
                    <a:pt x="486" y="234"/>
                  </a:cubicBezTo>
                  <a:cubicBezTo>
                    <a:pt x="486" y="237"/>
                    <a:pt x="486" y="240"/>
                    <a:pt x="485" y="243"/>
                  </a:cubicBezTo>
                  <a:cubicBezTo>
                    <a:pt x="485" y="243"/>
                    <a:pt x="485" y="243"/>
                    <a:pt x="484" y="243"/>
                  </a:cubicBezTo>
                  <a:cubicBezTo>
                    <a:pt x="484" y="244"/>
                    <a:pt x="484" y="244"/>
                    <a:pt x="483" y="244"/>
                  </a:cubicBezTo>
                  <a:cubicBezTo>
                    <a:pt x="481" y="246"/>
                    <a:pt x="479" y="250"/>
                    <a:pt x="478" y="254"/>
                  </a:cubicBezTo>
                  <a:cubicBezTo>
                    <a:pt x="478" y="255"/>
                    <a:pt x="478" y="257"/>
                    <a:pt x="478" y="258"/>
                  </a:cubicBezTo>
                  <a:cubicBezTo>
                    <a:pt x="478" y="260"/>
                    <a:pt x="478" y="262"/>
                    <a:pt x="478" y="263"/>
                  </a:cubicBezTo>
                  <a:cubicBezTo>
                    <a:pt x="477" y="263"/>
                    <a:pt x="477" y="264"/>
                    <a:pt x="476" y="264"/>
                  </a:cubicBezTo>
                  <a:cubicBezTo>
                    <a:pt x="475" y="264"/>
                    <a:pt x="474" y="265"/>
                    <a:pt x="473" y="266"/>
                  </a:cubicBezTo>
                  <a:cubicBezTo>
                    <a:pt x="472" y="267"/>
                    <a:pt x="471" y="268"/>
                    <a:pt x="471" y="269"/>
                  </a:cubicBezTo>
                  <a:cubicBezTo>
                    <a:pt x="470" y="268"/>
                    <a:pt x="469" y="266"/>
                    <a:pt x="468" y="264"/>
                  </a:cubicBezTo>
                  <a:cubicBezTo>
                    <a:pt x="467" y="262"/>
                    <a:pt x="465" y="260"/>
                    <a:pt x="463" y="258"/>
                  </a:cubicBezTo>
                  <a:cubicBezTo>
                    <a:pt x="463" y="258"/>
                    <a:pt x="463" y="258"/>
                    <a:pt x="463" y="258"/>
                  </a:cubicBezTo>
                  <a:cubicBezTo>
                    <a:pt x="461" y="257"/>
                    <a:pt x="460" y="255"/>
                    <a:pt x="459" y="253"/>
                  </a:cubicBezTo>
                  <a:cubicBezTo>
                    <a:pt x="458" y="251"/>
                    <a:pt x="457" y="251"/>
                    <a:pt x="457" y="250"/>
                  </a:cubicBezTo>
                  <a:cubicBezTo>
                    <a:pt x="457" y="248"/>
                    <a:pt x="457" y="248"/>
                    <a:pt x="457" y="248"/>
                  </a:cubicBezTo>
                  <a:cubicBezTo>
                    <a:pt x="458" y="246"/>
                    <a:pt x="458" y="243"/>
                    <a:pt x="457" y="241"/>
                  </a:cubicBezTo>
                  <a:cubicBezTo>
                    <a:pt x="457" y="240"/>
                    <a:pt x="457" y="240"/>
                    <a:pt x="457" y="240"/>
                  </a:cubicBezTo>
                  <a:cubicBezTo>
                    <a:pt x="457" y="239"/>
                    <a:pt x="456" y="237"/>
                    <a:pt x="456" y="237"/>
                  </a:cubicBezTo>
                  <a:cubicBezTo>
                    <a:pt x="457" y="236"/>
                    <a:pt x="458" y="235"/>
                    <a:pt x="458" y="234"/>
                  </a:cubicBezTo>
                  <a:cubicBezTo>
                    <a:pt x="459" y="233"/>
                    <a:pt x="459" y="233"/>
                    <a:pt x="459" y="233"/>
                  </a:cubicBezTo>
                  <a:cubicBezTo>
                    <a:pt x="461" y="231"/>
                    <a:pt x="462" y="228"/>
                    <a:pt x="462" y="226"/>
                  </a:cubicBezTo>
                  <a:cubicBezTo>
                    <a:pt x="462" y="225"/>
                    <a:pt x="462" y="224"/>
                    <a:pt x="462" y="223"/>
                  </a:cubicBezTo>
                  <a:cubicBezTo>
                    <a:pt x="462" y="220"/>
                    <a:pt x="463" y="216"/>
                    <a:pt x="461" y="212"/>
                  </a:cubicBezTo>
                  <a:cubicBezTo>
                    <a:pt x="460" y="211"/>
                    <a:pt x="459" y="210"/>
                    <a:pt x="459" y="209"/>
                  </a:cubicBezTo>
                  <a:cubicBezTo>
                    <a:pt x="458" y="208"/>
                    <a:pt x="458" y="208"/>
                    <a:pt x="457" y="207"/>
                  </a:cubicBezTo>
                  <a:cubicBezTo>
                    <a:pt x="456" y="205"/>
                    <a:pt x="454" y="204"/>
                    <a:pt x="452" y="202"/>
                  </a:cubicBezTo>
                  <a:cubicBezTo>
                    <a:pt x="452" y="201"/>
                    <a:pt x="451" y="201"/>
                    <a:pt x="450" y="200"/>
                  </a:cubicBezTo>
                  <a:cubicBezTo>
                    <a:pt x="449" y="200"/>
                    <a:pt x="448" y="199"/>
                    <a:pt x="448" y="199"/>
                  </a:cubicBezTo>
                  <a:cubicBezTo>
                    <a:pt x="448" y="198"/>
                    <a:pt x="448" y="198"/>
                    <a:pt x="447" y="197"/>
                  </a:cubicBezTo>
                  <a:cubicBezTo>
                    <a:pt x="446" y="196"/>
                    <a:pt x="444" y="192"/>
                    <a:pt x="441" y="192"/>
                  </a:cubicBezTo>
                  <a:cubicBezTo>
                    <a:pt x="440" y="192"/>
                    <a:pt x="440" y="192"/>
                    <a:pt x="440" y="192"/>
                  </a:cubicBezTo>
                  <a:cubicBezTo>
                    <a:pt x="435" y="193"/>
                    <a:pt x="435" y="197"/>
                    <a:pt x="435" y="199"/>
                  </a:cubicBezTo>
                  <a:cubicBezTo>
                    <a:pt x="435" y="199"/>
                    <a:pt x="434" y="200"/>
                    <a:pt x="434" y="201"/>
                  </a:cubicBezTo>
                  <a:cubicBezTo>
                    <a:pt x="433" y="202"/>
                    <a:pt x="433" y="203"/>
                    <a:pt x="432" y="205"/>
                  </a:cubicBezTo>
                  <a:cubicBezTo>
                    <a:pt x="432" y="206"/>
                    <a:pt x="432" y="206"/>
                    <a:pt x="432" y="206"/>
                  </a:cubicBezTo>
                  <a:cubicBezTo>
                    <a:pt x="432" y="208"/>
                    <a:pt x="432" y="210"/>
                    <a:pt x="432" y="212"/>
                  </a:cubicBezTo>
                  <a:cubicBezTo>
                    <a:pt x="432" y="215"/>
                    <a:pt x="431" y="217"/>
                    <a:pt x="429" y="220"/>
                  </a:cubicBezTo>
                  <a:cubicBezTo>
                    <a:pt x="429" y="221"/>
                    <a:pt x="429" y="222"/>
                    <a:pt x="428" y="223"/>
                  </a:cubicBezTo>
                  <a:cubicBezTo>
                    <a:pt x="428" y="224"/>
                    <a:pt x="428" y="226"/>
                    <a:pt x="428" y="227"/>
                  </a:cubicBezTo>
                  <a:cubicBezTo>
                    <a:pt x="428" y="230"/>
                    <a:pt x="427" y="230"/>
                    <a:pt x="427" y="231"/>
                  </a:cubicBezTo>
                  <a:cubicBezTo>
                    <a:pt x="427" y="231"/>
                    <a:pt x="426" y="230"/>
                    <a:pt x="425" y="222"/>
                  </a:cubicBezTo>
                  <a:cubicBezTo>
                    <a:pt x="425" y="221"/>
                    <a:pt x="425" y="219"/>
                    <a:pt x="426" y="217"/>
                  </a:cubicBezTo>
                  <a:cubicBezTo>
                    <a:pt x="426" y="213"/>
                    <a:pt x="426" y="208"/>
                    <a:pt x="424" y="203"/>
                  </a:cubicBezTo>
                  <a:cubicBezTo>
                    <a:pt x="423" y="202"/>
                    <a:pt x="422" y="201"/>
                    <a:pt x="422" y="200"/>
                  </a:cubicBezTo>
                  <a:cubicBezTo>
                    <a:pt x="421" y="199"/>
                    <a:pt x="420" y="198"/>
                    <a:pt x="419" y="197"/>
                  </a:cubicBezTo>
                  <a:cubicBezTo>
                    <a:pt x="419" y="196"/>
                    <a:pt x="420" y="196"/>
                    <a:pt x="421" y="194"/>
                  </a:cubicBezTo>
                  <a:cubicBezTo>
                    <a:pt x="423" y="193"/>
                    <a:pt x="425" y="191"/>
                    <a:pt x="425" y="188"/>
                  </a:cubicBezTo>
                  <a:cubicBezTo>
                    <a:pt x="425" y="184"/>
                    <a:pt x="421" y="183"/>
                    <a:pt x="418" y="182"/>
                  </a:cubicBezTo>
                  <a:cubicBezTo>
                    <a:pt x="418" y="182"/>
                    <a:pt x="417" y="182"/>
                    <a:pt x="417" y="182"/>
                  </a:cubicBezTo>
                  <a:cubicBezTo>
                    <a:pt x="416" y="181"/>
                    <a:pt x="415" y="181"/>
                    <a:pt x="415" y="181"/>
                  </a:cubicBezTo>
                  <a:cubicBezTo>
                    <a:pt x="414" y="180"/>
                    <a:pt x="412" y="179"/>
                    <a:pt x="411" y="179"/>
                  </a:cubicBezTo>
                  <a:cubicBezTo>
                    <a:pt x="409" y="179"/>
                    <a:pt x="407" y="181"/>
                    <a:pt x="405" y="182"/>
                  </a:cubicBezTo>
                  <a:cubicBezTo>
                    <a:pt x="405" y="183"/>
                    <a:pt x="404" y="183"/>
                    <a:pt x="404" y="183"/>
                  </a:cubicBezTo>
                  <a:cubicBezTo>
                    <a:pt x="404" y="183"/>
                    <a:pt x="403" y="182"/>
                    <a:pt x="403" y="181"/>
                  </a:cubicBezTo>
                  <a:cubicBezTo>
                    <a:pt x="402" y="180"/>
                    <a:pt x="402" y="180"/>
                    <a:pt x="402" y="180"/>
                  </a:cubicBezTo>
                  <a:cubicBezTo>
                    <a:pt x="401" y="179"/>
                    <a:pt x="399" y="178"/>
                    <a:pt x="398" y="177"/>
                  </a:cubicBezTo>
                  <a:cubicBezTo>
                    <a:pt x="398" y="177"/>
                    <a:pt x="397" y="176"/>
                    <a:pt x="397" y="176"/>
                  </a:cubicBezTo>
                  <a:cubicBezTo>
                    <a:pt x="397" y="176"/>
                    <a:pt x="397" y="176"/>
                    <a:pt x="397" y="176"/>
                  </a:cubicBezTo>
                  <a:cubicBezTo>
                    <a:pt x="397" y="176"/>
                    <a:pt x="397" y="176"/>
                    <a:pt x="400" y="175"/>
                  </a:cubicBezTo>
                  <a:cubicBezTo>
                    <a:pt x="401" y="174"/>
                    <a:pt x="403" y="173"/>
                    <a:pt x="405" y="172"/>
                  </a:cubicBezTo>
                  <a:cubicBezTo>
                    <a:pt x="406" y="170"/>
                    <a:pt x="406" y="168"/>
                    <a:pt x="406" y="167"/>
                  </a:cubicBezTo>
                  <a:cubicBezTo>
                    <a:pt x="406" y="166"/>
                    <a:pt x="406" y="165"/>
                    <a:pt x="406" y="165"/>
                  </a:cubicBezTo>
                  <a:cubicBezTo>
                    <a:pt x="406" y="165"/>
                    <a:pt x="407" y="165"/>
                    <a:pt x="408" y="165"/>
                  </a:cubicBezTo>
                  <a:cubicBezTo>
                    <a:pt x="409" y="165"/>
                    <a:pt x="411" y="165"/>
                    <a:pt x="412" y="161"/>
                  </a:cubicBezTo>
                  <a:cubicBezTo>
                    <a:pt x="414" y="157"/>
                    <a:pt x="410" y="154"/>
                    <a:pt x="409" y="153"/>
                  </a:cubicBezTo>
                  <a:cubicBezTo>
                    <a:pt x="407" y="152"/>
                    <a:pt x="407" y="152"/>
                    <a:pt x="406" y="151"/>
                  </a:cubicBezTo>
                  <a:cubicBezTo>
                    <a:pt x="406" y="150"/>
                    <a:pt x="405" y="149"/>
                    <a:pt x="405" y="148"/>
                  </a:cubicBezTo>
                  <a:cubicBezTo>
                    <a:pt x="404" y="147"/>
                    <a:pt x="404" y="146"/>
                    <a:pt x="403" y="145"/>
                  </a:cubicBezTo>
                  <a:cubicBezTo>
                    <a:pt x="403" y="144"/>
                    <a:pt x="403" y="143"/>
                    <a:pt x="403" y="143"/>
                  </a:cubicBezTo>
                  <a:cubicBezTo>
                    <a:pt x="402" y="141"/>
                    <a:pt x="402" y="140"/>
                    <a:pt x="401" y="138"/>
                  </a:cubicBezTo>
                  <a:cubicBezTo>
                    <a:pt x="400" y="137"/>
                    <a:pt x="399" y="137"/>
                    <a:pt x="399" y="136"/>
                  </a:cubicBezTo>
                  <a:cubicBezTo>
                    <a:pt x="398" y="135"/>
                    <a:pt x="397" y="135"/>
                    <a:pt x="397" y="134"/>
                  </a:cubicBezTo>
                  <a:cubicBezTo>
                    <a:pt x="396" y="132"/>
                    <a:pt x="396" y="130"/>
                    <a:pt x="397" y="127"/>
                  </a:cubicBezTo>
                  <a:cubicBezTo>
                    <a:pt x="397" y="125"/>
                    <a:pt x="397" y="124"/>
                    <a:pt x="397" y="123"/>
                  </a:cubicBezTo>
                  <a:cubicBezTo>
                    <a:pt x="397" y="119"/>
                    <a:pt x="396" y="115"/>
                    <a:pt x="394" y="112"/>
                  </a:cubicBezTo>
                  <a:cubicBezTo>
                    <a:pt x="394" y="110"/>
                    <a:pt x="392" y="108"/>
                    <a:pt x="391" y="107"/>
                  </a:cubicBezTo>
                  <a:cubicBezTo>
                    <a:pt x="391" y="106"/>
                    <a:pt x="390" y="105"/>
                    <a:pt x="389" y="104"/>
                  </a:cubicBezTo>
                  <a:cubicBezTo>
                    <a:pt x="389" y="104"/>
                    <a:pt x="389" y="103"/>
                    <a:pt x="388" y="102"/>
                  </a:cubicBezTo>
                  <a:cubicBezTo>
                    <a:pt x="388" y="100"/>
                    <a:pt x="387" y="97"/>
                    <a:pt x="385" y="96"/>
                  </a:cubicBezTo>
                  <a:cubicBezTo>
                    <a:pt x="383" y="94"/>
                    <a:pt x="381" y="94"/>
                    <a:pt x="379" y="93"/>
                  </a:cubicBezTo>
                  <a:cubicBezTo>
                    <a:pt x="379" y="93"/>
                    <a:pt x="379" y="93"/>
                    <a:pt x="378" y="93"/>
                  </a:cubicBezTo>
                  <a:cubicBezTo>
                    <a:pt x="380" y="92"/>
                    <a:pt x="381" y="91"/>
                    <a:pt x="382" y="90"/>
                  </a:cubicBezTo>
                  <a:cubicBezTo>
                    <a:pt x="383" y="89"/>
                    <a:pt x="384" y="88"/>
                    <a:pt x="385" y="87"/>
                  </a:cubicBezTo>
                  <a:cubicBezTo>
                    <a:pt x="386" y="86"/>
                    <a:pt x="387" y="86"/>
                    <a:pt x="388" y="85"/>
                  </a:cubicBezTo>
                  <a:cubicBezTo>
                    <a:pt x="393" y="80"/>
                    <a:pt x="392" y="71"/>
                    <a:pt x="391" y="65"/>
                  </a:cubicBezTo>
                  <a:cubicBezTo>
                    <a:pt x="391" y="64"/>
                    <a:pt x="391" y="64"/>
                    <a:pt x="391" y="64"/>
                  </a:cubicBezTo>
                  <a:cubicBezTo>
                    <a:pt x="391" y="63"/>
                    <a:pt x="391" y="62"/>
                    <a:pt x="391" y="62"/>
                  </a:cubicBezTo>
                  <a:cubicBezTo>
                    <a:pt x="391" y="62"/>
                    <a:pt x="392" y="62"/>
                    <a:pt x="393" y="63"/>
                  </a:cubicBezTo>
                  <a:cubicBezTo>
                    <a:pt x="396" y="63"/>
                    <a:pt x="398" y="64"/>
                    <a:pt x="400" y="64"/>
                  </a:cubicBezTo>
                  <a:cubicBezTo>
                    <a:pt x="405" y="64"/>
                    <a:pt x="409" y="62"/>
                    <a:pt x="412" y="58"/>
                  </a:cubicBezTo>
                  <a:cubicBezTo>
                    <a:pt x="414" y="55"/>
                    <a:pt x="416" y="51"/>
                    <a:pt x="417" y="48"/>
                  </a:cubicBezTo>
                  <a:cubicBezTo>
                    <a:pt x="418" y="45"/>
                    <a:pt x="418" y="43"/>
                    <a:pt x="420" y="41"/>
                  </a:cubicBezTo>
                  <a:cubicBezTo>
                    <a:pt x="421" y="39"/>
                    <a:pt x="422" y="37"/>
                    <a:pt x="424" y="35"/>
                  </a:cubicBezTo>
                  <a:cubicBezTo>
                    <a:pt x="426" y="32"/>
                    <a:pt x="429" y="28"/>
                    <a:pt x="430" y="24"/>
                  </a:cubicBezTo>
                  <a:cubicBezTo>
                    <a:pt x="431" y="20"/>
                    <a:pt x="431" y="17"/>
                    <a:pt x="429" y="15"/>
                  </a:cubicBezTo>
                  <a:cubicBezTo>
                    <a:pt x="426" y="10"/>
                    <a:pt x="418" y="8"/>
                    <a:pt x="411" y="6"/>
                  </a:cubicBezTo>
                  <a:cubicBezTo>
                    <a:pt x="408" y="6"/>
                    <a:pt x="405" y="5"/>
                    <a:pt x="403" y="4"/>
                  </a:cubicBezTo>
                  <a:cubicBezTo>
                    <a:pt x="398" y="1"/>
                    <a:pt x="393" y="0"/>
                    <a:pt x="389" y="0"/>
                  </a:cubicBezTo>
                  <a:cubicBezTo>
                    <a:pt x="386" y="0"/>
                    <a:pt x="384" y="1"/>
                    <a:pt x="382" y="1"/>
                  </a:cubicBezTo>
                  <a:cubicBezTo>
                    <a:pt x="379" y="2"/>
                    <a:pt x="372" y="4"/>
                    <a:pt x="370" y="9"/>
                  </a:cubicBezTo>
                  <a:cubicBezTo>
                    <a:pt x="369" y="10"/>
                    <a:pt x="369" y="13"/>
                    <a:pt x="370" y="16"/>
                  </a:cubicBezTo>
                  <a:cubicBezTo>
                    <a:pt x="369" y="16"/>
                    <a:pt x="368" y="17"/>
                    <a:pt x="368" y="17"/>
                  </a:cubicBezTo>
                  <a:cubicBezTo>
                    <a:pt x="365" y="19"/>
                    <a:pt x="365" y="22"/>
                    <a:pt x="365" y="24"/>
                  </a:cubicBezTo>
                  <a:cubicBezTo>
                    <a:pt x="365" y="25"/>
                    <a:pt x="365" y="25"/>
                    <a:pt x="365" y="25"/>
                  </a:cubicBezTo>
                  <a:cubicBezTo>
                    <a:pt x="365" y="26"/>
                    <a:pt x="365" y="27"/>
                    <a:pt x="365" y="28"/>
                  </a:cubicBezTo>
                  <a:cubicBezTo>
                    <a:pt x="364" y="30"/>
                    <a:pt x="364" y="32"/>
                    <a:pt x="364" y="34"/>
                  </a:cubicBezTo>
                  <a:cubicBezTo>
                    <a:pt x="364" y="36"/>
                    <a:pt x="364" y="37"/>
                    <a:pt x="364" y="39"/>
                  </a:cubicBezTo>
                  <a:cubicBezTo>
                    <a:pt x="364" y="42"/>
                    <a:pt x="365" y="45"/>
                    <a:pt x="364" y="47"/>
                  </a:cubicBezTo>
                  <a:cubicBezTo>
                    <a:pt x="364" y="47"/>
                    <a:pt x="364" y="48"/>
                    <a:pt x="363" y="48"/>
                  </a:cubicBezTo>
                  <a:cubicBezTo>
                    <a:pt x="363" y="50"/>
                    <a:pt x="362" y="52"/>
                    <a:pt x="363" y="55"/>
                  </a:cubicBezTo>
                  <a:cubicBezTo>
                    <a:pt x="363" y="56"/>
                    <a:pt x="363" y="57"/>
                    <a:pt x="364" y="58"/>
                  </a:cubicBezTo>
                  <a:cubicBezTo>
                    <a:pt x="364" y="59"/>
                    <a:pt x="365" y="59"/>
                    <a:pt x="365" y="60"/>
                  </a:cubicBezTo>
                  <a:cubicBezTo>
                    <a:pt x="366" y="64"/>
                    <a:pt x="366" y="68"/>
                    <a:pt x="366" y="73"/>
                  </a:cubicBezTo>
                  <a:cubicBezTo>
                    <a:pt x="366" y="74"/>
                    <a:pt x="366" y="76"/>
                    <a:pt x="366" y="77"/>
                  </a:cubicBezTo>
                  <a:cubicBezTo>
                    <a:pt x="366" y="79"/>
                    <a:pt x="366" y="81"/>
                    <a:pt x="366" y="82"/>
                  </a:cubicBezTo>
                  <a:cubicBezTo>
                    <a:pt x="366" y="83"/>
                    <a:pt x="365" y="83"/>
                    <a:pt x="365" y="84"/>
                  </a:cubicBezTo>
                  <a:cubicBezTo>
                    <a:pt x="364" y="86"/>
                    <a:pt x="363" y="88"/>
                    <a:pt x="365" y="91"/>
                  </a:cubicBezTo>
                  <a:cubicBezTo>
                    <a:pt x="365" y="91"/>
                    <a:pt x="365" y="91"/>
                    <a:pt x="365" y="91"/>
                  </a:cubicBezTo>
                  <a:cubicBezTo>
                    <a:pt x="363" y="92"/>
                    <a:pt x="363" y="94"/>
                    <a:pt x="362" y="95"/>
                  </a:cubicBezTo>
                  <a:cubicBezTo>
                    <a:pt x="362" y="96"/>
                    <a:pt x="362" y="96"/>
                    <a:pt x="362" y="96"/>
                  </a:cubicBezTo>
                  <a:cubicBezTo>
                    <a:pt x="362" y="96"/>
                    <a:pt x="362" y="96"/>
                    <a:pt x="361" y="97"/>
                  </a:cubicBezTo>
                  <a:cubicBezTo>
                    <a:pt x="359" y="97"/>
                    <a:pt x="357" y="98"/>
                    <a:pt x="356" y="100"/>
                  </a:cubicBezTo>
                  <a:cubicBezTo>
                    <a:pt x="355" y="102"/>
                    <a:pt x="355" y="105"/>
                    <a:pt x="356" y="106"/>
                  </a:cubicBezTo>
                  <a:cubicBezTo>
                    <a:pt x="357" y="107"/>
                    <a:pt x="358" y="108"/>
                    <a:pt x="360" y="108"/>
                  </a:cubicBezTo>
                  <a:cubicBezTo>
                    <a:pt x="360" y="108"/>
                    <a:pt x="360" y="108"/>
                    <a:pt x="359" y="108"/>
                  </a:cubicBezTo>
                  <a:cubicBezTo>
                    <a:pt x="359" y="108"/>
                    <a:pt x="359" y="108"/>
                    <a:pt x="358" y="108"/>
                  </a:cubicBezTo>
                  <a:cubicBezTo>
                    <a:pt x="358" y="108"/>
                    <a:pt x="357" y="108"/>
                    <a:pt x="356" y="108"/>
                  </a:cubicBezTo>
                  <a:cubicBezTo>
                    <a:pt x="355" y="108"/>
                    <a:pt x="352" y="108"/>
                    <a:pt x="350" y="110"/>
                  </a:cubicBezTo>
                  <a:cubicBezTo>
                    <a:pt x="348" y="113"/>
                    <a:pt x="347" y="118"/>
                    <a:pt x="346" y="121"/>
                  </a:cubicBezTo>
                  <a:cubicBezTo>
                    <a:pt x="345" y="122"/>
                    <a:pt x="345" y="123"/>
                    <a:pt x="345" y="124"/>
                  </a:cubicBezTo>
                  <a:cubicBezTo>
                    <a:pt x="345" y="124"/>
                    <a:pt x="345" y="125"/>
                    <a:pt x="345" y="125"/>
                  </a:cubicBezTo>
                  <a:cubicBezTo>
                    <a:pt x="343" y="128"/>
                    <a:pt x="341" y="136"/>
                    <a:pt x="347" y="139"/>
                  </a:cubicBezTo>
                  <a:cubicBezTo>
                    <a:pt x="348" y="139"/>
                    <a:pt x="348" y="139"/>
                    <a:pt x="349" y="139"/>
                  </a:cubicBezTo>
                  <a:cubicBezTo>
                    <a:pt x="349" y="139"/>
                    <a:pt x="348" y="140"/>
                    <a:pt x="348" y="140"/>
                  </a:cubicBezTo>
                  <a:cubicBezTo>
                    <a:pt x="346" y="141"/>
                    <a:pt x="345" y="143"/>
                    <a:pt x="344" y="144"/>
                  </a:cubicBezTo>
                  <a:cubicBezTo>
                    <a:pt x="344" y="144"/>
                    <a:pt x="344" y="145"/>
                    <a:pt x="343" y="145"/>
                  </a:cubicBezTo>
                  <a:cubicBezTo>
                    <a:pt x="343" y="146"/>
                    <a:pt x="342" y="146"/>
                    <a:pt x="341" y="148"/>
                  </a:cubicBezTo>
                  <a:cubicBezTo>
                    <a:pt x="340" y="151"/>
                    <a:pt x="340" y="156"/>
                    <a:pt x="340" y="158"/>
                  </a:cubicBezTo>
                  <a:cubicBezTo>
                    <a:pt x="341" y="161"/>
                    <a:pt x="342" y="162"/>
                    <a:pt x="344" y="163"/>
                  </a:cubicBezTo>
                  <a:cubicBezTo>
                    <a:pt x="344" y="164"/>
                    <a:pt x="345" y="164"/>
                    <a:pt x="345" y="165"/>
                  </a:cubicBezTo>
                  <a:cubicBezTo>
                    <a:pt x="345" y="165"/>
                    <a:pt x="345" y="166"/>
                    <a:pt x="345" y="166"/>
                  </a:cubicBezTo>
                  <a:cubicBezTo>
                    <a:pt x="345" y="167"/>
                    <a:pt x="345" y="168"/>
                    <a:pt x="345" y="170"/>
                  </a:cubicBezTo>
                  <a:cubicBezTo>
                    <a:pt x="346" y="172"/>
                    <a:pt x="347" y="173"/>
                    <a:pt x="349" y="174"/>
                  </a:cubicBezTo>
                  <a:cubicBezTo>
                    <a:pt x="351" y="175"/>
                    <a:pt x="353" y="176"/>
                    <a:pt x="355" y="177"/>
                  </a:cubicBezTo>
                  <a:cubicBezTo>
                    <a:pt x="356" y="177"/>
                    <a:pt x="356" y="177"/>
                    <a:pt x="357" y="178"/>
                  </a:cubicBezTo>
                  <a:cubicBezTo>
                    <a:pt x="360" y="179"/>
                    <a:pt x="362" y="181"/>
                    <a:pt x="364" y="182"/>
                  </a:cubicBezTo>
                  <a:cubicBezTo>
                    <a:pt x="365" y="184"/>
                    <a:pt x="367" y="185"/>
                    <a:pt x="368" y="186"/>
                  </a:cubicBezTo>
                  <a:cubicBezTo>
                    <a:pt x="370" y="187"/>
                    <a:pt x="372" y="188"/>
                    <a:pt x="374" y="188"/>
                  </a:cubicBezTo>
                  <a:cubicBezTo>
                    <a:pt x="374" y="188"/>
                    <a:pt x="375" y="188"/>
                    <a:pt x="375" y="188"/>
                  </a:cubicBezTo>
                  <a:cubicBezTo>
                    <a:pt x="376" y="188"/>
                    <a:pt x="377" y="188"/>
                    <a:pt x="378" y="188"/>
                  </a:cubicBezTo>
                  <a:cubicBezTo>
                    <a:pt x="378" y="188"/>
                    <a:pt x="379" y="188"/>
                    <a:pt x="379" y="188"/>
                  </a:cubicBezTo>
                  <a:cubicBezTo>
                    <a:pt x="380" y="188"/>
                    <a:pt x="380" y="188"/>
                    <a:pt x="381" y="188"/>
                  </a:cubicBezTo>
                  <a:cubicBezTo>
                    <a:pt x="381" y="189"/>
                    <a:pt x="380" y="189"/>
                    <a:pt x="379" y="190"/>
                  </a:cubicBezTo>
                  <a:cubicBezTo>
                    <a:pt x="379" y="190"/>
                    <a:pt x="379" y="190"/>
                    <a:pt x="379" y="190"/>
                  </a:cubicBezTo>
                  <a:cubicBezTo>
                    <a:pt x="378" y="190"/>
                    <a:pt x="377" y="189"/>
                    <a:pt x="377" y="189"/>
                  </a:cubicBezTo>
                  <a:cubicBezTo>
                    <a:pt x="376" y="189"/>
                    <a:pt x="375" y="189"/>
                    <a:pt x="374" y="189"/>
                  </a:cubicBezTo>
                  <a:cubicBezTo>
                    <a:pt x="368" y="189"/>
                    <a:pt x="367" y="193"/>
                    <a:pt x="367" y="195"/>
                  </a:cubicBezTo>
                  <a:cubicBezTo>
                    <a:pt x="367" y="196"/>
                    <a:pt x="368" y="197"/>
                    <a:pt x="368" y="198"/>
                  </a:cubicBezTo>
                  <a:cubicBezTo>
                    <a:pt x="368" y="199"/>
                    <a:pt x="368" y="201"/>
                    <a:pt x="368" y="201"/>
                  </a:cubicBezTo>
                  <a:cubicBezTo>
                    <a:pt x="367" y="202"/>
                    <a:pt x="363" y="203"/>
                    <a:pt x="362" y="208"/>
                  </a:cubicBezTo>
                  <a:cubicBezTo>
                    <a:pt x="362" y="211"/>
                    <a:pt x="363" y="214"/>
                    <a:pt x="365" y="216"/>
                  </a:cubicBezTo>
                  <a:cubicBezTo>
                    <a:pt x="367" y="217"/>
                    <a:pt x="368" y="218"/>
                    <a:pt x="369" y="218"/>
                  </a:cubicBezTo>
                  <a:cubicBezTo>
                    <a:pt x="373" y="218"/>
                    <a:pt x="374" y="215"/>
                    <a:pt x="376" y="212"/>
                  </a:cubicBezTo>
                  <a:cubicBezTo>
                    <a:pt x="376" y="213"/>
                    <a:pt x="376" y="214"/>
                    <a:pt x="376" y="214"/>
                  </a:cubicBezTo>
                  <a:cubicBezTo>
                    <a:pt x="376" y="216"/>
                    <a:pt x="376" y="217"/>
                    <a:pt x="376" y="219"/>
                  </a:cubicBezTo>
                  <a:cubicBezTo>
                    <a:pt x="376" y="219"/>
                    <a:pt x="375" y="219"/>
                    <a:pt x="374" y="220"/>
                  </a:cubicBezTo>
                  <a:cubicBezTo>
                    <a:pt x="373" y="221"/>
                    <a:pt x="371" y="223"/>
                    <a:pt x="369" y="225"/>
                  </a:cubicBezTo>
                  <a:cubicBezTo>
                    <a:pt x="367" y="226"/>
                    <a:pt x="366" y="228"/>
                    <a:pt x="365" y="230"/>
                  </a:cubicBezTo>
                  <a:cubicBezTo>
                    <a:pt x="364" y="232"/>
                    <a:pt x="364" y="232"/>
                    <a:pt x="364" y="232"/>
                  </a:cubicBezTo>
                  <a:cubicBezTo>
                    <a:pt x="364" y="232"/>
                    <a:pt x="364" y="232"/>
                    <a:pt x="364" y="233"/>
                  </a:cubicBezTo>
                  <a:cubicBezTo>
                    <a:pt x="363" y="233"/>
                    <a:pt x="363" y="234"/>
                    <a:pt x="363" y="234"/>
                  </a:cubicBezTo>
                  <a:cubicBezTo>
                    <a:pt x="363" y="234"/>
                    <a:pt x="362" y="234"/>
                    <a:pt x="362" y="234"/>
                  </a:cubicBezTo>
                  <a:cubicBezTo>
                    <a:pt x="362" y="234"/>
                    <a:pt x="361" y="234"/>
                    <a:pt x="361" y="234"/>
                  </a:cubicBezTo>
                  <a:cubicBezTo>
                    <a:pt x="360" y="234"/>
                    <a:pt x="360" y="234"/>
                    <a:pt x="359" y="234"/>
                  </a:cubicBezTo>
                  <a:cubicBezTo>
                    <a:pt x="357" y="234"/>
                    <a:pt x="356" y="234"/>
                    <a:pt x="354" y="235"/>
                  </a:cubicBezTo>
                  <a:cubicBezTo>
                    <a:pt x="351" y="237"/>
                    <a:pt x="349" y="239"/>
                    <a:pt x="347" y="242"/>
                  </a:cubicBezTo>
                  <a:cubicBezTo>
                    <a:pt x="347" y="242"/>
                    <a:pt x="347" y="242"/>
                    <a:pt x="347" y="242"/>
                  </a:cubicBezTo>
                  <a:cubicBezTo>
                    <a:pt x="344" y="247"/>
                    <a:pt x="345" y="251"/>
                    <a:pt x="346" y="254"/>
                  </a:cubicBezTo>
                  <a:cubicBezTo>
                    <a:pt x="346" y="255"/>
                    <a:pt x="346" y="255"/>
                    <a:pt x="346" y="255"/>
                  </a:cubicBezTo>
                  <a:cubicBezTo>
                    <a:pt x="347" y="256"/>
                    <a:pt x="347" y="257"/>
                    <a:pt x="347" y="259"/>
                  </a:cubicBezTo>
                  <a:cubicBezTo>
                    <a:pt x="347" y="259"/>
                    <a:pt x="348" y="260"/>
                    <a:pt x="348" y="260"/>
                  </a:cubicBezTo>
                  <a:cubicBezTo>
                    <a:pt x="348" y="262"/>
                    <a:pt x="348" y="263"/>
                    <a:pt x="349" y="265"/>
                  </a:cubicBezTo>
                  <a:cubicBezTo>
                    <a:pt x="349" y="267"/>
                    <a:pt x="349" y="268"/>
                    <a:pt x="348" y="269"/>
                  </a:cubicBezTo>
                  <a:cubicBezTo>
                    <a:pt x="348" y="270"/>
                    <a:pt x="348" y="270"/>
                    <a:pt x="348" y="270"/>
                  </a:cubicBezTo>
                  <a:cubicBezTo>
                    <a:pt x="348" y="270"/>
                    <a:pt x="348" y="270"/>
                    <a:pt x="347" y="270"/>
                  </a:cubicBezTo>
                  <a:cubicBezTo>
                    <a:pt x="347" y="270"/>
                    <a:pt x="346" y="269"/>
                    <a:pt x="345" y="269"/>
                  </a:cubicBezTo>
                  <a:cubicBezTo>
                    <a:pt x="345" y="268"/>
                    <a:pt x="344" y="268"/>
                    <a:pt x="344" y="268"/>
                  </a:cubicBezTo>
                  <a:cubicBezTo>
                    <a:pt x="343" y="268"/>
                    <a:pt x="342" y="268"/>
                    <a:pt x="342" y="267"/>
                  </a:cubicBezTo>
                  <a:cubicBezTo>
                    <a:pt x="342" y="267"/>
                    <a:pt x="342" y="266"/>
                    <a:pt x="342" y="265"/>
                  </a:cubicBezTo>
                  <a:cubicBezTo>
                    <a:pt x="342" y="264"/>
                    <a:pt x="342" y="264"/>
                    <a:pt x="342" y="263"/>
                  </a:cubicBezTo>
                  <a:cubicBezTo>
                    <a:pt x="342" y="262"/>
                    <a:pt x="341" y="260"/>
                    <a:pt x="340" y="259"/>
                  </a:cubicBezTo>
                  <a:cubicBezTo>
                    <a:pt x="340" y="258"/>
                    <a:pt x="340" y="257"/>
                    <a:pt x="340" y="257"/>
                  </a:cubicBezTo>
                  <a:cubicBezTo>
                    <a:pt x="340" y="255"/>
                    <a:pt x="340" y="254"/>
                    <a:pt x="341" y="252"/>
                  </a:cubicBezTo>
                  <a:cubicBezTo>
                    <a:pt x="341" y="251"/>
                    <a:pt x="341" y="250"/>
                    <a:pt x="341" y="249"/>
                  </a:cubicBezTo>
                  <a:cubicBezTo>
                    <a:pt x="341" y="249"/>
                    <a:pt x="341" y="248"/>
                    <a:pt x="342" y="247"/>
                  </a:cubicBezTo>
                  <a:cubicBezTo>
                    <a:pt x="342" y="246"/>
                    <a:pt x="343" y="245"/>
                    <a:pt x="344" y="244"/>
                  </a:cubicBezTo>
                  <a:cubicBezTo>
                    <a:pt x="346" y="242"/>
                    <a:pt x="348" y="240"/>
                    <a:pt x="348" y="236"/>
                  </a:cubicBezTo>
                  <a:cubicBezTo>
                    <a:pt x="348" y="234"/>
                    <a:pt x="347" y="233"/>
                    <a:pt x="346" y="231"/>
                  </a:cubicBezTo>
                  <a:cubicBezTo>
                    <a:pt x="345" y="230"/>
                    <a:pt x="343" y="229"/>
                    <a:pt x="341" y="229"/>
                  </a:cubicBezTo>
                  <a:cubicBezTo>
                    <a:pt x="340" y="229"/>
                    <a:pt x="340" y="229"/>
                    <a:pt x="340" y="229"/>
                  </a:cubicBezTo>
                  <a:cubicBezTo>
                    <a:pt x="339" y="228"/>
                    <a:pt x="339" y="227"/>
                    <a:pt x="338" y="226"/>
                  </a:cubicBezTo>
                  <a:cubicBezTo>
                    <a:pt x="337" y="226"/>
                    <a:pt x="336" y="226"/>
                    <a:pt x="335" y="226"/>
                  </a:cubicBezTo>
                  <a:cubicBezTo>
                    <a:pt x="335" y="226"/>
                    <a:pt x="334" y="226"/>
                    <a:pt x="334" y="226"/>
                  </a:cubicBezTo>
                  <a:cubicBezTo>
                    <a:pt x="334" y="225"/>
                    <a:pt x="334" y="224"/>
                    <a:pt x="334" y="224"/>
                  </a:cubicBezTo>
                  <a:cubicBezTo>
                    <a:pt x="332" y="222"/>
                    <a:pt x="331" y="221"/>
                    <a:pt x="330" y="220"/>
                  </a:cubicBezTo>
                  <a:cubicBezTo>
                    <a:pt x="329" y="220"/>
                    <a:pt x="329" y="220"/>
                    <a:pt x="329" y="220"/>
                  </a:cubicBezTo>
                  <a:cubicBezTo>
                    <a:pt x="329" y="220"/>
                    <a:pt x="328" y="219"/>
                    <a:pt x="328" y="219"/>
                  </a:cubicBezTo>
                  <a:cubicBezTo>
                    <a:pt x="327" y="219"/>
                    <a:pt x="327" y="218"/>
                    <a:pt x="326" y="217"/>
                  </a:cubicBezTo>
                  <a:cubicBezTo>
                    <a:pt x="325" y="217"/>
                    <a:pt x="323" y="217"/>
                    <a:pt x="322" y="217"/>
                  </a:cubicBezTo>
                  <a:cubicBezTo>
                    <a:pt x="320" y="217"/>
                    <a:pt x="318" y="218"/>
                    <a:pt x="316" y="219"/>
                  </a:cubicBezTo>
                  <a:cubicBezTo>
                    <a:pt x="316" y="219"/>
                    <a:pt x="315" y="219"/>
                    <a:pt x="315" y="220"/>
                  </a:cubicBezTo>
                  <a:cubicBezTo>
                    <a:pt x="315" y="220"/>
                    <a:pt x="315" y="220"/>
                    <a:pt x="314" y="220"/>
                  </a:cubicBezTo>
                  <a:cubicBezTo>
                    <a:pt x="314" y="220"/>
                    <a:pt x="314" y="220"/>
                    <a:pt x="313" y="220"/>
                  </a:cubicBezTo>
                  <a:cubicBezTo>
                    <a:pt x="313" y="220"/>
                    <a:pt x="312" y="220"/>
                    <a:pt x="312" y="220"/>
                  </a:cubicBezTo>
                  <a:cubicBezTo>
                    <a:pt x="310" y="220"/>
                    <a:pt x="308" y="220"/>
                    <a:pt x="307" y="221"/>
                  </a:cubicBezTo>
                  <a:cubicBezTo>
                    <a:pt x="304" y="224"/>
                    <a:pt x="305" y="228"/>
                    <a:pt x="305" y="230"/>
                  </a:cubicBezTo>
                  <a:cubicBezTo>
                    <a:pt x="305" y="231"/>
                    <a:pt x="305" y="231"/>
                    <a:pt x="305" y="231"/>
                  </a:cubicBezTo>
                  <a:cubicBezTo>
                    <a:pt x="306" y="233"/>
                    <a:pt x="306" y="238"/>
                    <a:pt x="310" y="240"/>
                  </a:cubicBezTo>
                  <a:cubicBezTo>
                    <a:pt x="312" y="241"/>
                    <a:pt x="313" y="242"/>
                    <a:pt x="315" y="242"/>
                  </a:cubicBezTo>
                  <a:cubicBezTo>
                    <a:pt x="317" y="242"/>
                    <a:pt x="319" y="241"/>
                    <a:pt x="320" y="241"/>
                  </a:cubicBezTo>
                  <a:cubicBezTo>
                    <a:pt x="321" y="241"/>
                    <a:pt x="321" y="241"/>
                    <a:pt x="321" y="241"/>
                  </a:cubicBezTo>
                  <a:cubicBezTo>
                    <a:pt x="322" y="241"/>
                    <a:pt x="322" y="241"/>
                    <a:pt x="322" y="241"/>
                  </a:cubicBezTo>
                  <a:cubicBezTo>
                    <a:pt x="322" y="241"/>
                    <a:pt x="322" y="241"/>
                    <a:pt x="322" y="241"/>
                  </a:cubicBezTo>
                  <a:cubicBezTo>
                    <a:pt x="322" y="241"/>
                    <a:pt x="322" y="242"/>
                    <a:pt x="322" y="242"/>
                  </a:cubicBezTo>
                  <a:cubicBezTo>
                    <a:pt x="323" y="243"/>
                    <a:pt x="323" y="244"/>
                    <a:pt x="324" y="246"/>
                  </a:cubicBezTo>
                  <a:cubicBezTo>
                    <a:pt x="324" y="247"/>
                    <a:pt x="324" y="247"/>
                    <a:pt x="324" y="248"/>
                  </a:cubicBezTo>
                  <a:cubicBezTo>
                    <a:pt x="324" y="249"/>
                    <a:pt x="322" y="250"/>
                    <a:pt x="321" y="250"/>
                  </a:cubicBezTo>
                  <a:cubicBezTo>
                    <a:pt x="320" y="250"/>
                    <a:pt x="320" y="250"/>
                    <a:pt x="320" y="250"/>
                  </a:cubicBezTo>
                  <a:cubicBezTo>
                    <a:pt x="319" y="249"/>
                    <a:pt x="318" y="248"/>
                    <a:pt x="317" y="247"/>
                  </a:cubicBezTo>
                  <a:cubicBezTo>
                    <a:pt x="317" y="246"/>
                    <a:pt x="316" y="244"/>
                    <a:pt x="314" y="243"/>
                  </a:cubicBezTo>
                  <a:cubicBezTo>
                    <a:pt x="313" y="242"/>
                    <a:pt x="310" y="241"/>
                    <a:pt x="308" y="241"/>
                  </a:cubicBezTo>
                  <a:cubicBezTo>
                    <a:pt x="305" y="241"/>
                    <a:pt x="303" y="242"/>
                    <a:pt x="301" y="243"/>
                  </a:cubicBezTo>
                  <a:cubicBezTo>
                    <a:pt x="300" y="243"/>
                    <a:pt x="300" y="243"/>
                    <a:pt x="300" y="243"/>
                  </a:cubicBezTo>
                  <a:cubicBezTo>
                    <a:pt x="299" y="243"/>
                    <a:pt x="299" y="244"/>
                    <a:pt x="298" y="244"/>
                  </a:cubicBezTo>
                  <a:cubicBezTo>
                    <a:pt x="298" y="244"/>
                    <a:pt x="298" y="244"/>
                    <a:pt x="298" y="244"/>
                  </a:cubicBezTo>
                  <a:cubicBezTo>
                    <a:pt x="297" y="243"/>
                    <a:pt x="297" y="242"/>
                    <a:pt x="296" y="242"/>
                  </a:cubicBezTo>
                  <a:cubicBezTo>
                    <a:pt x="295" y="241"/>
                    <a:pt x="294" y="240"/>
                    <a:pt x="293" y="239"/>
                  </a:cubicBezTo>
                  <a:cubicBezTo>
                    <a:pt x="291" y="238"/>
                    <a:pt x="290" y="238"/>
                    <a:pt x="289" y="238"/>
                  </a:cubicBezTo>
                  <a:cubicBezTo>
                    <a:pt x="288" y="238"/>
                    <a:pt x="288" y="238"/>
                    <a:pt x="288" y="238"/>
                  </a:cubicBezTo>
                  <a:cubicBezTo>
                    <a:pt x="287" y="238"/>
                    <a:pt x="287" y="238"/>
                    <a:pt x="287" y="238"/>
                  </a:cubicBezTo>
                  <a:cubicBezTo>
                    <a:pt x="286" y="238"/>
                    <a:pt x="285" y="237"/>
                    <a:pt x="284" y="237"/>
                  </a:cubicBezTo>
                  <a:cubicBezTo>
                    <a:pt x="282" y="236"/>
                    <a:pt x="281" y="236"/>
                    <a:pt x="279" y="236"/>
                  </a:cubicBezTo>
                  <a:cubicBezTo>
                    <a:pt x="278" y="236"/>
                    <a:pt x="278" y="236"/>
                    <a:pt x="277" y="236"/>
                  </a:cubicBezTo>
                  <a:cubicBezTo>
                    <a:pt x="274" y="236"/>
                    <a:pt x="271" y="236"/>
                    <a:pt x="269" y="237"/>
                  </a:cubicBezTo>
                  <a:cubicBezTo>
                    <a:pt x="268" y="237"/>
                    <a:pt x="267" y="237"/>
                    <a:pt x="267" y="237"/>
                  </a:cubicBezTo>
                  <a:cubicBezTo>
                    <a:pt x="265" y="238"/>
                    <a:pt x="264" y="238"/>
                    <a:pt x="262" y="238"/>
                  </a:cubicBezTo>
                  <a:cubicBezTo>
                    <a:pt x="262" y="238"/>
                    <a:pt x="261" y="238"/>
                    <a:pt x="261" y="237"/>
                  </a:cubicBezTo>
                  <a:cubicBezTo>
                    <a:pt x="260" y="236"/>
                    <a:pt x="260" y="236"/>
                    <a:pt x="258" y="235"/>
                  </a:cubicBezTo>
                  <a:cubicBezTo>
                    <a:pt x="257" y="234"/>
                    <a:pt x="256" y="234"/>
                    <a:pt x="255" y="234"/>
                  </a:cubicBezTo>
                  <a:cubicBezTo>
                    <a:pt x="254" y="234"/>
                    <a:pt x="254" y="234"/>
                    <a:pt x="254" y="234"/>
                  </a:cubicBezTo>
                  <a:cubicBezTo>
                    <a:pt x="254" y="237"/>
                    <a:pt x="254" y="237"/>
                    <a:pt x="254" y="237"/>
                  </a:cubicBezTo>
                  <a:cubicBezTo>
                    <a:pt x="254" y="234"/>
                    <a:pt x="254" y="234"/>
                    <a:pt x="254" y="234"/>
                  </a:cubicBezTo>
                  <a:cubicBezTo>
                    <a:pt x="252" y="234"/>
                    <a:pt x="251" y="234"/>
                    <a:pt x="250" y="232"/>
                  </a:cubicBezTo>
                  <a:cubicBezTo>
                    <a:pt x="249" y="231"/>
                    <a:pt x="249" y="231"/>
                    <a:pt x="248" y="230"/>
                  </a:cubicBezTo>
                  <a:cubicBezTo>
                    <a:pt x="247" y="230"/>
                    <a:pt x="247" y="229"/>
                    <a:pt x="246" y="229"/>
                  </a:cubicBezTo>
                  <a:cubicBezTo>
                    <a:pt x="246" y="229"/>
                    <a:pt x="246" y="229"/>
                    <a:pt x="246" y="229"/>
                  </a:cubicBezTo>
                  <a:cubicBezTo>
                    <a:pt x="246" y="228"/>
                    <a:pt x="245" y="227"/>
                    <a:pt x="245" y="227"/>
                  </a:cubicBezTo>
                  <a:cubicBezTo>
                    <a:pt x="244" y="226"/>
                    <a:pt x="244" y="226"/>
                    <a:pt x="244" y="226"/>
                  </a:cubicBezTo>
                  <a:cubicBezTo>
                    <a:pt x="243" y="222"/>
                    <a:pt x="241" y="218"/>
                    <a:pt x="236" y="218"/>
                  </a:cubicBezTo>
                  <a:cubicBezTo>
                    <a:pt x="235" y="218"/>
                    <a:pt x="235" y="218"/>
                    <a:pt x="234" y="218"/>
                  </a:cubicBezTo>
                  <a:cubicBezTo>
                    <a:pt x="233" y="218"/>
                    <a:pt x="231" y="219"/>
                    <a:pt x="229" y="219"/>
                  </a:cubicBezTo>
                  <a:cubicBezTo>
                    <a:pt x="228" y="219"/>
                    <a:pt x="227" y="218"/>
                    <a:pt x="227" y="218"/>
                  </a:cubicBezTo>
                  <a:cubicBezTo>
                    <a:pt x="226" y="218"/>
                    <a:pt x="225" y="215"/>
                    <a:pt x="225" y="214"/>
                  </a:cubicBezTo>
                  <a:cubicBezTo>
                    <a:pt x="225" y="213"/>
                    <a:pt x="225" y="213"/>
                    <a:pt x="225" y="213"/>
                  </a:cubicBezTo>
                  <a:cubicBezTo>
                    <a:pt x="224" y="211"/>
                    <a:pt x="223" y="209"/>
                    <a:pt x="222" y="207"/>
                  </a:cubicBezTo>
                  <a:cubicBezTo>
                    <a:pt x="220" y="205"/>
                    <a:pt x="218" y="205"/>
                    <a:pt x="217" y="205"/>
                  </a:cubicBezTo>
                  <a:cubicBezTo>
                    <a:pt x="217" y="205"/>
                    <a:pt x="217" y="204"/>
                    <a:pt x="217" y="204"/>
                  </a:cubicBezTo>
                  <a:cubicBezTo>
                    <a:pt x="217" y="204"/>
                    <a:pt x="217" y="202"/>
                    <a:pt x="217" y="201"/>
                  </a:cubicBezTo>
                  <a:cubicBezTo>
                    <a:pt x="217" y="201"/>
                    <a:pt x="217" y="201"/>
                    <a:pt x="217" y="201"/>
                  </a:cubicBezTo>
                  <a:cubicBezTo>
                    <a:pt x="217" y="199"/>
                    <a:pt x="217" y="198"/>
                    <a:pt x="218" y="197"/>
                  </a:cubicBezTo>
                  <a:cubicBezTo>
                    <a:pt x="218" y="194"/>
                    <a:pt x="219" y="190"/>
                    <a:pt x="217" y="185"/>
                  </a:cubicBezTo>
                  <a:cubicBezTo>
                    <a:pt x="216" y="184"/>
                    <a:pt x="214" y="179"/>
                    <a:pt x="208" y="179"/>
                  </a:cubicBezTo>
                  <a:cubicBezTo>
                    <a:pt x="207" y="179"/>
                    <a:pt x="206" y="179"/>
                    <a:pt x="205" y="179"/>
                  </a:cubicBezTo>
                  <a:cubicBezTo>
                    <a:pt x="203" y="179"/>
                    <a:pt x="200" y="179"/>
                    <a:pt x="197" y="179"/>
                  </a:cubicBezTo>
                  <a:cubicBezTo>
                    <a:pt x="194" y="180"/>
                    <a:pt x="193" y="180"/>
                    <a:pt x="191" y="182"/>
                  </a:cubicBezTo>
                  <a:cubicBezTo>
                    <a:pt x="190" y="182"/>
                    <a:pt x="189" y="182"/>
                    <a:pt x="188" y="182"/>
                  </a:cubicBezTo>
                  <a:cubicBezTo>
                    <a:pt x="187" y="182"/>
                    <a:pt x="185" y="182"/>
                    <a:pt x="184" y="182"/>
                  </a:cubicBezTo>
                  <a:cubicBezTo>
                    <a:pt x="182" y="181"/>
                    <a:pt x="180" y="181"/>
                    <a:pt x="179" y="181"/>
                  </a:cubicBezTo>
                  <a:cubicBezTo>
                    <a:pt x="178" y="181"/>
                    <a:pt x="177" y="181"/>
                    <a:pt x="176" y="181"/>
                  </a:cubicBezTo>
                  <a:cubicBezTo>
                    <a:pt x="176" y="181"/>
                    <a:pt x="174" y="182"/>
                    <a:pt x="173" y="183"/>
                  </a:cubicBezTo>
                  <a:cubicBezTo>
                    <a:pt x="172" y="184"/>
                    <a:pt x="172" y="184"/>
                    <a:pt x="171" y="185"/>
                  </a:cubicBezTo>
                  <a:cubicBezTo>
                    <a:pt x="171" y="185"/>
                    <a:pt x="171" y="185"/>
                    <a:pt x="170" y="185"/>
                  </a:cubicBezTo>
                  <a:cubicBezTo>
                    <a:pt x="168" y="186"/>
                    <a:pt x="166" y="187"/>
                    <a:pt x="165" y="190"/>
                  </a:cubicBezTo>
                  <a:cubicBezTo>
                    <a:pt x="163" y="194"/>
                    <a:pt x="166" y="199"/>
                    <a:pt x="167" y="200"/>
                  </a:cubicBezTo>
                  <a:cubicBezTo>
                    <a:pt x="167" y="201"/>
                    <a:pt x="167" y="201"/>
                    <a:pt x="167" y="201"/>
                  </a:cubicBezTo>
                  <a:cubicBezTo>
                    <a:pt x="168" y="202"/>
                    <a:pt x="170" y="204"/>
                    <a:pt x="171" y="205"/>
                  </a:cubicBezTo>
                  <a:cubicBezTo>
                    <a:pt x="172" y="205"/>
                    <a:pt x="174" y="205"/>
                    <a:pt x="175" y="205"/>
                  </a:cubicBezTo>
                  <a:cubicBezTo>
                    <a:pt x="178" y="205"/>
                    <a:pt x="180" y="204"/>
                    <a:pt x="181" y="201"/>
                  </a:cubicBezTo>
                  <a:cubicBezTo>
                    <a:pt x="181" y="201"/>
                    <a:pt x="182" y="199"/>
                    <a:pt x="183" y="199"/>
                  </a:cubicBezTo>
                  <a:cubicBezTo>
                    <a:pt x="183" y="199"/>
                    <a:pt x="183" y="199"/>
                    <a:pt x="183" y="199"/>
                  </a:cubicBezTo>
                  <a:cubicBezTo>
                    <a:pt x="183" y="200"/>
                    <a:pt x="184" y="203"/>
                    <a:pt x="188" y="204"/>
                  </a:cubicBezTo>
                  <a:cubicBezTo>
                    <a:pt x="191" y="204"/>
                    <a:pt x="194" y="202"/>
                    <a:pt x="196" y="200"/>
                  </a:cubicBezTo>
                  <a:cubicBezTo>
                    <a:pt x="197" y="200"/>
                    <a:pt x="198" y="199"/>
                    <a:pt x="199" y="199"/>
                  </a:cubicBezTo>
                  <a:cubicBezTo>
                    <a:pt x="201" y="198"/>
                    <a:pt x="203" y="197"/>
                    <a:pt x="205" y="197"/>
                  </a:cubicBezTo>
                  <a:cubicBezTo>
                    <a:pt x="205" y="196"/>
                    <a:pt x="206" y="196"/>
                    <a:pt x="207" y="196"/>
                  </a:cubicBezTo>
                  <a:cubicBezTo>
                    <a:pt x="207" y="196"/>
                    <a:pt x="207" y="196"/>
                    <a:pt x="207" y="196"/>
                  </a:cubicBezTo>
                  <a:cubicBezTo>
                    <a:pt x="207" y="198"/>
                    <a:pt x="201" y="200"/>
                    <a:pt x="198" y="202"/>
                  </a:cubicBezTo>
                  <a:cubicBezTo>
                    <a:pt x="197" y="202"/>
                    <a:pt x="196" y="203"/>
                    <a:pt x="196" y="203"/>
                  </a:cubicBezTo>
                  <a:cubicBezTo>
                    <a:pt x="193" y="204"/>
                    <a:pt x="190" y="205"/>
                    <a:pt x="187" y="205"/>
                  </a:cubicBezTo>
                  <a:cubicBezTo>
                    <a:pt x="183" y="205"/>
                    <a:pt x="179" y="206"/>
                    <a:pt x="176" y="208"/>
                  </a:cubicBezTo>
                  <a:cubicBezTo>
                    <a:pt x="166" y="213"/>
                    <a:pt x="168" y="219"/>
                    <a:pt x="169" y="224"/>
                  </a:cubicBezTo>
                  <a:cubicBezTo>
                    <a:pt x="170" y="226"/>
                    <a:pt x="170" y="228"/>
                    <a:pt x="170" y="230"/>
                  </a:cubicBezTo>
                  <a:cubicBezTo>
                    <a:pt x="171" y="231"/>
                    <a:pt x="171" y="233"/>
                    <a:pt x="170" y="235"/>
                  </a:cubicBezTo>
                  <a:cubicBezTo>
                    <a:pt x="170" y="236"/>
                    <a:pt x="170" y="238"/>
                    <a:pt x="170" y="241"/>
                  </a:cubicBezTo>
                  <a:cubicBezTo>
                    <a:pt x="170" y="242"/>
                    <a:pt x="170" y="243"/>
                    <a:pt x="171" y="244"/>
                  </a:cubicBezTo>
                  <a:cubicBezTo>
                    <a:pt x="171" y="246"/>
                    <a:pt x="172" y="248"/>
                    <a:pt x="171" y="249"/>
                  </a:cubicBezTo>
                  <a:cubicBezTo>
                    <a:pt x="171" y="250"/>
                    <a:pt x="168" y="250"/>
                    <a:pt x="166" y="250"/>
                  </a:cubicBezTo>
                  <a:cubicBezTo>
                    <a:pt x="164" y="250"/>
                    <a:pt x="163" y="250"/>
                    <a:pt x="163" y="250"/>
                  </a:cubicBezTo>
                  <a:cubicBezTo>
                    <a:pt x="163" y="250"/>
                    <a:pt x="162" y="249"/>
                    <a:pt x="162" y="247"/>
                  </a:cubicBezTo>
                  <a:cubicBezTo>
                    <a:pt x="162" y="246"/>
                    <a:pt x="162" y="245"/>
                    <a:pt x="162" y="244"/>
                  </a:cubicBezTo>
                  <a:cubicBezTo>
                    <a:pt x="163" y="244"/>
                    <a:pt x="163" y="244"/>
                    <a:pt x="164" y="243"/>
                  </a:cubicBezTo>
                  <a:cubicBezTo>
                    <a:pt x="167" y="242"/>
                    <a:pt x="169" y="237"/>
                    <a:pt x="168" y="233"/>
                  </a:cubicBezTo>
                  <a:cubicBezTo>
                    <a:pt x="168" y="230"/>
                    <a:pt x="166" y="227"/>
                    <a:pt x="164" y="226"/>
                  </a:cubicBezTo>
                  <a:cubicBezTo>
                    <a:pt x="162" y="225"/>
                    <a:pt x="160" y="225"/>
                    <a:pt x="159" y="225"/>
                  </a:cubicBezTo>
                  <a:cubicBezTo>
                    <a:pt x="158" y="224"/>
                    <a:pt x="158" y="224"/>
                    <a:pt x="158" y="224"/>
                  </a:cubicBezTo>
                  <a:cubicBezTo>
                    <a:pt x="157" y="224"/>
                    <a:pt x="158" y="221"/>
                    <a:pt x="158" y="220"/>
                  </a:cubicBezTo>
                  <a:cubicBezTo>
                    <a:pt x="158" y="218"/>
                    <a:pt x="159" y="216"/>
                    <a:pt x="158" y="214"/>
                  </a:cubicBezTo>
                  <a:cubicBezTo>
                    <a:pt x="157" y="210"/>
                    <a:pt x="154" y="209"/>
                    <a:pt x="152" y="209"/>
                  </a:cubicBezTo>
                  <a:cubicBezTo>
                    <a:pt x="151" y="209"/>
                    <a:pt x="150" y="207"/>
                    <a:pt x="149" y="207"/>
                  </a:cubicBezTo>
                  <a:cubicBezTo>
                    <a:pt x="149" y="206"/>
                    <a:pt x="149" y="205"/>
                    <a:pt x="149" y="204"/>
                  </a:cubicBezTo>
                  <a:cubicBezTo>
                    <a:pt x="149" y="202"/>
                    <a:pt x="149" y="198"/>
                    <a:pt x="146" y="196"/>
                  </a:cubicBezTo>
                  <a:cubicBezTo>
                    <a:pt x="145" y="196"/>
                    <a:pt x="144" y="196"/>
                    <a:pt x="143" y="196"/>
                  </a:cubicBezTo>
                  <a:cubicBezTo>
                    <a:pt x="143" y="196"/>
                    <a:pt x="143" y="196"/>
                    <a:pt x="142" y="196"/>
                  </a:cubicBezTo>
                  <a:cubicBezTo>
                    <a:pt x="141" y="196"/>
                    <a:pt x="141" y="196"/>
                    <a:pt x="140" y="196"/>
                  </a:cubicBezTo>
                  <a:cubicBezTo>
                    <a:pt x="138" y="196"/>
                    <a:pt x="137" y="196"/>
                    <a:pt x="136" y="196"/>
                  </a:cubicBezTo>
                  <a:cubicBezTo>
                    <a:pt x="135" y="197"/>
                    <a:pt x="135" y="197"/>
                    <a:pt x="135" y="197"/>
                  </a:cubicBezTo>
                  <a:cubicBezTo>
                    <a:pt x="134" y="198"/>
                    <a:pt x="133" y="198"/>
                    <a:pt x="132" y="198"/>
                  </a:cubicBezTo>
                  <a:cubicBezTo>
                    <a:pt x="131" y="198"/>
                    <a:pt x="131" y="198"/>
                    <a:pt x="130" y="198"/>
                  </a:cubicBezTo>
                  <a:cubicBezTo>
                    <a:pt x="127" y="198"/>
                    <a:pt x="124" y="197"/>
                    <a:pt x="121" y="197"/>
                  </a:cubicBezTo>
                  <a:cubicBezTo>
                    <a:pt x="120" y="197"/>
                    <a:pt x="120" y="196"/>
                    <a:pt x="119" y="196"/>
                  </a:cubicBezTo>
                  <a:cubicBezTo>
                    <a:pt x="118" y="196"/>
                    <a:pt x="116" y="196"/>
                    <a:pt x="115" y="195"/>
                  </a:cubicBezTo>
                  <a:cubicBezTo>
                    <a:pt x="113" y="195"/>
                    <a:pt x="113" y="195"/>
                    <a:pt x="113" y="195"/>
                  </a:cubicBezTo>
                  <a:cubicBezTo>
                    <a:pt x="112" y="195"/>
                    <a:pt x="110" y="195"/>
                    <a:pt x="109" y="194"/>
                  </a:cubicBezTo>
                  <a:cubicBezTo>
                    <a:pt x="108" y="194"/>
                    <a:pt x="106" y="194"/>
                    <a:pt x="105" y="193"/>
                  </a:cubicBezTo>
                  <a:cubicBezTo>
                    <a:pt x="103" y="193"/>
                    <a:pt x="101" y="192"/>
                    <a:pt x="99" y="191"/>
                  </a:cubicBezTo>
                  <a:cubicBezTo>
                    <a:pt x="98" y="191"/>
                    <a:pt x="98" y="191"/>
                    <a:pt x="98" y="191"/>
                  </a:cubicBezTo>
                  <a:cubicBezTo>
                    <a:pt x="97" y="191"/>
                    <a:pt x="97" y="191"/>
                    <a:pt x="96" y="191"/>
                  </a:cubicBezTo>
                  <a:cubicBezTo>
                    <a:pt x="96" y="190"/>
                    <a:pt x="96" y="190"/>
                    <a:pt x="96" y="190"/>
                  </a:cubicBezTo>
                  <a:cubicBezTo>
                    <a:pt x="95" y="189"/>
                    <a:pt x="95" y="188"/>
                    <a:pt x="93" y="187"/>
                  </a:cubicBezTo>
                  <a:cubicBezTo>
                    <a:pt x="92" y="186"/>
                    <a:pt x="92" y="186"/>
                    <a:pt x="91" y="186"/>
                  </a:cubicBezTo>
                  <a:cubicBezTo>
                    <a:pt x="91" y="186"/>
                    <a:pt x="90" y="186"/>
                    <a:pt x="90" y="185"/>
                  </a:cubicBezTo>
                  <a:cubicBezTo>
                    <a:pt x="89" y="185"/>
                    <a:pt x="89" y="185"/>
                    <a:pt x="88" y="184"/>
                  </a:cubicBezTo>
                  <a:cubicBezTo>
                    <a:pt x="88" y="184"/>
                    <a:pt x="87" y="183"/>
                    <a:pt x="86" y="182"/>
                  </a:cubicBezTo>
                  <a:cubicBezTo>
                    <a:pt x="84" y="182"/>
                    <a:pt x="83" y="181"/>
                    <a:pt x="81" y="181"/>
                  </a:cubicBezTo>
                  <a:cubicBezTo>
                    <a:pt x="81" y="180"/>
                    <a:pt x="81" y="180"/>
                    <a:pt x="81" y="180"/>
                  </a:cubicBezTo>
                  <a:cubicBezTo>
                    <a:pt x="78" y="179"/>
                    <a:pt x="76" y="178"/>
                    <a:pt x="75" y="177"/>
                  </a:cubicBezTo>
                  <a:cubicBezTo>
                    <a:pt x="78" y="176"/>
                    <a:pt x="79" y="173"/>
                    <a:pt x="79" y="172"/>
                  </a:cubicBezTo>
                  <a:cubicBezTo>
                    <a:pt x="80" y="171"/>
                    <a:pt x="80" y="171"/>
                    <a:pt x="82" y="170"/>
                  </a:cubicBezTo>
                  <a:cubicBezTo>
                    <a:pt x="84" y="170"/>
                    <a:pt x="85" y="170"/>
                    <a:pt x="87" y="170"/>
                  </a:cubicBezTo>
                  <a:cubicBezTo>
                    <a:pt x="89" y="170"/>
                    <a:pt x="91" y="170"/>
                    <a:pt x="92" y="171"/>
                  </a:cubicBezTo>
                  <a:cubicBezTo>
                    <a:pt x="93" y="171"/>
                    <a:pt x="93" y="171"/>
                    <a:pt x="94" y="171"/>
                  </a:cubicBezTo>
                  <a:cubicBezTo>
                    <a:pt x="97" y="171"/>
                    <a:pt x="100" y="169"/>
                    <a:pt x="101" y="166"/>
                  </a:cubicBezTo>
                  <a:cubicBezTo>
                    <a:pt x="103" y="164"/>
                    <a:pt x="102" y="161"/>
                    <a:pt x="101" y="159"/>
                  </a:cubicBezTo>
                  <a:cubicBezTo>
                    <a:pt x="100" y="159"/>
                    <a:pt x="100" y="158"/>
                    <a:pt x="100" y="158"/>
                  </a:cubicBezTo>
                  <a:cubicBezTo>
                    <a:pt x="100" y="154"/>
                    <a:pt x="98" y="150"/>
                    <a:pt x="96" y="148"/>
                  </a:cubicBezTo>
                  <a:cubicBezTo>
                    <a:pt x="95" y="147"/>
                    <a:pt x="95" y="145"/>
                    <a:pt x="94" y="144"/>
                  </a:cubicBezTo>
                  <a:cubicBezTo>
                    <a:pt x="94" y="143"/>
                    <a:pt x="94" y="143"/>
                    <a:pt x="94" y="143"/>
                  </a:cubicBezTo>
                  <a:cubicBezTo>
                    <a:pt x="93" y="141"/>
                    <a:pt x="90" y="134"/>
                    <a:pt x="85" y="132"/>
                  </a:cubicBezTo>
                  <a:cubicBezTo>
                    <a:pt x="84" y="131"/>
                    <a:pt x="82" y="131"/>
                    <a:pt x="81" y="131"/>
                  </a:cubicBezTo>
                  <a:cubicBezTo>
                    <a:pt x="79" y="131"/>
                    <a:pt x="77" y="131"/>
                    <a:pt x="76" y="131"/>
                  </a:cubicBezTo>
                  <a:cubicBezTo>
                    <a:pt x="75" y="132"/>
                    <a:pt x="75" y="132"/>
                    <a:pt x="75" y="132"/>
                  </a:cubicBezTo>
                  <a:cubicBezTo>
                    <a:pt x="74" y="132"/>
                    <a:pt x="73" y="131"/>
                    <a:pt x="72" y="130"/>
                  </a:cubicBezTo>
                  <a:cubicBezTo>
                    <a:pt x="71" y="129"/>
                    <a:pt x="71" y="129"/>
                    <a:pt x="71" y="129"/>
                  </a:cubicBezTo>
                  <a:cubicBezTo>
                    <a:pt x="70" y="128"/>
                    <a:pt x="68" y="127"/>
                    <a:pt x="67" y="126"/>
                  </a:cubicBezTo>
                  <a:cubicBezTo>
                    <a:pt x="65" y="124"/>
                    <a:pt x="63" y="123"/>
                    <a:pt x="61" y="121"/>
                  </a:cubicBezTo>
                  <a:cubicBezTo>
                    <a:pt x="59" y="118"/>
                    <a:pt x="57" y="116"/>
                    <a:pt x="56" y="113"/>
                  </a:cubicBezTo>
                  <a:cubicBezTo>
                    <a:pt x="55" y="110"/>
                    <a:pt x="53" y="106"/>
                    <a:pt x="49" y="102"/>
                  </a:cubicBezTo>
                  <a:cubicBezTo>
                    <a:pt x="46" y="100"/>
                    <a:pt x="44" y="99"/>
                    <a:pt x="42" y="98"/>
                  </a:cubicBezTo>
                  <a:cubicBezTo>
                    <a:pt x="41" y="97"/>
                    <a:pt x="41" y="97"/>
                    <a:pt x="41" y="97"/>
                  </a:cubicBezTo>
                  <a:cubicBezTo>
                    <a:pt x="40" y="97"/>
                    <a:pt x="40" y="96"/>
                    <a:pt x="39" y="95"/>
                  </a:cubicBezTo>
                  <a:cubicBezTo>
                    <a:pt x="39" y="94"/>
                    <a:pt x="39" y="94"/>
                    <a:pt x="39" y="94"/>
                  </a:cubicBezTo>
                  <a:cubicBezTo>
                    <a:pt x="37" y="91"/>
                    <a:pt x="35" y="89"/>
                    <a:pt x="34" y="86"/>
                  </a:cubicBezTo>
                  <a:cubicBezTo>
                    <a:pt x="32" y="80"/>
                    <a:pt x="32" y="80"/>
                    <a:pt x="32" y="80"/>
                  </a:cubicBezTo>
                  <a:cubicBezTo>
                    <a:pt x="0" y="142"/>
                    <a:pt x="0" y="142"/>
                    <a:pt x="0" y="142"/>
                  </a:cubicBezTo>
                  <a:cubicBezTo>
                    <a:pt x="63" y="257"/>
                    <a:pt x="63" y="257"/>
                    <a:pt x="63" y="257"/>
                  </a:cubicBezTo>
                  <a:cubicBezTo>
                    <a:pt x="74" y="287"/>
                    <a:pt x="101" y="288"/>
                    <a:pt x="103" y="288"/>
                  </a:cubicBezTo>
                  <a:cubicBezTo>
                    <a:pt x="115" y="319"/>
                    <a:pt x="115" y="319"/>
                    <a:pt x="115" y="319"/>
                  </a:cubicBezTo>
                  <a:cubicBezTo>
                    <a:pt x="228" y="374"/>
                    <a:pt x="228" y="374"/>
                    <a:pt x="228" y="374"/>
                  </a:cubicBezTo>
                  <a:cubicBezTo>
                    <a:pt x="224" y="384"/>
                    <a:pt x="215" y="434"/>
                    <a:pt x="200" y="526"/>
                  </a:cubicBezTo>
                  <a:cubicBezTo>
                    <a:pt x="199" y="529"/>
                    <a:pt x="199" y="529"/>
                    <a:pt x="199" y="529"/>
                  </a:cubicBezTo>
                  <a:cubicBezTo>
                    <a:pt x="339" y="547"/>
                    <a:pt x="339" y="547"/>
                    <a:pt x="339" y="547"/>
                  </a:cubicBezTo>
                  <a:cubicBezTo>
                    <a:pt x="339" y="545"/>
                    <a:pt x="339" y="545"/>
                    <a:pt x="339" y="545"/>
                  </a:cubicBezTo>
                  <a:cubicBezTo>
                    <a:pt x="340" y="543"/>
                    <a:pt x="340" y="541"/>
                    <a:pt x="341" y="540"/>
                  </a:cubicBezTo>
                  <a:cubicBezTo>
                    <a:pt x="341" y="538"/>
                    <a:pt x="342" y="537"/>
                    <a:pt x="342" y="535"/>
                  </a:cubicBezTo>
                  <a:cubicBezTo>
                    <a:pt x="342" y="535"/>
                    <a:pt x="343" y="534"/>
                    <a:pt x="343" y="534"/>
                  </a:cubicBezTo>
                  <a:cubicBezTo>
                    <a:pt x="343" y="533"/>
                    <a:pt x="343" y="533"/>
                    <a:pt x="343" y="532"/>
                  </a:cubicBezTo>
                  <a:cubicBezTo>
                    <a:pt x="343" y="531"/>
                    <a:pt x="344" y="531"/>
                    <a:pt x="344" y="530"/>
                  </a:cubicBezTo>
                  <a:cubicBezTo>
                    <a:pt x="345" y="529"/>
                    <a:pt x="346" y="528"/>
                    <a:pt x="346" y="526"/>
                  </a:cubicBezTo>
                  <a:cubicBezTo>
                    <a:pt x="347" y="525"/>
                    <a:pt x="348" y="524"/>
                    <a:pt x="348" y="522"/>
                  </a:cubicBezTo>
                  <a:cubicBezTo>
                    <a:pt x="349" y="519"/>
                    <a:pt x="351" y="516"/>
                    <a:pt x="353" y="514"/>
                  </a:cubicBezTo>
                  <a:cubicBezTo>
                    <a:pt x="353" y="514"/>
                    <a:pt x="353" y="513"/>
                    <a:pt x="354" y="513"/>
                  </a:cubicBezTo>
                  <a:cubicBezTo>
                    <a:pt x="354" y="512"/>
                    <a:pt x="355" y="512"/>
                    <a:pt x="356" y="510"/>
                  </a:cubicBezTo>
                  <a:cubicBezTo>
                    <a:pt x="357" y="509"/>
                    <a:pt x="357" y="507"/>
                    <a:pt x="357" y="506"/>
                  </a:cubicBezTo>
                  <a:cubicBezTo>
                    <a:pt x="357" y="506"/>
                    <a:pt x="357" y="505"/>
                    <a:pt x="357" y="505"/>
                  </a:cubicBezTo>
                  <a:cubicBezTo>
                    <a:pt x="357" y="504"/>
                    <a:pt x="357" y="503"/>
                    <a:pt x="357" y="502"/>
                  </a:cubicBezTo>
                  <a:cubicBezTo>
                    <a:pt x="357" y="500"/>
                    <a:pt x="357" y="497"/>
                    <a:pt x="358" y="496"/>
                  </a:cubicBezTo>
                  <a:cubicBezTo>
                    <a:pt x="360" y="494"/>
                    <a:pt x="362" y="492"/>
                    <a:pt x="364" y="490"/>
                  </a:cubicBezTo>
                  <a:cubicBezTo>
                    <a:pt x="366" y="487"/>
                    <a:pt x="366" y="487"/>
                    <a:pt x="366" y="487"/>
                  </a:cubicBezTo>
                  <a:cubicBezTo>
                    <a:pt x="368" y="485"/>
                    <a:pt x="370" y="484"/>
                    <a:pt x="370" y="480"/>
                  </a:cubicBezTo>
                  <a:cubicBezTo>
                    <a:pt x="370" y="479"/>
                    <a:pt x="370" y="478"/>
                    <a:pt x="370" y="477"/>
                  </a:cubicBezTo>
                  <a:cubicBezTo>
                    <a:pt x="370" y="477"/>
                    <a:pt x="370" y="477"/>
                    <a:pt x="370" y="476"/>
                  </a:cubicBezTo>
                  <a:cubicBezTo>
                    <a:pt x="370" y="476"/>
                    <a:pt x="370" y="476"/>
                    <a:pt x="371" y="476"/>
                  </a:cubicBezTo>
                  <a:cubicBezTo>
                    <a:pt x="372" y="476"/>
                    <a:pt x="374" y="475"/>
                    <a:pt x="375" y="473"/>
                  </a:cubicBezTo>
                  <a:cubicBezTo>
                    <a:pt x="376" y="472"/>
                    <a:pt x="376" y="471"/>
                    <a:pt x="376" y="469"/>
                  </a:cubicBezTo>
                  <a:cubicBezTo>
                    <a:pt x="376" y="469"/>
                    <a:pt x="377" y="468"/>
                    <a:pt x="377" y="468"/>
                  </a:cubicBezTo>
                  <a:cubicBezTo>
                    <a:pt x="377" y="468"/>
                    <a:pt x="378" y="467"/>
                    <a:pt x="378" y="467"/>
                  </a:cubicBezTo>
                  <a:cubicBezTo>
                    <a:pt x="379" y="466"/>
                    <a:pt x="380" y="465"/>
                    <a:pt x="381" y="463"/>
                  </a:cubicBezTo>
                  <a:cubicBezTo>
                    <a:pt x="382" y="462"/>
                    <a:pt x="382" y="462"/>
                    <a:pt x="382" y="461"/>
                  </a:cubicBezTo>
                  <a:cubicBezTo>
                    <a:pt x="383" y="460"/>
                    <a:pt x="383" y="459"/>
                    <a:pt x="385" y="457"/>
                  </a:cubicBezTo>
                  <a:cubicBezTo>
                    <a:pt x="385" y="457"/>
                    <a:pt x="385" y="457"/>
                    <a:pt x="386" y="456"/>
                  </a:cubicBezTo>
                  <a:cubicBezTo>
                    <a:pt x="387" y="456"/>
                    <a:pt x="388" y="455"/>
                    <a:pt x="388" y="453"/>
                  </a:cubicBezTo>
                  <a:cubicBezTo>
                    <a:pt x="389" y="454"/>
                    <a:pt x="391" y="454"/>
                    <a:pt x="392" y="454"/>
                  </a:cubicBezTo>
                  <a:cubicBezTo>
                    <a:pt x="394" y="454"/>
                    <a:pt x="396" y="453"/>
                    <a:pt x="396" y="449"/>
                  </a:cubicBezTo>
                  <a:cubicBezTo>
                    <a:pt x="396" y="448"/>
                    <a:pt x="396" y="448"/>
                    <a:pt x="396" y="447"/>
                  </a:cubicBezTo>
                  <a:cubicBezTo>
                    <a:pt x="397" y="447"/>
                    <a:pt x="397" y="447"/>
                    <a:pt x="398" y="447"/>
                  </a:cubicBezTo>
                  <a:cubicBezTo>
                    <a:pt x="398" y="447"/>
                    <a:pt x="399" y="447"/>
                    <a:pt x="399" y="447"/>
                  </a:cubicBezTo>
                  <a:cubicBezTo>
                    <a:pt x="401" y="448"/>
                    <a:pt x="402" y="448"/>
                    <a:pt x="403" y="448"/>
                  </a:cubicBezTo>
                  <a:cubicBezTo>
                    <a:pt x="405" y="448"/>
                    <a:pt x="407" y="447"/>
                    <a:pt x="408" y="446"/>
                  </a:cubicBezTo>
                  <a:cubicBezTo>
                    <a:pt x="409" y="445"/>
                    <a:pt x="409" y="444"/>
                    <a:pt x="410" y="443"/>
                  </a:cubicBezTo>
                  <a:cubicBezTo>
                    <a:pt x="410" y="443"/>
                    <a:pt x="410" y="443"/>
                    <a:pt x="410" y="443"/>
                  </a:cubicBezTo>
                  <a:cubicBezTo>
                    <a:pt x="411" y="442"/>
                    <a:pt x="411" y="442"/>
                    <a:pt x="412" y="442"/>
                  </a:cubicBezTo>
                  <a:cubicBezTo>
                    <a:pt x="413" y="441"/>
                    <a:pt x="413" y="441"/>
                    <a:pt x="413" y="441"/>
                  </a:cubicBezTo>
                  <a:cubicBezTo>
                    <a:pt x="415" y="440"/>
                    <a:pt x="418" y="438"/>
                    <a:pt x="418" y="434"/>
                  </a:cubicBezTo>
                  <a:cubicBezTo>
                    <a:pt x="419" y="431"/>
                    <a:pt x="419" y="428"/>
                    <a:pt x="418" y="426"/>
                  </a:cubicBezTo>
                  <a:cubicBezTo>
                    <a:pt x="417" y="423"/>
                    <a:pt x="416" y="420"/>
                    <a:pt x="414" y="418"/>
                  </a:cubicBezTo>
                  <a:cubicBezTo>
                    <a:pt x="414" y="418"/>
                    <a:pt x="414" y="418"/>
                    <a:pt x="415" y="418"/>
                  </a:cubicBezTo>
                  <a:cubicBezTo>
                    <a:pt x="415" y="418"/>
                    <a:pt x="415" y="418"/>
                    <a:pt x="415" y="418"/>
                  </a:cubicBezTo>
                  <a:cubicBezTo>
                    <a:pt x="419" y="418"/>
                    <a:pt x="424" y="416"/>
                    <a:pt x="427" y="413"/>
                  </a:cubicBezTo>
                  <a:cubicBezTo>
                    <a:pt x="428" y="411"/>
                    <a:pt x="429" y="408"/>
                    <a:pt x="430" y="405"/>
                  </a:cubicBezTo>
                  <a:cubicBezTo>
                    <a:pt x="431" y="399"/>
                    <a:pt x="432" y="397"/>
                    <a:pt x="434" y="397"/>
                  </a:cubicBezTo>
                  <a:cubicBezTo>
                    <a:pt x="435" y="397"/>
                    <a:pt x="435" y="397"/>
                    <a:pt x="435" y="397"/>
                  </a:cubicBezTo>
                  <a:cubicBezTo>
                    <a:pt x="437" y="397"/>
                    <a:pt x="438" y="398"/>
                    <a:pt x="441" y="399"/>
                  </a:cubicBezTo>
                  <a:cubicBezTo>
                    <a:pt x="443" y="400"/>
                    <a:pt x="446" y="401"/>
                    <a:pt x="449" y="401"/>
                  </a:cubicBezTo>
                  <a:cubicBezTo>
                    <a:pt x="451" y="401"/>
                    <a:pt x="452" y="401"/>
                    <a:pt x="453" y="400"/>
                  </a:cubicBezTo>
                  <a:cubicBezTo>
                    <a:pt x="461" y="398"/>
                    <a:pt x="464" y="391"/>
                    <a:pt x="466" y="385"/>
                  </a:cubicBezTo>
                  <a:cubicBezTo>
                    <a:pt x="468" y="380"/>
                    <a:pt x="471" y="375"/>
                    <a:pt x="474" y="370"/>
                  </a:cubicBezTo>
                  <a:cubicBezTo>
                    <a:pt x="474" y="369"/>
                    <a:pt x="474" y="369"/>
                    <a:pt x="474" y="369"/>
                  </a:cubicBezTo>
                  <a:cubicBezTo>
                    <a:pt x="476" y="367"/>
                    <a:pt x="478" y="364"/>
                    <a:pt x="479" y="360"/>
                  </a:cubicBezTo>
                  <a:cubicBezTo>
                    <a:pt x="479" y="359"/>
                    <a:pt x="480" y="358"/>
                    <a:pt x="480" y="357"/>
                  </a:cubicBezTo>
                  <a:cubicBezTo>
                    <a:pt x="480" y="356"/>
                    <a:pt x="480" y="356"/>
                    <a:pt x="480" y="355"/>
                  </a:cubicBezTo>
                  <a:cubicBezTo>
                    <a:pt x="480" y="355"/>
                    <a:pt x="480" y="355"/>
                    <a:pt x="480" y="355"/>
                  </a:cubicBezTo>
                  <a:cubicBezTo>
                    <a:pt x="480" y="353"/>
                    <a:pt x="481" y="351"/>
                    <a:pt x="479" y="349"/>
                  </a:cubicBezTo>
                  <a:cubicBezTo>
                    <a:pt x="478" y="348"/>
                    <a:pt x="478" y="347"/>
                    <a:pt x="477" y="347"/>
                  </a:cubicBezTo>
                  <a:cubicBezTo>
                    <a:pt x="478" y="346"/>
                    <a:pt x="478" y="345"/>
                    <a:pt x="479" y="343"/>
                  </a:cubicBezTo>
                  <a:cubicBezTo>
                    <a:pt x="479" y="343"/>
                    <a:pt x="479" y="342"/>
                    <a:pt x="479" y="342"/>
                  </a:cubicBezTo>
                  <a:cubicBezTo>
                    <a:pt x="479" y="341"/>
                    <a:pt x="479" y="341"/>
                    <a:pt x="480" y="340"/>
                  </a:cubicBezTo>
                  <a:cubicBezTo>
                    <a:pt x="482" y="339"/>
                    <a:pt x="484" y="337"/>
                    <a:pt x="486" y="335"/>
                  </a:cubicBezTo>
                  <a:cubicBezTo>
                    <a:pt x="487" y="333"/>
                    <a:pt x="488" y="331"/>
                    <a:pt x="488" y="328"/>
                  </a:cubicBezTo>
                  <a:cubicBezTo>
                    <a:pt x="488" y="327"/>
                    <a:pt x="488" y="326"/>
                    <a:pt x="489" y="325"/>
                  </a:cubicBezTo>
                  <a:cubicBezTo>
                    <a:pt x="489" y="324"/>
                    <a:pt x="490" y="324"/>
                    <a:pt x="491" y="323"/>
                  </a:cubicBezTo>
                  <a:cubicBezTo>
                    <a:pt x="493" y="322"/>
                    <a:pt x="495" y="320"/>
                    <a:pt x="496" y="316"/>
                  </a:cubicBezTo>
                  <a:cubicBezTo>
                    <a:pt x="496" y="313"/>
                    <a:pt x="495" y="310"/>
                    <a:pt x="492" y="309"/>
                  </a:cubicBezTo>
                  <a:cubicBezTo>
                    <a:pt x="491" y="308"/>
                    <a:pt x="490" y="308"/>
                    <a:pt x="489" y="308"/>
                  </a:cubicBezTo>
                  <a:cubicBezTo>
                    <a:pt x="488" y="308"/>
                    <a:pt x="488" y="308"/>
                    <a:pt x="487" y="307"/>
                  </a:cubicBezTo>
                  <a:cubicBezTo>
                    <a:pt x="486" y="307"/>
                    <a:pt x="485" y="306"/>
                    <a:pt x="484" y="305"/>
                  </a:cubicBezTo>
                  <a:cubicBezTo>
                    <a:pt x="482" y="303"/>
                    <a:pt x="482" y="302"/>
                    <a:pt x="482" y="302"/>
                  </a:cubicBezTo>
                  <a:cubicBezTo>
                    <a:pt x="483" y="302"/>
                    <a:pt x="485" y="302"/>
                    <a:pt x="486" y="302"/>
                  </a:cubicBezTo>
                  <a:cubicBezTo>
                    <a:pt x="487" y="302"/>
                    <a:pt x="487" y="302"/>
                    <a:pt x="487" y="302"/>
                  </a:cubicBezTo>
                  <a:cubicBezTo>
                    <a:pt x="488" y="302"/>
                    <a:pt x="489" y="302"/>
                    <a:pt x="490" y="302"/>
                  </a:cubicBezTo>
                  <a:cubicBezTo>
                    <a:pt x="491" y="302"/>
                    <a:pt x="492" y="301"/>
                    <a:pt x="493" y="301"/>
                  </a:cubicBezTo>
                  <a:cubicBezTo>
                    <a:pt x="495" y="301"/>
                    <a:pt x="496" y="300"/>
                    <a:pt x="498" y="300"/>
                  </a:cubicBezTo>
                  <a:cubicBezTo>
                    <a:pt x="499" y="305"/>
                    <a:pt x="502" y="312"/>
                    <a:pt x="509" y="313"/>
                  </a:cubicBezTo>
                  <a:cubicBezTo>
                    <a:pt x="510" y="313"/>
                    <a:pt x="510" y="313"/>
                    <a:pt x="510" y="313"/>
                  </a:cubicBezTo>
                  <a:cubicBezTo>
                    <a:pt x="510" y="313"/>
                    <a:pt x="511" y="313"/>
                    <a:pt x="511" y="313"/>
                  </a:cubicBezTo>
                  <a:cubicBezTo>
                    <a:pt x="513" y="313"/>
                    <a:pt x="514" y="313"/>
                    <a:pt x="516" y="311"/>
                  </a:cubicBezTo>
                  <a:cubicBezTo>
                    <a:pt x="517" y="310"/>
                    <a:pt x="517" y="309"/>
                    <a:pt x="517" y="308"/>
                  </a:cubicBezTo>
                  <a:cubicBezTo>
                    <a:pt x="517" y="308"/>
                    <a:pt x="517" y="308"/>
                    <a:pt x="517" y="308"/>
                  </a:cubicBezTo>
                  <a:cubicBezTo>
                    <a:pt x="518" y="308"/>
                    <a:pt x="519" y="309"/>
                    <a:pt x="520" y="309"/>
                  </a:cubicBezTo>
                  <a:cubicBezTo>
                    <a:pt x="521" y="309"/>
                    <a:pt x="521" y="309"/>
                    <a:pt x="522" y="309"/>
                  </a:cubicBezTo>
                  <a:cubicBezTo>
                    <a:pt x="523" y="308"/>
                    <a:pt x="525" y="307"/>
                    <a:pt x="526" y="305"/>
                  </a:cubicBezTo>
                  <a:cubicBezTo>
                    <a:pt x="526" y="304"/>
                    <a:pt x="526" y="304"/>
                    <a:pt x="526" y="303"/>
                  </a:cubicBezTo>
                  <a:cubicBezTo>
                    <a:pt x="527" y="304"/>
                    <a:pt x="528" y="304"/>
                    <a:pt x="528" y="304"/>
                  </a:cubicBezTo>
                  <a:cubicBezTo>
                    <a:pt x="529" y="305"/>
                    <a:pt x="530" y="305"/>
                    <a:pt x="531" y="305"/>
                  </a:cubicBezTo>
                  <a:cubicBezTo>
                    <a:pt x="535" y="305"/>
                    <a:pt x="537" y="301"/>
                    <a:pt x="538" y="299"/>
                  </a:cubicBezTo>
                  <a:cubicBezTo>
                    <a:pt x="539" y="298"/>
                    <a:pt x="539" y="297"/>
                    <a:pt x="540" y="297"/>
                  </a:cubicBezTo>
                  <a:cubicBezTo>
                    <a:pt x="541" y="296"/>
                    <a:pt x="541" y="295"/>
                    <a:pt x="542" y="294"/>
                  </a:cubicBezTo>
                  <a:cubicBezTo>
                    <a:pt x="542" y="293"/>
                    <a:pt x="543" y="293"/>
                    <a:pt x="543" y="292"/>
                  </a:cubicBezTo>
                  <a:cubicBezTo>
                    <a:pt x="544" y="292"/>
                    <a:pt x="545" y="291"/>
                    <a:pt x="545" y="291"/>
                  </a:cubicBezTo>
                  <a:cubicBezTo>
                    <a:pt x="547" y="290"/>
                    <a:pt x="549" y="289"/>
                    <a:pt x="550" y="286"/>
                  </a:cubicBezTo>
                  <a:cubicBezTo>
                    <a:pt x="551" y="285"/>
                    <a:pt x="551" y="284"/>
                    <a:pt x="552" y="283"/>
                  </a:cubicBezTo>
                  <a:cubicBezTo>
                    <a:pt x="552" y="281"/>
                    <a:pt x="552" y="280"/>
                    <a:pt x="553" y="280"/>
                  </a:cubicBezTo>
                  <a:cubicBezTo>
                    <a:pt x="553" y="279"/>
                    <a:pt x="554" y="279"/>
                    <a:pt x="555" y="278"/>
                  </a:cubicBezTo>
                  <a:cubicBezTo>
                    <a:pt x="556" y="278"/>
                    <a:pt x="558" y="277"/>
                    <a:pt x="559" y="276"/>
                  </a:cubicBezTo>
                  <a:cubicBezTo>
                    <a:pt x="562" y="272"/>
                    <a:pt x="562" y="268"/>
                    <a:pt x="561" y="264"/>
                  </a:cubicBezTo>
                  <a:cubicBezTo>
                    <a:pt x="561" y="263"/>
                    <a:pt x="561" y="262"/>
                    <a:pt x="561" y="261"/>
                  </a:cubicBezTo>
                  <a:cubicBezTo>
                    <a:pt x="561" y="261"/>
                    <a:pt x="561" y="260"/>
                    <a:pt x="561" y="260"/>
                  </a:cubicBezTo>
                  <a:cubicBezTo>
                    <a:pt x="562" y="259"/>
                    <a:pt x="562" y="257"/>
                    <a:pt x="561" y="255"/>
                  </a:cubicBezTo>
                  <a:cubicBezTo>
                    <a:pt x="560" y="253"/>
                    <a:pt x="558" y="251"/>
                    <a:pt x="556" y="248"/>
                  </a:cubicBezTo>
                  <a:cubicBezTo>
                    <a:pt x="555" y="247"/>
                    <a:pt x="554" y="246"/>
                    <a:pt x="552" y="244"/>
                  </a:cubicBezTo>
                  <a:cubicBezTo>
                    <a:pt x="551" y="242"/>
                    <a:pt x="550" y="241"/>
                    <a:pt x="549" y="239"/>
                  </a:cubicBezTo>
                  <a:cubicBezTo>
                    <a:pt x="548" y="238"/>
                    <a:pt x="547" y="237"/>
                    <a:pt x="547" y="235"/>
                  </a:cubicBezTo>
                  <a:cubicBezTo>
                    <a:pt x="547" y="234"/>
                    <a:pt x="546" y="232"/>
                    <a:pt x="545" y="231"/>
                  </a:cubicBezTo>
                  <a:cubicBezTo>
                    <a:pt x="545" y="230"/>
                    <a:pt x="544" y="229"/>
                    <a:pt x="543" y="228"/>
                  </a:cubicBezTo>
                  <a:cubicBezTo>
                    <a:pt x="542" y="227"/>
                    <a:pt x="540" y="224"/>
                    <a:pt x="540" y="223"/>
                  </a:cubicBezTo>
                  <a:cubicBezTo>
                    <a:pt x="540" y="223"/>
                    <a:pt x="540" y="223"/>
                    <a:pt x="540" y="223"/>
                  </a:cubicBezTo>
                  <a:cubicBezTo>
                    <a:pt x="540" y="223"/>
                    <a:pt x="541" y="223"/>
                    <a:pt x="541" y="223"/>
                  </a:cubicBezTo>
                  <a:cubicBezTo>
                    <a:pt x="542" y="223"/>
                    <a:pt x="543" y="223"/>
                    <a:pt x="544" y="223"/>
                  </a:cubicBezTo>
                  <a:cubicBezTo>
                    <a:pt x="546" y="223"/>
                    <a:pt x="547" y="222"/>
                    <a:pt x="549" y="221"/>
                  </a:cubicBezTo>
                  <a:cubicBezTo>
                    <a:pt x="550" y="220"/>
                    <a:pt x="551" y="218"/>
                    <a:pt x="553" y="217"/>
                  </a:cubicBezTo>
                  <a:cubicBezTo>
                    <a:pt x="555" y="214"/>
                    <a:pt x="556" y="212"/>
                    <a:pt x="556" y="209"/>
                  </a:cubicBezTo>
                  <a:cubicBezTo>
                    <a:pt x="556" y="203"/>
                    <a:pt x="552" y="203"/>
                    <a:pt x="550" y="203"/>
                  </a:cubicBezTo>
                  <a:cubicBezTo>
                    <a:pt x="549" y="203"/>
                    <a:pt x="549" y="203"/>
                    <a:pt x="548" y="202"/>
                  </a:cubicBezTo>
                  <a:cubicBezTo>
                    <a:pt x="548" y="202"/>
                    <a:pt x="548" y="202"/>
                    <a:pt x="548" y="202"/>
                  </a:cubicBezTo>
                  <a:cubicBezTo>
                    <a:pt x="549" y="200"/>
                    <a:pt x="552" y="197"/>
                    <a:pt x="551" y="193"/>
                  </a:cubicBezTo>
                  <a:cubicBezTo>
                    <a:pt x="551" y="192"/>
                    <a:pt x="550" y="190"/>
                    <a:pt x="548" y="189"/>
                  </a:cubicBezTo>
                  <a:cubicBezTo>
                    <a:pt x="546" y="188"/>
                    <a:pt x="544" y="187"/>
                    <a:pt x="542" y="187"/>
                  </a:cubicBezTo>
                  <a:cubicBezTo>
                    <a:pt x="540" y="187"/>
                    <a:pt x="539" y="186"/>
                    <a:pt x="538" y="185"/>
                  </a:cubicBezTo>
                  <a:cubicBezTo>
                    <a:pt x="537" y="185"/>
                    <a:pt x="536" y="184"/>
                    <a:pt x="536" y="184"/>
                  </a:cubicBezTo>
                  <a:cubicBezTo>
                    <a:pt x="535" y="183"/>
                    <a:pt x="534" y="181"/>
                    <a:pt x="533" y="180"/>
                  </a:cubicBezTo>
                  <a:cubicBezTo>
                    <a:pt x="532" y="180"/>
                    <a:pt x="532" y="180"/>
                    <a:pt x="532" y="180"/>
                  </a:cubicBezTo>
                  <a:cubicBezTo>
                    <a:pt x="532" y="180"/>
                    <a:pt x="532" y="179"/>
                    <a:pt x="532" y="179"/>
                  </a:cubicBezTo>
                  <a:cubicBezTo>
                    <a:pt x="533" y="176"/>
                    <a:pt x="533" y="174"/>
                    <a:pt x="532" y="173"/>
                  </a:cubicBezTo>
                  <a:cubicBezTo>
                    <a:pt x="531" y="172"/>
                    <a:pt x="530" y="170"/>
                    <a:pt x="526" y="170"/>
                  </a:cubicBezTo>
                  <a:cubicBezTo>
                    <a:pt x="523" y="170"/>
                    <a:pt x="520" y="171"/>
                    <a:pt x="519" y="172"/>
                  </a:cubicBezTo>
                  <a:cubicBezTo>
                    <a:pt x="518" y="173"/>
                    <a:pt x="517" y="173"/>
                    <a:pt x="516" y="173"/>
                  </a:cubicBezTo>
                  <a:cubicBezTo>
                    <a:pt x="515" y="173"/>
                    <a:pt x="515" y="173"/>
                    <a:pt x="514" y="173"/>
                  </a:cubicBezTo>
                  <a:cubicBezTo>
                    <a:pt x="513" y="172"/>
                    <a:pt x="513" y="172"/>
                    <a:pt x="512" y="171"/>
                  </a:cubicBezTo>
                  <a:cubicBezTo>
                    <a:pt x="511" y="170"/>
                    <a:pt x="510" y="169"/>
                    <a:pt x="508" y="168"/>
                  </a:cubicBezTo>
                  <a:cubicBezTo>
                    <a:pt x="508" y="168"/>
                    <a:pt x="508" y="168"/>
                    <a:pt x="507" y="168"/>
                  </a:cubicBezTo>
                  <a:cubicBezTo>
                    <a:pt x="509" y="168"/>
                    <a:pt x="510" y="168"/>
                    <a:pt x="511" y="168"/>
                  </a:cubicBezTo>
                  <a:cubicBezTo>
                    <a:pt x="513" y="168"/>
                    <a:pt x="516" y="168"/>
                    <a:pt x="518" y="167"/>
                  </a:cubicBezTo>
                  <a:cubicBezTo>
                    <a:pt x="519" y="167"/>
                    <a:pt x="520" y="167"/>
                    <a:pt x="520" y="167"/>
                  </a:cubicBezTo>
                  <a:cubicBezTo>
                    <a:pt x="521" y="167"/>
                    <a:pt x="522" y="167"/>
                    <a:pt x="524" y="168"/>
                  </a:cubicBezTo>
                  <a:cubicBezTo>
                    <a:pt x="525" y="168"/>
                    <a:pt x="526" y="169"/>
                    <a:pt x="526" y="169"/>
                  </a:cubicBezTo>
                  <a:cubicBezTo>
                    <a:pt x="528" y="170"/>
                    <a:pt x="530" y="170"/>
                    <a:pt x="531" y="170"/>
                  </a:cubicBezTo>
                  <a:cubicBezTo>
                    <a:pt x="535" y="170"/>
                    <a:pt x="538" y="168"/>
                    <a:pt x="540" y="165"/>
                  </a:cubicBezTo>
                  <a:cubicBezTo>
                    <a:pt x="543" y="162"/>
                    <a:pt x="547" y="160"/>
                    <a:pt x="551" y="160"/>
                  </a:cubicBezTo>
                  <a:cubicBezTo>
                    <a:pt x="552" y="160"/>
                    <a:pt x="554" y="161"/>
                    <a:pt x="555" y="161"/>
                  </a:cubicBezTo>
                  <a:cubicBezTo>
                    <a:pt x="557" y="161"/>
                    <a:pt x="558" y="162"/>
                    <a:pt x="560" y="162"/>
                  </a:cubicBezTo>
                  <a:cubicBezTo>
                    <a:pt x="563" y="163"/>
                    <a:pt x="567" y="165"/>
                    <a:pt x="571" y="165"/>
                  </a:cubicBezTo>
                  <a:cubicBezTo>
                    <a:pt x="573" y="165"/>
                    <a:pt x="575" y="164"/>
                    <a:pt x="577" y="164"/>
                  </a:cubicBezTo>
                  <a:cubicBezTo>
                    <a:pt x="581" y="162"/>
                    <a:pt x="582" y="159"/>
                    <a:pt x="582" y="157"/>
                  </a:cubicBezTo>
                  <a:cubicBezTo>
                    <a:pt x="583" y="152"/>
                    <a:pt x="579" y="147"/>
                    <a:pt x="578" y="146"/>
                  </a:cubicBezTo>
                  <a:cubicBezTo>
                    <a:pt x="579" y="146"/>
                    <a:pt x="579" y="147"/>
                    <a:pt x="580" y="147"/>
                  </a:cubicBezTo>
                  <a:cubicBezTo>
                    <a:pt x="582" y="147"/>
                    <a:pt x="583" y="148"/>
                    <a:pt x="585" y="148"/>
                  </a:cubicBezTo>
                  <a:cubicBezTo>
                    <a:pt x="585" y="148"/>
                    <a:pt x="586" y="148"/>
                    <a:pt x="586" y="148"/>
                  </a:cubicBezTo>
                  <a:cubicBezTo>
                    <a:pt x="587" y="147"/>
                    <a:pt x="587" y="147"/>
                    <a:pt x="588" y="147"/>
                  </a:cubicBezTo>
                  <a:cubicBezTo>
                    <a:pt x="588" y="147"/>
                    <a:pt x="589" y="148"/>
                    <a:pt x="589" y="148"/>
                  </a:cubicBezTo>
                  <a:cubicBezTo>
                    <a:pt x="589" y="148"/>
                    <a:pt x="589" y="148"/>
                    <a:pt x="589" y="148"/>
                  </a:cubicBezTo>
                  <a:cubicBezTo>
                    <a:pt x="589" y="148"/>
                    <a:pt x="589" y="148"/>
                    <a:pt x="589" y="150"/>
                  </a:cubicBezTo>
                  <a:cubicBezTo>
                    <a:pt x="589" y="150"/>
                    <a:pt x="589" y="151"/>
                    <a:pt x="589" y="151"/>
                  </a:cubicBezTo>
                  <a:cubicBezTo>
                    <a:pt x="589" y="153"/>
                    <a:pt x="588" y="157"/>
                    <a:pt x="591" y="160"/>
                  </a:cubicBezTo>
                  <a:cubicBezTo>
                    <a:pt x="592" y="160"/>
                    <a:pt x="594" y="161"/>
                    <a:pt x="595" y="161"/>
                  </a:cubicBezTo>
                  <a:cubicBezTo>
                    <a:pt x="596" y="161"/>
                    <a:pt x="597" y="161"/>
                    <a:pt x="598" y="160"/>
                  </a:cubicBezTo>
                  <a:cubicBezTo>
                    <a:pt x="599" y="160"/>
                    <a:pt x="599" y="160"/>
                    <a:pt x="600" y="160"/>
                  </a:cubicBezTo>
                  <a:cubicBezTo>
                    <a:pt x="600" y="160"/>
                    <a:pt x="600" y="160"/>
                    <a:pt x="600" y="160"/>
                  </a:cubicBezTo>
                  <a:cubicBezTo>
                    <a:pt x="600" y="160"/>
                    <a:pt x="600" y="160"/>
                    <a:pt x="600" y="160"/>
                  </a:cubicBezTo>
                  <a:cubicBezTo>
                    <a:pt x="600" y="160"/>
                    <a:pt x="600" y="160"/>
                    <a:pt x="600" y="160"/>
                  </a:cubicBezTo>
                  <a:cubicBezTo>
                    <a:pt x="600" y="160"/>
                    <a:pt x="601" y="161"/>
                    <a:pt x="601" y="162"/>
                  </a:cubicBezTo>
                  <a:cubicBezTo>
                    <a:pt x="601" y="163"/>
                    <a:pt x="601" y="163"/>
                    <a:pt x="601" y="163"/>
                  </a:cubicBezTo>
                  <a:cubicBezTo>
                    <a:pt x="601" y="167"/>
                    <a:pt x="603" y="168"/>
                    <a:pt x="606" y="168"/>
                  </a:cubicBezTo>
                  <a:cubicBezTo>
                    <a:pt x="606" y="168"/>
                    <a:pt x="607" y="169"/>
                    <a:pt x="607" y="169"/>
                  </a:cubicBezTo>
                  <a:cubicBezTo>
                    <a:pt x="608" y="169"/>
                    <a:pt x="608" y="170"/>
                    <a:pt x="609" y="170"/>
                  </a:cubicBezTo>
                  <a:cubicBezTo>
                    <a:pt x="610" y="171"/>
                    <a:pt x="611" y="173"/>
                    <a:pt x="613" y="174"/>
                  </a:cubicBezTo>
                  <a:cubicBezTo>
                    <a:pt x="615" y="174"/>
                    <a:pt x="617" y="174"/>
                    <a:pt x="618" y="174"/>
                  </a:cubicBezTo>
                  <a:cubicBezTo>
                    <a:pt x="620" y="174"/>
                    <a:pt x="621" y="174"/>
                    <a:pt x="622" y="175"/>
                  </a:cubicBezTo>
                  <a:cubicBezTo>
                    <a:pt x="623" y="177"/>
                    <a:pt x="623" y="178"/>
                    <a:pt x="623" y="179"/>
                  </a:cubicBezTo>
                  <a:cubicBezTo>
                    <a:pt x="623" y="179"/>
                    <a:pt x="622" y="180"/>
                    <a:pt x="622" y="181"/>
                  </a:cubicBezTo>
                  <a:cubicBezTo>
                    <a:pt x="621" y="181"/>
                    <a:pt x="620" y="181"/>
                    <a:pt x="619" y="182"/>
                  </a:cubicBezTo>
                  <a:cubicBezTo>
                    <a:pt x="617" y="182"/>
                    <a:pt x="614" y="183"/>
                    <a:pt x="612" y="187"/>
                  </a:cubicBezTo>
                  <a:cubicBezTo>
                    <a:pt x="611" y="190"/>
                    <a:pt x="611" y="197"/>
                    <a:pt x="613" y="200"/>
                  </a:cubicBezTo>
                  <a:cubicBezTo>
                    <a:pt x="614" y="202"/>
                    <a:pt x="616" y="203"/>
                    <a:pt x="618" y="203"/>
                  </a:cubicBezTo>
                  <a:cubicBezTo>
                    <a:pt x="619" y="203"/>
                    <a:pt x="621" y="203"/>
                    <a:pt x="622" y="202"/>
                  </a:cubicBezTo>
                  <a:cubicBezTo>
                    <a:pt x="626" y="199"/>
                    <a:pt x="628" y="195"/>
                    <a:pt x="630" y="192"/>
                  </a:cubicBezTo>
                  <a:cubicBezTo>
                    <a:pt x="631" y="189"/>
                    <a:pt x="633" y="187"/>
                    <a:pt x="635" y="185"/>
                  </a:cubicBezTo>
                  <a:cubicBezTo>
                    <a:pt x="636" y="185"/>
                    <a:pt x="638" y="184"/>
                    <a:pt x="638" y="184"/>
                  </a:cubicBezTo>
                  <a:cubicBezTo>
                    <a:pt x="638" y="184"/>
                    <a:pt x="638" y="185"/>
                    <a:pt x="638" y="185"/>
                  </a:cubicBezTo>
                  <a:cubicBezTo>
                    <a:pt x="638" y="187"/>
                    <a:pt x="638" y="188"/>
                    <a:pt x="638" y="189"/>
                  </a:cubicBezTo>
                  <a:cubicBezTo>
                    <a:pt x="638" y="192"/>
                    <a:pt x="639" y="194"/>
                    <a:pt x="641" y="197"/>
                  </a:cubicBezTo>
                  <a:cubicBezTo>
                    <a:pt x="643" y="198"/>
                    <a:pt x="646" y="201"/>
                    <a:pt x="649" y="201"/>
                  </a:cubicBezTo>
                  <a:cubicBezTo>
                    <a:pt x="650" y="201"/>
                    <a:pt x="650" y="201"/>
                    <a:pt x="650" y="201"/>
                  </a:cubicBezTo>
                  <a:cubicBezTo>
                    <a:pt x="650" y="201"/>
                    <a:pt x="650" y="201"/>
                    <a:pt x="650" y="201"/>
                  </a:cubicBezTo>
                  <a:cubicBezTo>
                    <a:pt x="652" y="201"/>
                    <a:pt x="652" y="200"/>
                    <a:pt x="653" y="200"/>
                  </a:cubicBezTo>
                  <a:cubicBezTo>
                    <a:pt x="653" y="205"/>
                    <a:pt x="656" y="207"/>
                    <a:pt x="657" y="207"/>
                  </a:cubicBezTo>
                  <a:cubicBezTo>
                    <a:pt x="658" y="208"/>
                    <a:pt x="659" y="208"/>
                    <a:pt x="660" y="208"/>
                  </a:cubicBezTo>
                  <a:cubicBezTo>
                    <a:pt x="661" y="208"/>
                    <a:pt x="662" y="208"/>
                    <a:pt x="663" y="207"/>
                  </a:cubicBezTo>
                  <a:cubicBezTo>
                    <a:pt x="664" y="207"/>
                    <a:pt x="664" y="207"/>
                    <a:pt x="665" y="207"/>
                  </a:cubicBezTo>
                  <a:cubicBezTo>
                    <a:pt x="665" y="207"/>
                    <a:pt x="665" y="207"/>
                    <a:pt x="665" y="207"/>
                  </a:cubicBezTo>
                  <a:cubicBezTo>
                    <a:pt x="667" y="208"/>
                    <a:pt x="669" y="212"/>
                    <a:pt x="671" y="215"/>
                  </a:cubicBezTo>
                  <a:cubicBezTo>
                    <a:pt x="672" y="217"/>
                    <a:pt x="673" y="219"/>
                    <a:pt x="675" y="221"/>
                  </a:cubicBezTo>
                  <a:cubicBezTo>
                    <a:pt x="677" y="223"/>
                    <a:pt x="677" y="223"/>
                    <a:pt x="677" y="223"/>
                  </a:cubicBezTo>
                  <a:cubicBezTo>
                    <a:pt x="679" y="226"/>
                    <a:pt x="682" y="229"/>
                    <a:pt x="684" y="233"/>
                  </a:cubicBezTo>
                  <a:cubicBezTo>
                    <a:pt x="685" y="236"/>
                    <a:pt x="687" y="241"/>
                    <a:pt x="686" y="244"/>
                  </a:cubicBezTo>
                  <a:cubicBezTo>
                    <a:pt x="686" y="245"/>
                    <a:pt x="685" y="246"/>
                    <a:pt x="684" y="248"/>
                  </a:cubicBezTo>
                  <a:cubicBezTo>
                    <a:pt x="682" y="250"/>
                    <a:pt x="680" y="252"/>
                    <a:pt x="680" y="256"/>
                  </a:cubicBezTo>
                  <a:cubicBezTo>
                    <a:pt x="680" y="258"/>
                    <a:pt x="680" y="260"/>
                    <a:pt x="682" y="262"/>
                  </a:cubicBezTo>
                  <a:cubicBezTo>
                    <a:pt x="680" y="262"/>
                    <a:pt x="678" y="263"/>
                    <a:pt x="677" y="265"/>
                  </a:cubicBezTo>
                  <a:cubicBezTo>
                    <a:pt x="676" y="266"/>
                    <a:pt x="675" y="268"/>
                    <a:pt x="675" y="269"/>
                  </a:cubicBezTo>
                  <a:cubicBezTo>
                    <a:pt x="675" y="270"/>
                    <a:pt x="674" y="271"/>
                    <a:pt x="674" y="271"/>
                  </a:cubicBezTo>
                  <a:cubicBezTo>
                    <a:pt x="673" y="273"/>
                    <a:pt x="672" y="275"/>
                    <a:pt x="671" y="277"/>
                  </a:cubicBezTo>
                  <a:cubicBezTo>
                    <a:pt x="669" y="281"/>
                    <a:pt x="666" y="285"/>
                    <a:pt x="667" y="290"/>
                  </a:cubicBezTo>
                  <a:cubicBezTo>
                    <a:pt x="669" y="296"/>
                    <a:pt x="674" y="298"/>
                    <a:pt x="678" y="300"/>
                  </a:cubicBezTo>
                  <a:cubicBezTo>
                    <a:pt x="681" y="302"/>
                    <a:pt x="684" y="303"/>
                    <a:pt x="686" y="305"/>
                  </a:cubicBezTo>
                  <a:cubicBezTo>
                    <a:pt x="686" y="306"/>
                    <a:pt x="686" y="306"/>
                    <a:pt x="686" y="307"/>
                  </a:cubicBezTo>
                  <a:cubicBezTo>
                    <a:pt x="686" y="307"/>
                    <a:pt x="684" y="308"/>
                    <a:pt x="681" y="309"/>
                  </a:cubicBezTo>
                  <a:cubicBezTo>
                    <a:pt x="680" y="309"/>
                    <a:pt x="680" y="309"/>
                    <a:pt x="679" y="309"/>
                  </a:cubicBezTo>
                  <a:cubicBezTo>
                    <a:pt x="678" y="310"/>
                    <a:pt x="676" y="310"/>
                    <a:pt x="675" y="310"/>
                  </a:cubicBezTo>
                  <a:cubicBezTo>
                    <a:pt x="672" y="312"/>
                    <a:pt x="671" y="314"/>
                    <a:pt x="669" y="315"/>
                  </a:cubicBezTo>
                  <a:cubicBezTo>
                    <a:pt x="669" y="316"/>
                    <a:pt x="668" y="317"/>
                    <a:pt x="668" y="317"/>
                  </a:cubicBezTo>
                  <a:cubicBezTo>
                    <a:pt x="667" y="318"/>
                    <a:pt x="666" y="319"/>
                    <a:pt x="665" y="320"/>
                  </a:cubicBezTo>
                  <a:cubicBezTo>
                    <a:pt x="664" y="321"/>
                    <a:pt x="664" y="321"/>
                    <a:pt x="664" y="321"/>
                  </a:cubicBezTo>
                  <a:cubicBezTo>
                    <a:pt x="662" y="322"/>
                    <a:pt x="659" y="323"/>
                    <a:pt x="655" y="323"/>
                  </a:cubicBezTo>
                  <a:cubicBezTo>
                    <a:pt x="655" y="323"/>
                    <a:pt x="655" y="323"/>
                    <a:pt x="655" y="323"/>
                  </a:cubicBezTo>
                  <a:cubicBezTo>
                    <a:pt x="652" y="323"/>
                    <a:pt x="649" y="322"/>
                    <a:pt x="645" y="322"/>
                  </a:cubicBezTo>
                  <a:cubicBezTo>
                    <a:pt x="642" y="321"/>
                    <a:pt x="638" y="321"/>
                    <a:pt x="634" y="321"/>
                  </a:cubicBezTo>
                  <a:cubicBezTo>
                    <a:pt x="632" y="321"/>
                    <a:pt x="630" y="321"/>
                    <a:pt x="628" y="321"/>
                  </a:cubicBezTo>
                  <a:cubicBezTo>
                    <a:pt x="626" y="322"/>
                    <a:pt x="626" y="322"/>
                    <a:pt x="626" y="322"/>
                  </a:cubicBezTo>
                  <a:cubicBezTo>
                    <a:pt x="626" y="324"/>
                    <a:pt x="626" y="324"/>
                    <a:pt x="626" y="324"/>
                  </a:cubicBezTo>
                  <a:cubicBezTo>
                    <a:pt x="625" y="325"/>
                    <a:pt x="625" y="325"/>
                    <a:pt x="625" y="325"/>
                  </a:cubicBezTo>
                  <a:cubicBezTo>
                    <a:pt x="625" y="326"/>
                    <a:pt x="625" y="328"/>
                    <a:pt x="626" y="329"/>
                  </a:cubicBezTo>
                  <a:cubicBezTo>
                    <a:pt x="626" y="331"/>
                    <a:pt x="627" y="332"/>
                    <a:pt x="628" y="332"/>
                  </a:cubicBezTo>
                  <a:cubicBezTo>
                    <a:pt x="628" y="332"/>
                    <a:pt x="628" y="332"/>
                    <a:pt x="628" y="332"/>
                  </a:cubicBezTo>
                  <a:cubicBezTo>
                    <a:pt x="629" y="334"/>
                    <a:pt x="629" y="334"/>
                    <a:pt x="628" y="335"/>
                  </a:cubicBezTo>
                  <a:cubicBezTo>
                    <a:pt x="627" y="335"/>
                    <a:pt x="627" y="336"/>
                    <a:pt x="626" y="336"/>
                  </a:cubicBezTo>
                  <a:cubicBezTo>
                    <a:pt x="625" y="337"/>
                    <a:pt x="623" y="338"/>
                    <a:pt x="621" y="342"/>
                  </a:cubicBezTo>
                  <a:cubicBezTo>
                    <a:pt x="621" y="343"/>
                    <a:pt x="621" y="343"/>
                    <a:pt x="621" y="344"/>
                  </a:cubicBezTo>
                  <a:cubicBezTo>
                    <a:pt x="621" y="345"/>
                    <a:pt x="621" y="345"/>
                    <a:pt x="620" y="346"/>
                  </a:cubicBezTo>
                  <a:cubicBezTo>
                    <a:pt x="620" y="347"/>
                    <a:pt x="620" y="347"/>
                    <a:pt x="620" y="347"/>
                  </a:cubicBezTo>
                  <a:cubicBezTo>
                    <a:pt x="619" y="349"/>
                    <a:pt x="619" y="350"/>
                    <a:pt x="619" y="352"/>
                  </a:cubicBezTo>
                  <a:cubicBezTo>
                    <a:pt x="619" y="353"/>
                    <a:pt x="620" y="354"/>
                    <a:pt x="620" y="355"/>
                  </a:cubicBezTo>
                  <a:cubicBezTo>
                    <a:pt x="620" y="358"/>
                    <a:pt x="620" y="361"/>
                    <a:pt x="624" y="365"/>
                  </a:cubicBezTo>
                  <a:cubicBezTo>
                    <a:pt x="627" y="369"/>
                    <a:pt x="632" y="371"/>
                    <a:pt x="637" y="372"/>
                  </a:cubicBezTo>
                  <a:cubicBezTo>
                    <a:pt x="638" y="373"/>
                    <a:pt x="639" y="373"/>
                    <a:pt x="640" y="373"/>
                  </a:cubicBezTo>
                  <a:cubicBezTo>
                    <a:pt x="644" y="373"/>
                    <a:pt x="647" y="371"/>
                    <a:pt x="649" y="370"/>
                  </a:cubicBezTo>
                  <a:cubicBezTo>
                    <a:pt x="650" y="369"/>
                    <a:pt x="651" y="369"/>
                    <a:pt x="652" y="368"/>
                  </a:cubicBezTo>
                  <a:cubicBezTo>
                    <a:pt x="655" y="367"/>
                    <a:pt x="658" y="365"/>
                    <a:pt x="662" y="362"/>
                  </a:cubicBezTo>
                  <a:cubicBezTo>
                    <a:pt x="664" y="360"/>
                    <a:pt x="665" y="358"/>
                    <a:pt x="665" y="357"/>
                  </a:cubicBezTo>
                  <a:cubicBezTo>
                    <a:pt x="666" y="356"/>
                    <a:pt x="666" y="355"/>
                    <a:pt x="666" y="355"/>
                  </a:cubicBezTo>
                  <a:cubicBezTo>
                    <a:pt x="667" y="355"/>
                    <a:pt x="667" y="355"/>
                    <a:pt x="667" y="355"/>
                  </a:cubicBezTo>
                  <a:cubicBezTo>
                    <a:pt x="668" y="355"/>
                    <a:pt x="669" y="355"/>
                    <a:pt x="670" y="356"/>
                  </a:cubicBezTo>
                  <a:cubicBezTo>
                    <a:pt x="671" y="356"/>
                    <a:pt x="671" y="356"/>
                    <a:pt x="671" y="356"/>
                  </a:cubicBezTo>
                  <a:cubicBezTo>
                    <a:pt x="673" y="356"/>
                    <a:pt x="675" y="357"/>
                    <a:pt x="676" y="357"/>
                  </a:cubicBezTo>
                  <a:cubicBezTo>
                    <a:pt x="680" y="357"/>
                    <a:pt x="684" y="355"/>
                    <a:pt x="685" y="353"/>
                  </a:cubicBezTo>
                  <a:cubicBezTo>
                    <a:pt x="686" y="351"/>
                    <a:pt x="686" y="350"/>
                    <a:pt x="685" y="348"/>
                  </a:cubicBezTo>
                  <a:cubicBezTo>
                    <a:pt x="686" y="347"/>
                    <a:pt x="686" y="347"/>
                    <a:pt x="686" y="347"/>
                  </a:cubicBezTo>
                  <a:cubicBezTo>
                    <a:pt x="687" y="348"/>
                    <a:pt x="688" y="350"/>
                    <a:pt x="691" y="351"/>
                  </a:cubicBezTo>
                  <a:cubicBezTo>
                    <a:pt x="691" y="351"/>
                    <a:pt x="691" y="351"/>
                    <a:pt x="691" y="351"/>
                  </a:cubicBezTo>
                  <a:cubicBezTo>
                    <a:pt x="692" y="351"/>
                    <a:pt x="692" y="351"/>
                    <a:pt x="692" y="351"/>
                  </a:cubicBezTo>
                  <a:cubicBezTo>
                    <a:pt x="695" y="351"/>
                    <a:pt x="696" y="348"/>
                    <a:pt x="697" y="347"/>
                  </a:cubicBezTo>
                  <a:cubicBezTo>
                    <a:pt x="697" y="346"/>
                    <a:pt x="697" y="346"/>
                    <a:pt x="697" y="346"/>
                  </a:cubicBezTo>
                  <a:cubicBezTo>
                    <a:pt x="698" y="346"/>
                    <a:pt x="698" y="347"/>
                    <a:pt x="698" y="348"/>
                  </a:cubicBezTo>
                  <a:cubicBezTo>
                    <a:pt x="699" y="348"/>
                    <a:pt x="699" y="348"/>
                    <a:pt x="699" y="348"/>
                  </a:cubicBezTo>
                  <a:cubicBezTo>
                    <a:pt x="700" y="350"/>
                    <a:pt x="702" y="352"/>
                    <a:pt x="703" y="353"/>
                  </a:cubicBezTo>
                  <a:cubicBezTo>
                    <a:pt x="704" y="354"/>
                    <a:pt x="704" y="354"/>
                    <a:pt x="705" y="355"/>
                  </a:cubicBezTo>
                  <a:cubicBezTo>
                    <a:pt x="707" y="357"/>
                    <a:pt x="709" y="358"/>
                    <a:pt x="711" y="359"/>
                  </a:cubicBezTo>
                  <a:cubicBezTo>
                    <a:pt x="713" y="360"/>
                    <a:pt x="713" y="360"/>
                    <a:pt x="713" y="360"/>
                  </a:cubicBezTo>
                  <a:cubicBezTo>
                    <a:pt x="715" y="361"/>
                    <a:pt x="716" y="362"/>
                    <a:pt x="717" y="364"/>
                  </a:cubicBezTo>
                  <a:cubicBezTo>
                    <a:pt x="717" y="364"/>
                    <a:pt x="717" y="364"/>
                    <a:pt x="717" y="364"/>
                  </a:cubicBezTo>
                  <a:cubicBezTo>
                    <a:pt x="719" y="367"/>
                    <a:pt x="721" y="368"/>
                    <a:pt x="724" y="368"/>
                  </a:cubicBezTo>
                  <a:cubicBezTo>
                    <a:pt x="724" y="368"/>
                    <a:pt x="725" y="368"/>
                    <a:pt x="726" y="368"/>
                  </a:cubicBezTo>
                  <a:cubicBezTo>
                    <a:pt x="727" y="368"/>
                    <a:pt x="727" y="368"/>
                    <a:pt x="728" y="369"/>
                  </a:cubicBezTo>
                  <a:cubicBezTo>
                    <a:pt x="729" y="369"/>
                    <a:pt x="731" y="370"/>
                    <a:pt x="733" y="370"/>
                  </a:cubicBezTo>
                  <a:cubicBezTo>
                    <a:pt x="733" y="370"/>
                    <a:pt x="733" y="370"/>
                    <a:pt x="733" y="370"/>
                  </a:cubicBezTo>
                  <a:cubicBezTo>
                    <a:pt x="734" y="370"/>
                    <a:pt x="735" y="370"/>
                    <a:pt x="737" y="370"/>
                  </a:cubicBezTo>
                  <a:cubicBezTo>
                    <a:pt x="739" y="370"/>
                    <a:pt x="740" y="370"/>
                    <a:pt x="742" y="370"/>
                  </a:cubicBezTo>
                  <a:cubicBezTo>
                    <a:pt x="741" y="371"/>
                    <a:pt x="741" y="371"/>
                    <a:pt x="740" y="372"/>
                  </a:cubicBezTo>
                  <a:cubicBezTo>
                    <a:pt x="738" y="374"/>
                    <a:pt x="736" y="377"/>
                    <a:pt x="736" y="380"/>
                  </a:cubicBezTo>
                  <a:cubicBezTo>
                    <a:pt x="736" y="381"/>
                    <a:pt x="737" y="383"/>
                    <a:pt x="739" y="384"/>
                  </a:cubicBezTo>
                  <a:cubicBezTo>
                    <a:pt x="741" y="386"/>
                    <a:pt x="742" y="388"/>
                    <a:pt x="744" y="390"/>
                  </a:cubicBezTo>
                  <a:cubicBezTo>
                    <a:pt x="746" y="392"/>
                    <a:pt x="748" y="392"/>
                    <a:pt x="751" y="392"/>
                  </a:cubicBezTo>
                  <a:cubicBezTo>
                    <a:pt x="752" y="392"/>
                    <a:pt x="753" y="392"/>
                    <a:pt x="754" y="392"/>
                  </a:cubicBezTo>
                  <a:cubicBezTo>
                    <a:pt x="755" y="392"/>
                    <a:pt x="756" y="392"/>
                    <a:pt x="757" y="392"/>
                  </a:cubicBezTo>
                  <a:cubicBezTo>
                    <a:pt x="757" y="392"/>
                    <a:pt x="758" y="392"/>
                    <a:pt x="758" y="392"/>
                  </a:cubicBezTo>
                  <a:cubicBezTo>
                    <a:pt x="759" y="393"/>
                    <a:pt x="759" y="394"/>
                    <a:pt x="758" y="395"/>
                  </a:cubicBezTo>
                  <a:cubicBezTo>
                    <a:pt x="758" y="396"/>
                    <a:pt x="758" y="397"/>
                    <a:pt x="759" y="398"/>
                  </a:cubicBezTo>
                  <a:cubicBezTo>
                    <a:pt x="759" y="402"/>
                    <a:pt x="763" y="407"/>
                    <a:pt x="769" y="407"/>
                  </a:cubicBezTo>
                  <a:cubicBezTo>
                    <a:pt x="770" y="407"/>
                    <a:pt x="770" y="407"/>
                    <a:pt x="771" y="407"/>
                  </a:cubicBezTo>
                  <a:cubicBezTo>
                    <a:pt x="776" y="405"/>
                    <a:pt x="776" y="401"/>
                    <a:pt x="776" y="399"/>
                  </a:cubicBezTo>
                  <a:cubicBezTo>
                    <a:pt x="775" y="397"/>
                    <a:pt x="776" y="396"/>
                    <a:pt x="776" y="396"/>
                  </a:cubicBezTo>
                  <a:cubicBezTo>
                    <a:pt x="777" y="396"/>
                    <a:pt x="779" y="395"/>
                    <a:pt x="781" y="395"/>
                  </a:cubicBezTo>
                  <a:cubicBezTo>
                    <a:pt x="783" y="395"/>
                    <a:pt x="784" y="395"/>
                    <a:pt x="785" y="395"/>
                  </a:cubicBezTo>
                  <a:cubicBezTo>
                    <a:pt x="786" y="396"/>
                    <a:pt x="788" y="398"/>
                    <a:pt x="789" y="399"/>
                  </a:cubicBezTo>
                  <a:cubicBezTo>
                    <a:pt x="792" y="401"/>
                    <a:pt x="795" y="403"/>
                    <a:pt x="798" y="404"/>
                  </a:cubicBezTo>
                  <a:cubicBezTo>
                    <a:pt x="801" y="405"/>
                    <a:pt x="803" y="405"/>
                    <a:pt x="806" y="405"/>
                  </a:cubicBezTo>
                  <a:cubicBezTo>
                    <a:pt x="808" y="405"/>
                    <a:pt x="809" y="405"/>
                    <a:pt x="811" y="405"/>
                  </a:cubicBezTo>
                  <a:cubicBezTo>
                    <a:pt x="812" y="405"/>
                    <a:pt x="813" y="405"/>
                    <a:pt x="814" y="405"/>
                  </a:cubicBezTo>
                  <a:cubicBezTo>
                    <a:pt x="814" y="405"/>
                    <a:pt x="814" y="405"/>
                    <a:pt x="815" y="405"/>
                  </a:cubicBezTo>
                  <a:cubicBezTo>
                    <a:pt x="817" y="405"/>
                    <a:pt x="819" y="405"/>
                    <a:pt x="822" y="405"/>
                  </a:cubicBezTo>
                  <a:cubicBezTo>
                    <a:pt x="823" y="405"/>
                    <a:pt x="823" y="405"/>
                    <a:pt x="823" y="405"/>
                  </a:cubicBezTo>
                  <a:cubicBezTo>
                    <a:pt x="823" y="405"/>
                    <a:pt x="824" y="405"/>
                    <a:pt x="824" y="405"/>
                  </a:cubicBezTo>
                  <a:cubicBezTo>
                    <a:pt x="826" y="405"/>
                    <a:pt x="827" y="405"/>
                    <a:pt x="828" y="405"/>
                  </a:cubicBezTo>
                  <a:cubicBezTo>
                    <a:pt x="829" y="405"/>
                    <a:pt x="830" y="404"/>
                    <a:pt x="831" y="404"/>
                  </a:cubicBezTo>
                  <a:cubicBezTo>
                    <a:pt x="832" y="404"/>
                    <a:pt x="835" y="405"/>
                    <a:pt x="836" y="405"/>
                  </a:cubicBezTo>
                  <a:cubicBezTo>
                    <a:pt x="839" y="406"/>
                    <a:pt x="842" y="407"/>
                    <a:pt x="845" y="407"/>
                  </a:cubicBezTo>
                  <a:cubicBezTo>
                    <a:pt x="848" y="407"/>
                    <a:pt x="850" y="406"/>
                    <a:pt x="851" y="404"/>
                  </a:cubicBezTo>
                  <a:cubicBezTo>
                    <a:pt x="853" y="403"/>
                    <a:pt x="853" y="400"/>
                    <a:pt x="853" y="398"/>
                  </a:cubicBezTo>
                  <a:cubicBezTo>
                    <a:pt x="853" y="389"/>
                    <a:pt x="844" y="382"/>
                    <a:pt x="837" y="378"/>
                  </a:cubicBezTo>
                  <a:cubicBezTo>
                    <a:pt x="834" y="377"/>
                    <a:pt x="832" y="376"/>
                    <a:pt x="829" y="375"/>
                  </a:cubicBezTo>
                  <a:cubicBezTo>
                    <a:pt x="824" y="373"/>
                    <a:pt x="820" y="371"/>
                    <a:pt x="816" y="368"/>
                  </a:cubicBezTo>
                  <a:cubicBezTo>
                    <a:pt x="814" y="367"/>
                    <a:pt x="812" y="367"/>
                    <a:pt x="810" y="366"/>
                  </a:cubicBezTo>
                  <a:cubicBezTo>
                    <a:pt x="809" y="366"/>
                    <a:pt x="808" y="366"/>
                    <a:pt x="807" y="365"/>
                  </a:cubicBezTo>
                  <a:cubicBezTo>
                    <a:pt x="803" y="364"/>
                    <a:pt x="798" y="361"/>
                    <a:pt x="794" y="359"/>
                  </a:cubicBezTo>
                  <a:cubicBezTo>
                    <a:pt x="793" y="358"/>
                    <a:pt x="791" y="357"/>
                    <a:pt x="790" y="357"/>
                  </a:cubicBezTo>
                  <a:cubicBezTo>
                    <a:pt x="788" y="355"/>
                    <a:pt x="786" y="354"/>
                    <a:pt x="785" y="353"/>
                  </a:cubicBezTo>
                  <a:cubicBezTo>
                    <a:pt x="785" y="352"/>
                    <a:pt x="785" y="352"/>
                    <a:pt x="785" y="352"/>
                  </a:cubicBezTo>
                  <a:cubicBezTo>
                    <a:pt x="786" y="352"/>
                    <a:pt x="788" y="353"/>
                    <a:pt x="789" y="353"/>
                  </a:cubicBezTo>
                  <a:cubicBezTo>
                    <a:pt x="791" y="354"/>
                    <a:pt x="792" y="354"/>
                    <a:pt x="793" y="354"/>
                  </a:cubicBezTo>
                  <a:cubicBezTo>
                    <a:pt x="794" y="354"/>
                    <a:pt x="795" y="354"/>
                    <a:pt x="796" y="354"/>
                  </a:cubicBezTo>
                  <a:cubicBezTo>
                    <a:pt x="797" y="354"/>
                    <a:pt x="797" y="354"/>
                    <a:pt x="798" y="354"/>
                  </a:cubicBezTo>
                  <a:cubicBezTo>
                    <a:pt x="799" y="354"/>
                    <a:pt x="799" y="354"/>
                    <a:pt x="800" y="354"/>
                  </a:cubicBezTo>
                  <a:cubicBezTo>
                    <a:pt x="801" y="354"/>
                    <a:pt x="802" y="354"/>
                    <a:pt x="802" y="355"/>
                  </a:cubicBezTo>
                  <a:cubicBezTo>
                    <a:pt x="806" y="355"/>
                    <a:pt x="809" y="357"/>
                    <a:pt x="812" y="358"/>
                  </a:cubicBezTo>
                  <a:cubicBezTo>
                    <a:pt x="815" y="359"/>
                    <a:pt x="817" y="360"/>
                    <a:pt x="819" y="361"/>
                  </a:cubicBezTo>
                  <a:cubicBezTo>
                    <a:pt x="820" y="361"/>
                    <a:pt x="821" y="362"/>
                    <a:pt x="822" y="362"/>
                  </a:cubicBezTo>
                  <a:cubicBezTo>
                    <a:pt x="823" y="362"/>
                    <a:pt x="824" y="361"/>
                    <a:pt x="825" y="361"/>
                  </a:cubicBezTo>
                  <a:cubicBezTo>
                    <a:pt x="826" y="361"/>
                    <a:pt x="827" y="361"/>
                    <a:pt x="827" y="361"/>
                  </a:cubicBezTo>
                  <a:cubicBezTo>
                    <a:pt x="827" y="361"/>
                    <a:pt x="828" y="361"/>
                    <a:pt x="828" y="361"/>
                  </a:cubicBezTo>
                  <a:cubicBezTo>
                    <a:pt x="828" y="361"/>
                    <a:pt x="829" y="362"/>
                    <a:pt x="830" y="362"/>
                  </a:cubicBezTo>
                  <a:cubicBezTo>
                    <a:pt x="831" y="363"/>
                    <a:pt x="832" y="365"/>
                    <a:pt x="834" y="365"/>
                  </a:cubicBezTo>
                  <a:cubicBezTo>
                    <a:pt x="835" y="366"/>
                    <a:pt x="836" y="366"/>
                    <a:pt x="838" y="366"/>
                  </a:cubicBezTo>
                  <a:cubicBezTo>
                    <a:pt x="838" y="366"/>
                    <a:pt x="839" y="366"/>
                    <a:pt x="840" y="366"/>
                  </a:cubicBezTo>
                  <a:cubicBezTo>
                    <a:pt x="841" y="366"/>
                    <a:pt x="842" y="366"/>
                    <a:pt x="842" y="366"/>
                  </a:cubicBezTo>
                  <a:cubicBezTo>
                    <a:pt x="843" y="366"/>
                    <a:pt x="843" y="366"/>
                    <a:pt x="843" y="366"/>
                  </a:cubicBezTo>
                  <a:cubicBezTo>
                    <a:pt x="844" y="366"/>
                    <a:pt x="845" y="366"/>
                    <a:pt x="846" y="367"/>
                  </a:cubicBezTo>
                  <a:cubicBezTo>
                    <a:pt x="847" y="367"/>
                    <a:pt x="847" y="367"/>
                    <a:pt x="847" y="367"/>
                  </a:cubicBezTo>
                  <a:cubicBezTo>
                    <a:pt x="848" y="368"/>
                    <a:pt x="848" y="368"/>
                    <a:pt x="849" y="368"/>
                  </a:cubicBezTo>
                  <a:cubicBezTo>
                    <a:pt x="850" y="369"/>
                    <a:pt x="851" y="369"/>
                    <a:pt x="852" y="370"/>
                  </a:cubicBezTo>
                  <a:cubicBezTo>
                    <a:pt x="854" y="371"/>
                    <a:pt x="855" y="371"/>
                    <a:pt x="857" y="371"/>
                  </a:cubicBezTo>
                  <a:cubicBezTo>
                    <a:pt x="859" y="371"/>
                    <a:pt x="861" y="370"/>
                    <a:pt x="862" y="367"/>
                  </a:cubicBezTo>
                  <a:cubicBezTo>
                    <a:pt x="863" y="365"/>
                    <a:pt x="862" y="362"/>
                    <a:pt x="861" y="360"/>
                  </a:cubicBezTo>
                  <a:cubicBezTo>
                    <a:pt x="861" y="360"/>
                    <a:pt x="861" y="360"/>
                    <a:pt x="862" y="359"/>
                  </a:cubicBezTo>
                  <a:close/>
                  <a:moveTo>
                    <a:pt x="493" y="120"/>
                  </a:moveTo>
                  <a:cubicBezTo>
                    <a:pt x="493" y="120"/>
                    <a:pt x="493" y="121"/>
                    <a:pt x="493" y="121"/>
                  </a:cubicBezTo>
                  <a:cubicBezTo>
                    <a:pt x="492" y="120"/>
                    <a:pt x="490" y="120"/>
                    <a:pt x="489" y="120"/>
                  </a:cubicBezTo>
                  <a:cubicBezTo>
                    <a:pt x="489" y="120"/>
                    <a:pt x="489" y="120"/>
                    <a:pt x="489" y="120"/>
                  </a:cubicBezTo>
                  <a:cubicBezTo>
                    <a:pt x="490" y="120"/>
                    <a:pt x="490" y="120"/>
                    <a:pt x="490" y="120"/>
                  </a:cubicBezTo>
                  <a:cubicBezTo>
                    <a:pt x="492" y="118"/>
                    <a:pt x="493" y="116"/>
                    <a:pt x="494" y="115"/>
                  </a:cubicBezTo>
                  <a:cubicBezTo>
                    <a:pt x="494" y="116"/>
                    <a:pt x="493" y="120"/>
                    <a:pt x="493" y="120"/>
                  </a:cubicBezTo>
                  <a:close/>
                  <a:moveTo>
                    <a:pt x="457" y="346"/>
                  </a:moveTo>
                  <a:cubicBezTo>
                    <a:pt x="452" y="346"/>
                    <a:pt x="448" y="345"/>
                    <a:pt x="445" y="342"/>
                  </a:cubicBezTo>
                  <a:cubicBezTo>
                    <a:pt x="444" y="341"/>
                    <a:pt x="444" y="341"/>
                    <a:pt x="444" y="341"/>
                  </a:cubicBezTo>
                  <a:cubicBezTo>
                    <a:pt x="443" y="340"/>
                    <a:pt x="442" y="339"/>
                    <a:pt x="441" y="338"/>
                  </a:cubicBezTo>
                  <a:cubicBezTo>
                    <a:pt x="440" y="336"/>
                    <a:pt x="439" y="335"/>
                    <a:pt x="438" y="333"/>
                  </a:cubicBezTo>
                  <a:cubicBezTo>
                    <a:pt x="437" y="331"/>
                    <a:pt x="435" y="330"/>
                    <a:pt x="433" y="329"/>
                  </a:cubicBezTo>
                  <a:cubicBezTo>
                    <a:pt x="431" y="328"/>
                    <a:pt x="430" y="327"/>
                    <a:pt x="428" y="326"/>
                  </a:cubicBezTo>
                  <a:cubicBezTo>
                    <a:pt x="430" y="326"/>
                    <a:pt x="433" y="326"/>
                    <a:pt x="435" y="327"/>
                  </a:cubicBezTo>
                  <a:cubicBezTo>
                    <a:pt x="437" y="328"/>
                    <a:pt x="439" y="329"/>
                    <a:pt x="440" y="330"/>
                  </a:cubicBezTo>
                  <a:cubicBezTo>
                    <a:pt x="443" y="332"/>
                    <a:pt x="445" y="334"/>
                    <a:pt x="447" y="336"/>
                  </a:cubicBezTo>
                  <a:cubicBezTo>
                    <a:pt x="448" y="338"/>
                    <a:pt x="450" y="340"/>
                    <a:pt x="453" y="342"/>
                  </a:cubicBezTo>
                  <a:cubicBezTo>
                    <a:pt x="453" y="342"/>
                    <a:pt x="454" y="342"/>
                    <a:pt x="454" y="343"/>
                  </a:cubicBezTo>
                  <a:cubicBezTo>
                    <a:pt x="455" y="344"/>
                    <a:pt x="456" y="345"/>
                    <a:pt x="457" y="345"/>
                  </a:cubicBezTo>
                  <a:cubicBezTo>
                    <a:pt x="458" y="346"/>
                    <a:pt x="458" y="346"/>
                    <a:pt x="458" y="346"/>
                  </a:cubicBezTo>
                  <a:cubicBezTo>
                    <a:pt x="458" y="346"/>
                    <a:pt x="458" y="346"/>
                    <a:pt x="458" y="346"/>
                  </a:cubicBezTo>
                  <a:cubicBezTo>
                    <a:pt x="458" y="346"/>
                    <a:pt x="458" y="346"/>
                    <a:pt x="457" y="346"/>
                  </a:cubicBezTo>
                  <a:close/>
                  <a:moveTo>
                    <a:pt x="567" y="79"/>
                  </a:moveTo>
                  <a:cubicBezTo>
                    <a:pt x="566" y="78"/>
                    <a:pt x="566" y="78"/>
                    <a:pt x="566" y="78"/>
                  </a:cubicBezTo>
                  <a:cubicBezTo>
                    <a:pt x="565" y="77"/>
                    <a:pt x="564" y="76"/>
                    <a:pt x="563" y="75"/>
                  </a:cubicBezTo>
                  <a:cubicBezTo>
                    <a:pt x="563" y="75"/>
                    <a:pt x="563" y="75"/>
                    <a:pt x="563" y="74"/>
                  </a:cubicBezTo>
                  <a:cubicBezTo>
                    <a:pt x="563" y="74"/>
                    <a:pt x="564" y="74"/>
                    <a:pt x="564" y="74"/>
                  </a:cubicBezTo>
                  <a:cubicBezTo>
                    <a:pt x="567" y="75"/>
                    <a:pt x="572" y="79"/>
                    <a:pt x="573" y="81"/>
                  </a:cubicBezTo>
                  <a:cubicBezTo>
                    <a:pt x="573" y="82"/>
                    <a:pt x="573" y="82"/>
                    <a:pt x="573" y="82"/>
                  </a:cubicBezTo>
                  <a:cubicBezTo>
                    <a:pt x="573" y="82"/>
                    <a:pt x="573" y="82"/>
                    <a:pt x="572" y="82"/>
                  </a:cubicBezTo>
                  <a:cubicBezTo>
                    <a:pt x="571" y="82"/>
                    <a:pt x="569" y="81"/>
                    <a:pt x="567" y="79"/>
                  </a:cubicBezTo>
                  <a:close/>
                  <a:moveTo>
                    <a:pt x="573" y="140"/>
                  </a:moveTo>
                  <a:cubicBezTo>
                    <a:pt x="573" y="140"/>
                    <a:pt x="574" y="140"/>
                    <a:pt x="574" y="140"/>
                  </a:cubicBezTo>
                  <a:cubicBezTo>
                    <a:pt x="574" y="140"/>
                    <a:pt x="574" y="140"/>
                    <a:pt x="574" y="140"/>
                  </a:cubicBezTo>
                  <a:cubicBezTo>
                    <a:pt x="575" y="140"/>
                    <a:pt x="575" y="141"/>
                    <a:pt x="575" y="142"/>
                  </a:cubicBezTo>
                  <a:cubicBezTo>
                    <a:pt x="575" y="142"/>
                    <a:pt x="576" y="143"/>
                    <a:pt x="576" y="144"/>
                  </a:cubicBezTo>
                  <a:cubicBezTo>
                    <a:pt x="575" y="143"/>
                    <a:pt x="574" y="142"/>
                    <a:pt x="573" y="140"/>
                  </a:cubicBezTo>
                  <a:close/>
                  <a:moveTo>
                    <a:pt x="739" y="259"/>
                  </a:moveTo>
                  <a:cubicBezTo>
                    <a:pt x="739" y="260"/>
                    <a:pt x="738" y="261"/>
                    <a:pt x="736" y="261"/>
                  </a:cubicBezTo>
                  <a:cubicBezTo>
                    <a:pt x="736" y="261"/>
                    <a:pt x="735" y="261"/>
                    <a:pt x="735" y="261"/>
                  </a:cubicBezTo>
                  <a:cubicBezTo>
                    <a:pt x="734" y="261"/>
                    <a:pt x="732" y="261"/>
                    <a:pt x="732" y="261"/>
                  </a:cubicBezTo>
                  <a:cubicBezTo>
                    <a:pt x="731" y="261"/>
                    <a:pt x="731" y="261"/>
                    <a:pt x="730" y="261"/>
                  </a:cubicBezTo>
                  <a:cubicBezTo>
                    <a:pt x="726" y="263"/>
                    <a:pt x="723" y="268"/>
                    <a:pt x="720" y="273"/>
                  </a:cubicBezTo>
                  <a:cubicBezTo>
                    <a:pt x="719" y="273"/>
                    <a:pt x="719" y="273"/>
                    <a:pt x="719" y="273"/>
                  </a:cubicBezTo>
                  <a:cubicBezTo>
                    <a:pt x="720" y="271"/>
                    <a:pt x="720" y="270"/>
                    <a:pt x="719" y="267"/>
                  </a:cubicBezTo>
                  <a:cubicBezTo>
                    <a:pt x="717" y="262"/>
                    <a:pt x="714" y="259"/>
                    <a:pt x="710" y="258"/>
                  </a:cubicBezTo>
                  <a:cubicBezTo>
                    <a:pt x="712" y="254"/>
                    <a:pt x="713" y="250"/>
                    <a:pt x="713" y="246"/>
                  </a:cubicBezTo>
                  <a:cubicBezTo>
                    <a:pt x="716" y="247"/>
                    <a:pt x="719" y="249"/>
                    <a:pt x="723" y="250"/>
                  </a:cubicBezTo>
                  <a:cubicBezTo>
                    <a:pt x="725" y="250"/>
                    <a:pt x="727" y="251"/>
                    <a:pt x="729" y="251"/>
                  </a:cubicBezTo>
                  <a:cubicBezTo>
                    <a:pt x="731" y="251"/>
                    <a:pt x="734" y="251"/>
                    <a:pt x="736" y="252"/>
                  </a:cubicBezTo>
                  <a:cubicBezTo>
                    <a:pt x="738" y="253"/>
                    <a:pt x="739" y="255"/>
                    <a:pt x="740" y="257"/>
                  </a:cubicBezTo>
                  <a:cubicBezTo>
                    <a:pt x="740" y="258"/>
                    <a:pt x="740" y="259"/>
                    <a:pt x="739" y="259"/>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7" name="Freeform 25">
              <a:extLst>
                <a:ext uri="{FF2B5EF4-FFF2-40B4-BE49-F238E27FC236}">
                  <a16:creationId xmlns:a16="http://schemas.microsoft.com/office/drawing/2014/main" id="{DD97A74C-71C4-13B8-07DE-9465466424E9}"/>
                </a:ext>
              </a:extLst>
            </p:cNvPr>
            <p:cNvSpPr>
              <a:spLocks/>
            </p:cNvSpPr>
            <p:nvPr/>
          </p:nvSpPr>
          <p:spPr bwMode="auto">
            <a:xfrm rot="21097436">
              <a:off x="9558985" y="1022431"/>
              <a:ext cx="39110" cy="35231"/>
            </a:xfrm>
            <a:custGeom>
              <a:avLst/>
              <a:gdLst>
                <a:gd name="T0" fmla="*/ 113023 w 17"/>
                <a:gd name="T1" fmla="*/ 12832 h 14"/>
                <a:gd name="T2" fmla="*/ 84767 w 17"/>
                <a:gd name="T3" fmla="*/ 0 h 14"/>
                <a:gd name="T4" fmla="*/ 70639 w 17"/>
                <a:gd name="T5" fmla="*/ 0 h 14"/>
                <a:gd name="T6" fmla="*/ 49448 w 17"/>
                <a:gd name="T7" fmla="*/ 12832 h 14"/>
                <a:gd name="T8" fmla="*/ 42384 w 17"/>
                <a:gd name="T9" fmla="*/ 19249 h 14"/>
                <a:gd name="T10" fmla="*/ 7064 w 17"/>
                <a:gd name="T11" fmla="*/ 44914 h 14"/>
                <a:gd name="T12" fmla="*/ 7064 w 17"/>
                <a:gd name="T13" fmla="*/ 70578 h 14"/>
                <a:gd name="T14" fmla="*/ 35320 w 17"/>
                <a:gd name="T15" fmla="*/ 89827 h 14"/>
                <a:gd name="T16" fmla="*/ 70639 w 17"/>
                <a:gd name="T17" fmla="*/ 70578 h 14"/>
                <a:gd name="T18" fmla="*/ 70639 w 17"/>
                <a:gd name="T19" fmla="*/ 70578 h 14"/>
                <a:gd name="T20" fmla="*/ 84767 w 17"/>
                <a:gd name="T21" fmla="*/ 70578 h 14"/>
                <a:gd name="T22" fmla="*/ 113023 w 17"/>
                <a:gd name="T23" fmla="*/ 44914 h 14"/>
                <a:gd name="T24" fmla="*/ 113023 w 17"/>
                <a:gd name="T25" fmla="*/ 12832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4">
                  <a:moveTo>
                    <a:pt x="16" y="2"/>
                  </a:moveTo>
                  <a:cubicBezTo>
                    <a:pt x="15" y="0"/>
                    <a:pt x="14" y="0"/>
                    <a:pt x="12" y="0"/>
                  </a:cubicBezTo>
                  <a:cubicBezTo>
                    <a:pt x="12" y="0"/>
                    <a:pt x="11" y="0"/>
                    <a:pt x="10" y="0"/>
                  </a:cubicBezTo>
                  <a:cubicBezTo>
                    <a:pt x="9" y="0"/>
                    <a:pt x="8" y="1"/>
                    <a:pt x="7" y="2"/>
                  </a:cubicBezTo>
                  <a:cubicBezTo>
                    <a:pt x="7" y="2"/>
                    <a:pt x="6" y="3"/>
                    <a:pt x="6" y="3"/>
                  </a:cubicBezTo>
                  <a:cubicBezTo>
                    <a:pt x="4" y="3"/>
                    <a:pt x="2" y="4"/>
                    <a:pt x="1" y="7"/>
                  </a:cubicBezTo>
                  <a:cubicBezTo>
                    <a:pt x="0" y="7"/>
                    <a:pt x="0" y="9"/>
                    <a:pt x="1" y="11"/>
                  </a:cubicBezTo>
                  <a:cubicBezTo>
                    <a:pt x="2" y="14"/>
                    <a:pt x="4" y="14"/>
                    <a:pt x="5" y="14"/>
                  </a:cubicBezTo>
                  <a:cubicBezTo>
                    <a:pt x="7" y="14"/>
                    <a:pt x="9" y="12"/>
                    <a:pt x="10" y="11"/>
                  </a:cubicBezTo>
                  <a:cubicBezTo>
                    <a:pt x="10" y="11"/>
                    <a:pt x="10" y="11"/>
                    <a:pt x="10" y="11"/>
                  </a:cubicBezTo>
                  <a:cubicBezTo>
                    <a:pt x="11" y="11"/>
                    <a:pt x="11" y="11"/>
                    <a:pt x="12" y="11"/>
                  </a:cubicBezTo>
                  <a:cubicBezTo>
                    <a:pt x="13" y="10"/>
                    <a:pt x="15" y="9"/>
                    <a:pt x="16" y="7"/>
                  </a:cubicBezTo>
                  <a:cubicBezTo>
                    <a:pt x="17" y="6"/>
                    <a:pt x="17" y="3"/>
                    <a:pt x="16" y="2"/>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8" name="Freeform 28">
              <a:extLst>
                <a:ext uri="{FF2B5EF4-FFF2-40B4-BE49-F238E27FC236}">
                  <a16:creationId xmlns:a16="http://schemas.microsoft.com/office/drawing/2014/main" id="{18830DA0-00C4-2977-7193-44FA290D652C}"/>
                </a:ext>
              </a:extLst>
            </p:cNvPr>
            <p:cNvSpPr>
              <a:spLocks/>
            </p:cNvSpPr>
            <p:nvPr/>
          </p:nvSpPr>
          <p:spPr bwMode="auto">
            <a:xfrm rot="21097436">
              <a:off x="10782484" y="1955481"/>
              <a:ext cx="23466" cy="30470"/>
            </a:xfrm>
            <a:custGeom>
              <a:avLst/>
              <a:gdLst>
                <a:gd name="T0" fmla="*/ 64847 w 10"/>
                <a:gd name="T1" fmla="*/ 25896 h 12"/>
                <a:gd name="T2" fmla="*/ 50436 w 10"/>
                <a:gd name="T3" fmla="*/ 19422 h 12"/>
                <a:gd name="T4" fmla="*/ 50436 w 10"/>
                <a:gd name="T5" fmla="*/ 0 h 12"/>
                <a:gd name="T6" fmla="*/ 0 w 10"/>
                <a:gd name="T7" fmla="*/ 45318 h 12"/>
                <a:gd name="T8" fmla="*/ 7205 w 10"/>
                <a:gd name="T9" fmla="*/ 71214 h 12"/>
                <a:gd name="T10" fmla="*/ 36026 w 10"/>
                <a:gd name="T11" fmla="*/ 77688 h 12"/>
                <a:gd name="T12" fmla="*/ 36026 w 10"/>
                <a:gd name="T13" fmla="*/ 58266 h 12"/>
                <a:gd name="T14" fmla="*/ 36026 w 10"/>
                <a:gd name="T15" fmla="*/ 58266 h 12"/>
                <a:gd name="T16" fmla="*/ 64847 w 10"/>
                <a:gd name="T17" fmla="*/ 25896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2">
                  <a:moveTo>
                    <a:pt x="9" y="4"/>
                  </a:moveTo>
                  <a:cubicBezTo>
                    <a:pt x="9" y="3"/>
                    <a:pt x="8" y="3"/>
                    <a:pt x="7" y="3"/>
                  </a:cubicBezTo>
                  <a:cubicBezTo>
                    <a:pt x="7" y="0"/>
                    <a:pt x="7" y="0"/>
                    <a:pt x="7" y="0"/>
                  </a:cubicBezTo>
                  <a:cubicBezTo>
                    <a:pt x="4" y="0"/>
                    <a:pt x="0" y="4"/>
                    <a:pt x="0" y="7"/>
                  </a:cubicBezTo>
                  <a:cubicBezTo>
                    <a:pt x="0" y="9"/>
                    <a:pt x="0" y="10"/>
                    <a:pt x="1" y="11"/>
                  </a:cubicBezTo>
                  <a:cubicBezTo>
                    <a:pt x="2" y="11"/>
                    <a:pt x="4" y="12"/>
                    <a:pt x="5" y="12"/>
                  </a:cubicBezTo>
                  <a:cubicBezTo>
                    <a:pt x="5" y="9"/>
                    <a:pt x="5" y="9"/>
                    <a:pt x="5" y="9"/>
                  </a:cubicBezTo>
                  <a:cubicBezTo>
                    <a:pt x="5" y="9"/>
                    <a:pt x="5" y="9"/>
                    <a:pt x="5" y="9"/>
                  </a:cubicBezTo>
                  <a:cubicBezTo>
                    <a:pt x="8" y="9"/>
                    <a:pt x="10" y="7"/>
                    <a:pt x="9" y="4"/>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19" name="Freeform 37">
              <a:extLst>
                <a:ext uri="{FF2B5EF4-FFF2-40B4-BE49-F238E27FC236}">
                  <a16:creationId xmlns:a16="http://schemas.microsoft.com/office/drawing/2014/main" id="{736AC096-19AE-CF3D-EF5C-56A84E17C56C}"/>
                </a:ext>
              </a:extLst>
            </p:cNvPr>
            <p:cNvSpPr>
              <a:spLocks/>
            </p:cNvSpPr>
            <p:nvPr/>
          </p:nvSpPr>
          <p:spPr bwMode="auto">
            <a:xfrm rot="21097436">
              <a:off x="10230649" y="1584720"/>
              <a:ext cx="145141" cy="126639"/>
            </a:xfrm>
            <a:custGeom>
              <a:avLst/>
              <a:gdLst>
                <a:gd name="T0" fmla="*/ 417361 w 63"/>
                <a:gd name="T1" fmla="*/ 45205 h 50"/>
                <a:gd name="T2" fmla="*/ 353696 w 63"/>
                <a:gd name="T3" fmla="*/ 25831 h 50"/>
                <a:gd name="T4" fmla="*/ 332474 w 63"/>
                <a:gd name="T5" fmla="*/ 25831 h 50"/>
                <a:gd name="T6" fmla="*/ 311253 w 63"/>
                <a:gd name="T7" fmla="*/ 25831 h 50"/>
                <a:gd name="T8" fmla="*/ 254661 w 63"/>
                <a:gd name="T9" fmla="*/ 45205 h 50"/>
                <a:gd name="T10" fmla="*/ 247587 w 63"/>
                <a:gd name="T11" fmla="*/ 58120 h 50"/>
                <a:gd name="T12" fmla="*/ 176848 w 63"/>
                <a:gd name="T13" fmla="*/ 6458 h 50"/>
                <a:gd name="T14" fmla="*/ 148552 w 63"/>
                <a:gd name="T15" fmla="*/ 0 h 50"/>
                <a:gd name="T16" fmla="*/ 70739 w 63"/>
                <a:gd name="T17" fmla="*/ 38747 h 50"/>
                <a:gd name="T18" fmla="*/ 70739 w 63"/>
                <a:gd name="T19" fmla="*/ 38747 h 50"/>
                <a:gd name="T20" fmla="*/ 14148 w 63"/>
                <a:gd name="T21" fmla="*/ 122699 h 50"/>
                <a:gd name="T22" fmla="*/ 56591 w 63"/>
                <a:gd name="T23" fmla="*/ 303518 h 50"/>
                <a:gd name="T24" fmla="*/ 127331 w 63"/>
                <a:gd name="T25" fmla="*/ 322891 h 50"/>
                <a:gd name="T26" fmla="*/ 247587 w 63"/>
                <a:gd name="T27" fmla="*/ 271228 h 50"/>
                <a:gd name="T28" fmla="*/ 268809 w 63"/>
                <a:gd name="T29" fmla="*/ 109783 h 50"/>
                <a:gd name="T30" fmla="*/ 304179 w 63"/>
                <a:gd name="T31" fmla="*/ 135614 h 50"/>
                <a:gd name="T32" fmla="*/ 318326 w 63"/>
                <a:gd name="T33" fmla="*/ 135614 h 50"/>
                <a:gd name="T34" fmla="*/ 339548 w 63"/>
                <a:gd name="T35" fmla="*/ 135614 h 50"/>
                <a:gd name="T36" fmla="*/ 346622 w 63"/>
                <a:gd name="T37" fmla="*/ 135614 h 50"/>
                <a:gd name="T38" fmla="*/ 360770 w 63"/>
                <a:gd name="T39" fmla="*/ 135614 h 50"/>
                <a:gd name="T40" fmla="*/ 381992 w 63"/>
                <a:gd name="T41" fmla="*/ 135614 h 50"/>
                <a:gd name="T42" fmla="*/ 389066 w 63"/>
                <a:gd name="T43" fmla="*/ 135614 h 50"/>
                <a:gd name="T44" fmla="*/ 438583 w 63"/>
                <a:gd name="T45" fmla="*/ 103325 h 50"/>
                <a:gd name="T46" fmla="*/ 417361 w 63"/>
                <a:gd name="T47" fmla="*/ 45205 h 5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3" h="50">
                  <a:moveTo>
                    <a:pt x="59" y="7"/>
                  </a:moveTo>
                  <a:cubicBezTo>
                    <a:pt x="57" y="4"/>
                    <a:pt x="53" y="4"/>
                    <a:pt x="50" y="4"/>
                  </a:cubicBezTo>
                  <a:cubicBezTo>
                    <a:pt x="49" y="4"/>
                    <a:pt x="48" y="4"/>
                    <a:pt x="47" y="4"/>
                  </a:cubicBezTo>
                  <a:cubicBezTo>
                    <a:pt x="46" y="4"/>
                    <a:pt x="45" y="4"/>
                    <a:pt x="44" y="4"/>
                  </a:cubicBezTo>
                  <a:cubicBezTo>
                    <a:pt x="42" y="4"/>
                    <a:pt x="38" y="4"/>
                    <a:pt x="36" y="7"/>
                  </a:cubicBezTo>
                  <a:cubicBezTo>
                    <a:pt x="35" y="7"/>
                    <a:pt x="35" y="8"/>
                    <a:pt x="35" y="9"/>
                  </a:cubicBezTo>
                  <a:cubicBezTo>
                    <a:pt x="33" y="6"/>
                    <a:pt x="30" y="3"/>
                    <a:pt x="25" y="1"/>
                  </a:cubicBezTo>
                  <a:cubicBezTo>
                    <a:pt x="24" y="0"/>
                    <a:pt x="23" y="0"/>
                    <a:pt x="21" y="0"/>
                  </a:cubicBezTo>
                  <a:cubicBezTo>
                    <a:pt x="17" y="0"/>
                    <a:pt x="13" y="3"/>
                    <a:pt x="10" y="6"/>
                  </a:cubicBezTo>
                  <a:cubicBezTo>
                    <a:pt x="10" y="6"/>
                    <a:pt x="10" y="6"/>
                    <a:pt x="10" y="6"/>
                  </a:cubicBezTo>
                  <a:cubicBezTo>
                    <a:pt x="6" y="10"/>
                    <a:pt x="3" y="14"/>
                    <a:pt x="2" y="19"/>
                  </a:cubicBezTo>
                  <a:cubicBezTo>
                    <a:pt x="0" y="28"/>
                    <a:pt x="1" y="40"/>
                    <a:pt x="8" y="47"/>
                  </a:cubicBezTo>
                  <a:cubicBezTo>
                    <a:pt x="10" y="49"/>
                    <a:pt x="14" y="50"/>
                    <a:pt x="18" y="50"/>
                  </a:cubicBezTo>
                  <a:cubicBezTo>
                    <a:pt x="25" y="50"/>
                    <a:pt x="31" y="46"/>
                    <a:pt x="35" y="42"/>
                  </a:cubicBezTo>
                  <a:cubicBezTo>
                    <a:pt x="42" y="35"/>
                    <a:pt x="40" y="24"/>
                    <a:pt x="38" y="17"/>
                  </a:cubicBezTo>
                  <a:cubicBezTo>
                    <a:pt x="39" y="19"/>
                    <a:pt x="40" y="20"/>
                    <a:pt x="43" y="21"/>
                  </a:cubicBezTo>
                  <a:cubicBezTo>
                    <a:pt x="43" y="21"/>
                    <a:pt x="44" y="21"/>
                    <a:pt x="45" y="21"/>
                  </a:cubicBezTo>
                  <a:cubicBezTo>
                    <a:pt x="46" y="21"/>
                    <a:pt x="47" y="21"/>
                    <a:pt x="48" y="21"/>
                  </a:cubicBezTo>
                  <a:cubicBezTo>
                    <a:pt x="48" y="21"/>
                    <a:pt x="49" y="21"/>
                    <a:pt x="49" y="21"/>
                  </a:cubicBezTo>
                  <a:cubicBezTo>
                    <a:pt x="50" y="21"/>
                    <a:pt x="50" y="21"/>
                    <a:pt x="51" y="21"/>
                  </a:cubicBezTo>
                  <a:cubicBezTo>
                    <a:pt x="51" y="21"/>
                    <a:pt x="53" y="21"/>
                    <a:pt x="54" y="21"/>
                  </a:cubicBezTo>
                  <a:cubicBezTo>
                    <a:pt x="54" y="21"/>
                    <a:pt x="55" y="21"/>
                    <a:pt x="55" y="21"/>
                  </a:cubicBezTo>
                  <a:cubicBezTo>
                    <a:pt x="58" y="20"/>
                    <a:pt x="61" y="19"/>
                    <a:pt x="62" y="16"/>
                  </a:cubicBezTo>
                  <a:cubicBezTo>
                    <a:pt x="63" y="13"/>
                    <a:pt x="62" y="10"/>
                    <a:pt x="59" y="7"/>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0" name="Freeform 49">
              <a:extLst>
                <a:ext uri="{FF2B5EF4-FFF2-40B4-BE49-F238E27FC236}">
                  <a16:creationId xmlns:a16="http://schemas.microsoft.com/office/drawing/2014/main" id="{B661D547-EBD4-64FD-3D09-A908DE57ECB8}"/>
                </a:ext>
              </a:extLst>
            </p:cNvPr>
            <p:cNvSpPr>
              <a:spLocks/>
            </p:cNvSpPr>
            <p:nvPr/>
          </p:nvSpPr>
          <p:spPr bwMode="auto">
            <a:xfrm rot="21097436">
              <a:off x="7736275" y="1203488"/>
              <a:ext cx="718743" cy="1173069"/>
            </a:xfrm>
            <a:custGeom>
              <a:avLst/>
              <a:gdLst>
                <a:gd name="T0" fmla="*/ 1982979 w 286"/>
                <a:gd name="T1" fmla="*/ 354815 h 461"/>
                <a:gd name="T2" fmla="*/ 1968814 w 286"/>
                <a:gd name="T3" fmla="*/ 283852 h 461"/>
                <a:gd name="T4" fmla="*/ 1954650 w 286"/>
                <a:gd name="T5" fmla="*/ 180633 h 461"/>
                <a:gd name="T6" fmla="*/ 1869666 w 286"/>
                <a:gd name="T7" fmla="*/ 19354 h 461"/>
                <a:gd name="T8" fmla="*/ 1848419 w 286"/>
                <a:gd name="T9" fmla="*/ 0 h 461"/>
                <a:gd name="T10" fmla="*/ 14164 w 286"/>
                <a:gd name="T11" fmla="*/ 1625698 h 461"/>
                <a:gd name="T12" fmla="*/ 56657 w 286"/>
                <a:gd name="T13" fmla="*/ 1703113 h 461"/>
                <a:gd name="T14" fmla="*/ 127477 w 286"/>
                <a:gd name="T15" fmla="*/ 1754722 h 461"/>
                <a:gd name="T16" fmla="*/ 162888 w 286"/>
                <a:gd name="T17" fmla="*/ 1780527 h 461"/>
                <a:gd name="T18" fmla="*/ 134559 w 286"/>
                <a:gd name="T19" fmla="*/ 1799880 h 461"/>
                <a:gd name="T20" fmla="*/ 134559 w 286"/>
                <a:gd name="T21" fmla="*/ 1825685 h 461"/>
                <a:gd name="T22" fmla="*/ 1770517 w 286"/>
                <a:gd name="T23" fmla="*/ 2973996 h 461"/>
                <a:gd name="T24" fmla="*/ 1791763 w 286"/>
                <a:gd name="T25" fmla="*/ 2928838 h 461"/>
                <a:gd name="T26" fmla="*/ 1791763 w 286"/>
                <a:gd name="T27" fmla="*/ 2819168 h 461"/>
                <a:gd name="T28" fmla="*/ 1827173 w 286"/>
                <a:gd name="T29" fmla="*/ 2741753 h 461"/>
                <a:gd name="T30" fmla="*/ 1770517 w 286"/>
                <a:gd name="T31" fmla="*/ 2728851 h 461"/>
                <a:gd name="T32" fmla="*/ 1720942 w 286"/>
                <a:gd name="T33" fmla="*/ 2722400 h 461"/>
                <a:gd name="T34" fmla="*/ 1692614 w 286"/>
                <a:gd name="T35" fmla="*/ 2690144 h 461"/>
                <a:gd name="T36" fmla="*/ 1607629 w 286"/>
                <a:gd name="T37" fmla="*/ 2664339 h 461"/>
                <a:gd name="T38" fmla="*/ 1600547 w 286"/>
                <a:gd name="T39" fmla="*/ 2548218 h 461"/>
                <a:gd name="T40" fmla="*/ 1593465 w 286"/>
                <a:gd name="T41" fmla="*/ 2444999 h 461"/>
                <a:gd name="T42" fmla="*/ 1565137 w 286"/>
                <a:gd name="T43" fmla="*/ 2335329 h 461"/>
                <a:gd name="T44" fmla="*/ 1529726 w 286"/>
                <a:gd name="T45" fmla="*/ 2212756 h 461"/>
                <a:gd name="T46" fmla="*/ 1543890 w 286"/>
                <a:gd name="T47" fmla="*/ 2135342 h 461"/>
                <a:gd name="T48" fmla="*/ 1565137 w 286"/>
                <a:gd name="T49" fmla="*/ 2032123 h 461"/>
                <a:gd name="T50" fmla="*/ 1607629 w 286"/>
                <a:gd name="T51" fmla="*/ 1922453 h 461"/>
                <a:gd name="T52" fmla="*/ 1664286 w 286"/>
                <a:gd name="T53" fmla="*/ 1799880 h 461"/>
                <a:gd name="T54" fmla="*/ 1657204 w 286"/>
                <a:gd name="T55" fmla="*/ 1696661 h 461"/>
                <a:gd name="T56" fmla="*/ 1664286 w 286"/>
                <a:gd name="T57" fmla="*/ 1664406 h 461"/>
                <a:gd name="T58" fmla="*/ 1650121 w 286"/>
                <a:gd name="T59" fmla="*/ 1574089 h 461"/>
                <a:gd name="T60" fmla="*/ 1621793 w 286"/>
                <a:gd name="T61" fmla="*/ 1503126 h 461"/>
                <a:gd name="T62" fmla="*/ 1685532 w 286"/>
                <a:gd name="T63" fmla="*/ 1354749 h 461"/>
                <a:gd name="T64" fmla="*/ 1763435 w 286"/>
                <a:gd name="T65" fmla="*/ 1187018 h 461"/>
                <a:gd name="T66" fmla="*/ 1798845 w 286"/>
                <a:gd name="T67" fmla="*/ 1032190 h 461"/>
                <a:gd name="T68" fmla="*/ 1869666 w 286"/>
                <a:gd name="T69" fmla="*/ 909617 h 461"/>
                <a:gd name="T70" fmla="*/ 1728024 w 286"/>
                <a:gd name="T71" fmla="*/ 838654 h 461"/>
                <a:gd name="T72" fmla="*/ 1720942 w 286"/>
                <a:gd name="T73" fmla="*/ 754789 h 461"/>
                <a:gd name="T74" fmla="*/ 1805927 w 286"/>
                <a:gd name="T75" fmla="*/ 670923 h 461"/>
                <a:gd name="T76" fmla="*/ 1834255 w 286"/>
                <a:gd name="T77" fmla="*/ 587058 h 461"/>
                <a:gd name="T78" fmla="*/ 1926322 w 286"/>
                <a:gd name="T79" fmla="*/ 528997 h 461"/>
                <a:gd name="T80" fmla="*/ 1997143 w 286"/>
                <a:gd name="T81" fmla="*/ 438681 h 461"/>
                <a:gd name="T82" fmla="*/ 2025471 w 286"/>
                <a:gd name="T83" fmla="*/ 399973 h 46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6" h="461">
                  <a:moveTo>
                    <a:pt x="283" y="59"/>
                  </a:moveTo>
                  <a:cubicBezTo>
                    <a:pt x="282" y="58"/>
                    <a:pt x="281" y="57"/>
                    <a:pt x="280" y="55"/>
                  </a:cubicBezTo>
                  <a:cubicBezTo>
                    <a:pt x="279" y="54"/>
                    <a:pt x="279" y="52"/>
                    <a:pt x="279" y="50"/>
                  </a:cubicBezTo>
                  <a:cubicBezTo>
                    <a:pt x="279" y="48"/>
                    <a:pt x="279" y="46"/>
                    <a:pt x="278" y="44"/>
                  </a:cubicBezTo>
                  <a:cubicBezTo>
                    <a:pt x="276" y="40"/>
                    <a:pt x="276" y="36"/>
                    <a:pt x="276" y="32"/>
                  </a:cubicBezTo>
                  <a:cubicBezTo>
                    <a:pt x="276" y="31"/>
                    <a:pt x="276" y="29"/>
                    <a:pt x="276" y="28"/>
                  </a:cubicBezTo>
                  <a:cubicBezTo>
                    <a:pt x="277" y="24"/>
                    <a:pt x="277" y="20"/>
                    <a:pt x="274" y="15"/>
                  </a:cubicBezTo>
                  <a:cubicBezTo>
                    <a:pt x="272" y="11"/>
                    <a:pt x="267" y="7"/>
                    <a:pt x="264" y="3"/>
                  </a:cubicBezTo>
                  <a:cubicBezTo>
                    <a:pt x="263" y="3"/>
                    <a:pt x="263" y="3"/>
                    <a:pt x="263" y="3"/>
                  </a:cubicBezTo>
                  <a:cubicBezTo>
                    <a:pt x="261" y="0"/>
                    <a:pt x="261" y="0"/>
                    <a:pt x="261" y="0"/>
                  </a:cubicBezTo>
                  <a:cubicBezTo>
                    <a:pt x="0" y="250"/>
                    <a:pt x="0" y="250"/>
                    <a:pt x="0" y="250"/>
                  </a:cubicBezTo>
                  <a:cubicBezTo>
                    <a:pt x="2" y="252"/>
                    <a:pt x="2" y="252"/>
                    <a:pt x="2" y="252"/>
                  </a:cubicBezTo>
                  <a:cubicBezTo>
                    <a:pt x="2" y="253"/>
                    <a:pt x="3" y="255"/>
                    <a:pt x="4" y="257"/>
                  </a:cubicBezTo>
                  <a:cubicBezTo>
                    <a:pt x="5" y="259"/>
                    <a:pt x="7" y="262"/>
                    <a:pt x="8" y="264"/>
                  </a:cubicBezTo>
                  <a:cubicBezTo>
                    <a:pt x="11" y="268"/>
                    <a:pt x="12" y="269"/>
                    <a:pt x="18" y="271"/>
                  </a:cubicBezTo>
                  <a:cubicBezTo>
                    <a:pt x="18" y="272"/>
                    <a:pt x="18" y="272"/>
                    <a:pt x="18" y="272"/>
                  </a:cubicBezTo>
                  <a:cubicBezTo>
                    <a:pt x="24" y="274"/>
                    <a:pt x="25" y="275"/>
                    <a:pt x="25" y="275"/>
                  </a:cubicBezTo>
                  <a:cubicBezTo>
                    <a:pt x="25" y="275"/>
                    <a:pt x="24" y="275"/>
                    <a:pt x="23" y="276"/>
                  </a:cubicBezTo>
                  <a:cubicBezTo>
                    <a:pt x="22" y="276"/>
                    <a:pt x="21" y="277"/>
                    <a:pt x="20" y="278"/>
                  </a:cubicBezTo>
                  <a:cubicBezTo>
                    <a:pt x="20" y="278"/>
                    <a:pt x="19" y="279"/>
                    <a:pt x="19" y="279"/>
                  </a:cubicBezTo>
                  <a:cubicBezTo>
                    <a:pt x="17" y="281"/>
                    <a:pt x="17" y="281"/>
                    <a:pt x="17" y="281"/>
                  </a:cubicBezTo>
                  <a:cubicBezTo>
                    <a:pt x="19" y="283"/>
                    <a:pt x="19" y="283"/>
                    <a:pt x="19" y="283"/>
                  </a:cubicBezTo>
                  <a:cubicBezTo>
                    <a:pt x="42" y="306"/>
                    <a:pt x="125" y="385"/>
                    <a:pt x="247" y="459"/>
                  </a:cubicBezTo>
                  <a:cubicBezTo>
                    <a:pt x="250" y="461"/>
                    <a:pt x="250" y="461"/>
                    <a:pt x="250" y="461"/>
                  </a:cubicBezTo>
                  <a:cubicBezTo>
                    <a:pt x="251" y="457"/>
                    <a:pt x="251" y="457"/>
                    <a:pt x="251" y="457"/>
                  </a:cubicBezTo>
                  <a:cubicBezTo>
                    <a:pt x="252" y="456"/>
                    <a:pt x="252" y="456"/>
                    <a:pt x="253" y="454"/>
                  </a:cubicBezTo>
                  <a:cubicBezTo>
                    <a:pt x="253" y="451"/>
                    <a:pt x="253" y="449"/>
                    <a:pt x="252" y="447"/>
                  </a:cubicBezTo>
                  <a:cubicBezTo>
                    <a:pt x="252" y="443"/>
                    <a:pt x="251" y="440"/>
                    <a:pt x="253" y="437"/>
                  </a:cubicBezTo>
                  <a:cubicBezTo>
                    <a:pt x="253" y="436"/>
                    <a:pt x="254" y="435"/>
                    <a:pt x="255" y="434"/>
                  </a:cubicBezTo>
                  <a:cubicBezTo>
                    <a:pt x="258" y="431"/>
                    <a:pt x="260" y="428"/>
                    <a:pt x="258" y="425"/>
                  </a:cubicBezTo>
                  <a:cubicBezTo>
                    <a:pt x="256" y="423"/>
                    <a:pt x="253" y="423"/>
                    <a:pt x="252" y="423"/>
                  </a:cubicBezTo>
                  <a:cubicBezTo>
                    <a:pt x="251" y="423"/>
                    <a:pt x="251" y="423"/>
                    <a:pt x="250" y="423"/>
                  </a:cubicBezTo>
                  <a:cubicBezTo>
                    <a:pt x="249" y="423"/>
                    <a:pt x="249" y="423"/>
                    <a:pt x="248" y="423"/>
                  </a:cubicBezTo>
                  <a:cubicBezTo>
                    <a:pt x="246" y="423"/>
                    <a:pt x="244" y="422"/>
                    <a:pt x="243" y="422"/>
                  </a:cubicBezTo>
                  <a:cubicBezTo>
                    <a:pt x="242" y="421"/>
                    <a:pt x="241" y="420"/>
                    <a:pt x="241" y="419"/>
                  </a:cubicBezTo>
                  <a:cubicBezTo>
                    <a:pt x="240" y="419"/>
                    <a:pt x="240" y="418"/>
                    <a:pt x="239" y="417"/>
                  </a:cubicBezTo>
                  <a:cubicBezTo>
                    <a:pt x="237" y="416"/>
                    <a:pt x="235" y="416"/>
                    <a:pt x="233" y="415"/>
                  </a:cubicBezTo>
                  <a:cubicBezTo>
                    <a:pt x="231" y="415"/>
                    <a:pt x="229" y="415"/>
                    <a:pt x="227" y="413"/>
                  </a:cubicBezTo>
                  <a:cubicBezTo>
                    <a:pt x="224" y="411"/>
                    <a:pt x="222" y="408"/>
                    <a:pt x="223" y="403"/>
                  </a:cubicBezTo>
                  <a:cubicBezTo>
                    <a:pt x="223" y="400"/>
                    <a:pt x="224" y="398"/>
                    <a:pt x="226" y="395"/>
                  </a:cubicBezTo>
                  <a:cubicBezTo>
                    <a:pt x="227" y="393"/>
                    <a:pt x="229" y="390"/>
                    <a:pt x="228" y="385"/>
                  </a:cubicBezTo>
                  <a:cubicBezTo>
                    <a:pt x="228" y="383"/>
                    <a:pt x="227" y="381"/>
                    <a:pt x="225" y="379"/>
                  </a:cubicBezTo>
                  <a:cubicBezTo>
                    <a:pt x="224" y="377"/>
                    <a:pt x="223" y="376"/>
                    <a:pt x="222" y="374"/>
                  </a:cubicBezTo>
                  <a:cubicBezTo>
                    <a:pt x="221" y="370"/>
                    <a:pt x="221" y="366"/>
                    <a:pt x="221" y="362"/>
                  </a:cubicBezTo>
                  <a:cubicBezTo>
                    <a:pt x="221" y="357"/>
                    <a:pt x="221" y="351"/>
                    <a:pt x="219" y="346"/>
                  </a:cubicBezTo>
                  <a:cubicBezTo>
                    <a:pt x="218" y="345"/>
                    <a:pt x="217" y="344"/>
                    <a:pt x="216" y="343"/>
                  </a:cubicBezTo>
                  <a:cubicBezTo>
                    <a:pt x="214" y="341"/>
                    <a:pt x="213" y="339"/>
                    <a:pt x="215" y="335"/>
                  </a:cubicBezTo>
                  <a:cubicBezTo>
                    <a:pt x="216" y="333"/>
                    <a:pt x="217" y="332"/>
                    <a:pt x="218" y="331"/>
                  </a:cubicBezTo>
                  <a:cubicBezTo>
                    <a:pt x="220" y="328"/>
                    <a:pt x="222" y="325"/>
                    <a:pt x="221" y="320"/>
                  </a:cubicBezTo>
                  <a:cubicBezTo>
                    <a:pt x="221" y="318"/>
                    <a:pt x="221" y="317"/>
                    <a:pt x="221" y="315"/>
                  </a:cubicBezTo>
                  <a:cubicBezTo>
                    <a:pt x="220" y="311"/>
                    <a:pt x="220" y="307"/>
                    <a:pt x="222" y="304"/>
                  </a:cubicBezTo>
                  <a:cubicBezTo>
                    <a:pt x="223" y="301"/>
                    <a:pt x="225" y="299"/>
                    <a:pt x="227" y="298"/>
                  </a:cubicBezTo>
                  <a:cubicBezTo>
                    <a:pt x="230" y="295"/>
                    <a:pt x="233" y="293"/>
                    <a:pt x="234" y="289"/>
                  </a:cubicBezTo>
                  <a:cubicBezTo>
                    <a:pt x="236" y="285"/>
                    <a:pt x="235" y="282"/>
                    <a:pt x="235" y="279"/>
                  </a:cubicBezTo>
                  <a:cubicBezTo>
                    <a:pt x="235" y="279"/>
                    <a:pt x="234" y="277"/>
                    <a:pt x="234" y="277"/>
                  </a:cubicBezTo>
                  <a:cubicBezTo>
                    <a:pt x="234" y="272"/>
                    <a:pt x="234" y="267"/>
                    <a:pt x="234" y="263"/>
                  </a:cubicBezTo>
                  <a:cubicBezTo>
                    <a:pt x="235" y="261"/>
                    <a:pt x="235" y="261"/>
                    <a:pt x="235" y="261"/>
                  </a:cubicBezTo>
                  <a:cubicBezTo>
                    <a:pt x="235" y="260"/>
                    <a:pt x="235" y="259"/>
                    <a:pt x="235" y="258"/>
                  </a:cubicBezTo>
                  <a:cubicBezTo>
                    <a:pt x="236" y="253"/>
                    <a:pt x="236" y="250"/>
                    <a:pt x="235" y="247"/>
                  </a:cubicBezTo>
                  <a:cubicBezTo>
                    <a:pt x="234" y="246"/>
                    <a:pt x="233" y="245"/>
                    <a:pt x="233" y="244"/>
                  </a:cubicBezTo>
                  <a:cubicBezTo>
                    <a:pt x="231" y="241"/>
                    <a:pt x="230" y="239"/>
                    <a:pt x="229" y="235"/>
                  </a:cubicBezTo>
                  <a:cubicBezTo>
                    <a:pt x="229" y="233"/>
                    <a:pt x="229" y="233"/>
                    <a:pt x="229" y="233"/>
                  </a:cubicBezTo>
                  <a:cubicBezTo>
                    <a:pt x="229" y="225"/>
                    <a:pt x="228" y="217"/>
                    <a:pt x="236" y="212"/>
                  </a:cubicBezTo>
                  <a:cubicBezTo>
                    <a:pt x="238" y="210"/>
                    <a:pt x="238" y="210"/>
                    <a:pt x="238" y="210"/>
                  </a:cubicBezTo>
                  <a:cubicBezTo>
                    <a:pt x="244" y="206"/>
                    <a:pt x="251" y="201"/>
                    <a:pt x="254" y="195"/>
                  </a:cubicBezTo>
                  <a:cubicBezTo>
                    <a:pt x="257" y="189"/>
                    <a:pt x="253" y="187"/>
                    <a:pt x="249" y="184"/>
                  </a:cubicBezTo>
                  <a:cubicBezTo>
                    <a:pt x="247" y="182"/>
                    <a:pt x="245" y="180"/>
                    <a:pt x="243" y="178"/>
                  </a:cubicBezTo>
                  <a:cubicBezTo>
                    <a:pt x="241" y="173"/>
                    <a:pt x="246" y="167"/>
                    <a:pt x="254" y="160"/>
                  </a:cubicBezTo>
                  <a:cubicBezTo>
                    <a:pt x="258" y="157"/>
                    <a:pt x="262" y="154"/>
                    <a:pt x="263" y="151"/>
                  </a:cubicBezTo>
                  <a:cubicBezTo>
                    <a:pt x="265" y="147"/>
                    <a:pt x="265" y="144"/>
                    <a:pt x="264" y="141"/>
                  </a:cubicBezTo>
                  <a:cubicBezTo>
                    <a:pt x="263" y="138"/>
                    <a:pt x="258" y="136"/>
                    <a:pt x="254" y="135"/>
                  </a:cubicBezTo>
                  <a:cubicBezTo>
                    <a:pt x="250" y="134"/>
                    <a:pt x="246" y="132"/>
                    <a:pt x="244" y="130"/>
                  </a:cubicBezTo>
                  <a:cubicBezTo>
                    <a:pt x="241" y="128"/>
                    <a:pt x="240" y="125"/>
                    <a:pt x="240" y="123"/>
                  </a:cubicBezTo>
                  <a:cubicBezTo>
                    <a:pt x="240" y="121"/>
                    <a:pt x="241" y="118"/>
                    <a:pt x="243" y="117"/>
                  </a:cubicBezTo>
                  <a:cubicBezTo>
                    <a:pt x="244" y="116"/>
                    <a:pt x="244" y="116"/>
                    <a:pt x="244" y="116"/>
                  </a:cubicBezTo>
                  <a:cubicBezTo>
                    <a:pt x="248" y="112"/>
                    <a:pt x="252" y="109"/>
                    <a:pt x="255" y="104"/>
                  </a:cubicBezTo>
                  <a:cubicBezTo>
                    <a:pt x="256" y="102"/>
                    <a:pt x="257" y="100"/>
                    <a:pt x="257" y="98"/>
                  </a:cubicBezTo>
                  <a:cubicBezTo>
                    <a:pt x="258" y="95"/>
                    <a:pt x="258" y="93"/>
                    <a:pt x="259" y="91"/>
                  </a:cubicBezTo>
                  <a:cubicBezTo>
                    <a:pt x="261" y="88"/>
                    <a:pt x="264" y="87"/>
                    <a:pt x="267" y="85"/>
                  </a:cubicBezTo>
                  <a:cubicBezTo>
                    <a:pt x="269" y="84"/>
                    <a:pt x="271" y="83"/>
                    <a:pt x="272" y="82"/>
                  </a:cubicBezTo>
                  <a:cubicBezTo>
                    <a:pt x="275" y="80"/>
                    <a:pt x="276" y="77"/>
                    <a:pt x="278" y="73"/>
                  </a:cubicBezTo>
                  <a:cubicBezTo>
                    <a:pt x="280" y="72"/>
                    <a:pt x="281" y="70"/>
                    <a:pt x="282" y="68"/>
                  </a:cubicBezTo>
                  <a:cubicBezTo>
                    <a:pt x="283" y="67"/>
                    <a:pt x="284" y="65"/>
                    <a:pt x="285" y="64"/>
                  </a:cubicBezTo>
                  <a:cubicBezTo>
                    <a:pt x="286" y="62"/>
                    <a:pt x="286" y="62"/>
                    <a:pt x="286" y="62"/>
                  </a:cubicBezTo>
                  <a:lnTo>
                    <a:pt x="283" y="59"/>
                  </a:ln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1" name="Freeform 52">
              <a:extLst>
                <a:ext uri="{FF2B5EF4-FFF2-40B4-BE49-F238E27FC236}">
                  <a16:creationId xmlns:a16="http://schemas.microsoft.com/office/drawing/2014/main" id="{F979F34D-34D8-9ECA-A574-BA04E9680709}"/>
                </a:ext>
              </a:extLst>
            </p:cNvPr>
            <p:cNvSpPr>
              <a:spLocks/>
            </p:cNvSpPr>
            <p:nvPr/>
          </p:nvSpPr>
          <p:spPr bwMode="auto">
            <a:xfrm rot="21097436">
              <a:off x="7789912" y="2615606"/>
              <a:ext cx="104292" cy="238043"/>
            </a:xfrm>
            <a:custGeom>
              <a:avLst/>
              <a:gdLst>
                <a:gd name="T0" fmla="*/ 234838 w 45"/>
                <a:gd name="T1" fmla="*/ 225988 h 94"/>
                <a:gd name="T2" fmla="*/ 256186 w 45"/>
                <a:gd name="T3" fmla="*/ 200160 h 94"/>
                <a:gd name="T4" fmla="*/ 306000 w 45"/>
                <a:gd name="T5" fmla="*/ 122679 h 94"/>
                <a:gd name="T6" fmla="*/ 234838 w 45"/>
                <a:gd name="T7" fmla="*/ 71025 h 94"/>
                <a:gd name="T8" fmla="*/ 149442 w 45"/>
                <a:gd name="T9" fmla="*/ 0 h 94"/>
                <a:gd name="T10" fmla="*/ 99628 w 45"/>
                <a:gd name="T11" fmla="*/ 32284 h 94"/>
                <a:gd name="T12" fmla="*/ 85395 w 45"/>
                <a:gd name="T13" fmla="*/ 45198 h 94"/>
                <a:gd name="T14" fmla="*/ 49814 w 45"/>
                <a:gd name="T15" fmla="*/ 129136 h 94"/>
                <a:gd name="T16" fmla="*/ 42698 w 45"/>
                <a:gd name="T17" fmla="*/ 174333 h 94"/>
                <a:gd name="T18" fmla="*/ 42698 w 45"/>
                <a:gd name="T19" fmla="*/ 258271 h 94"/>
                <a:gd name="T20" fmla="*/ 21349 w 45"/>
                <a:gd name="T21" fmla="*/ 258271 h 94"/>
                <a:gd name="T22" fmla="*/ 14233 w 45"/>
                <a:gd name="T23" fmla="*/ 277642 h 94"/>
                <a:gd name="T24" fmla="*/ 14233 w 45"/>
                <a:gd name="T25" fmla="*/ 297012 h 94"/>
                <a:gd name="T26" fmla="*/ 7116 w 45"/>
                <a:gd name="T27" fmla="*/ 329296 h 94"/>
                <a:gd name="T28" fmla="*/ 21349 w 45"/>
                <a:gd name="T29" fmla="*/ 368037 h 94"/>
                <a:gd name="T30" fmla="*/ 21349 w 45"/>
                <a:gd name="T31" fmla="*/ 380950 h 94"/>
                <a:gd name="T32" fmla="*/ 21349 w 45"/>
                <a:gd name="T33" fmla="*/ 484259 h 94"/>
                <a:gd name="T34" fmla="*/ 21349 w 45"/>
                <a:gd name="T35" fmla="*/ 490716 h 94"/>
                <a:gd name="T36" fmla="*/ 14233 w 45"/>
                <a:gd name="T37" fmla="*/ 542370 h 94"/>
                <a:gd name="T38" fmla="*/ 14233 w 45"/>
                <a:gd name="T39" fmla="*/ 555284 h 94"/>
                <a:gd name="T40" fmla="*/ 71163 w 45"/>
                <a:gd name="T41" fmla="*/ 606938 h 94"/>
                <a:gd name="T42" fmla="*/ 99628 w 45"/>
                <a:gd name="T43" fmla="*/ 594024 h 94"/>
                <a:gd name="T44" fmla="*/ 92512 w 45"/>
                <a:gd name="T45" fmla="*/ 529457 h 94"/>
                <a:gd name="T46" fmla="*/ 92512 w 45"/>
                <a:gd name="T47" fmla="*/ 529457 h 94"/>
                <a:gd name="T48" fmla="*/ 85395 w 45"/>
                <a:gd name="T49" fmla="*/ 445518 h 94"/>
                <a:gd name="T50" fmla="*/ 99628 w 45"/>
                <a:gd name="T51" fmla="*/ 413234 h 94"/>
                <a:gd name="T52" fmla="*/ 128093 w 45"/>
                <a:gd name="T53" fmla="*/ 393864 h 94"/>
                <a:gd name="T54" fmla="*/ 149442 w 45"/>
                <a:gd name="T55" fmla="*/ 374494 h 94"/>
                <a:gd name="T56" fmla="*/ 170791 w 45"/>
                <a:gd name="T57" fmla="*/ 335753 h 94"/>
                <a:gd name="T58" fmla="*/ 163675 w 45"/>
                <a:gd name="T59" fmla="*/ 284099 h 94"/>
                <a:gd name="T60" fmla="*/ 185024 w 45"/>
                <a:gd name="T61" fmla="*/ 264728 h 94"/>
                <a:gd name="T62" fmla="*/ 199256 w 45"/>
                <a:gd name="T63" fmla="*/ 251815 h 9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 h="94">
                  <a:moveTo>
                    <a:pt x="28" y="39"/>
                  </a:moveTo>
                  <a:cubicBezTo>
                    <a:pt x="31" y="39"/>
                    <a:pt x="32" y="36"/>
                    <a:pt x="33" y="35"/>
                  </a:cubicBezTo>
                  <a:cubicBezTo>
                    <a:pt x="33" y="35"/>
                    <a:pt x="34" y="34"/>
                    <a:pt x="34" y="34"/>
                  </a:cubicBezTo>
                  <a:cubicBezTo>
                    <a:pt x="35" y="33"/>
                    <a:pt x="36" y="33"/>
                    <a:pt x="36" y="31"/>
                  </a:cubicBezTo>
                  <a:cubicBezTo>
                    <a:pt x="39" y="31"/>
                    <a:pt x="44" y="29"/>
                    <a:pt x="45" y="26"/>
                  </a:cubicBezTo>
                  <a:cubicBezTo>
                    <a:pt x="45" y="23"/>
                    <a:pt x="45" y="21"/>
                    <a:pt x="43" y="19"/>
                  </a:cubicBezTo>
                  <a:cubicBezTo>
                    <a:pt x="42" y="18"/>
                    <a:pt x="40" y="17"/>
                    <a:pt x="38" y="16"/>
                  </a:cubicBezTo>
                  <a:cubicBezTo>
                    <a:pt x="37" y="14"/>
                    <a:pt x="36" y="12"/>
                    <a:pt x="33" y="11"/>
                  </a:cubicBezTo>
                  <a:cubicBezTo>
                    <a:pt x="31" y="10"/>
                    <a:pt x="31" y="10"/>
                    <a:pt x="31" y="9"/>
                  </a:cubicBezTo>
                  <a:cubicBezTo>
                    <a:pt x="30" y="5"/>
                    <a:pt x="26" y="0"/>
                    <a:pt x="21" y="0"/>
                  </a:cubicBezTo>
                  <a:cubicBezTo>
                    <a:pt x="20" y="0"/>
                    <a:pt x="19" y="1"/>
                    <a:pt x="18" y="1"/>
                  </a:cubicBezTo>
                  <a:cubicBezTo>
                    <a:pt x="16" y="2"/>
                    <a:pt x="15" y="4"/>
                    <a:pt x="14" y="5"/>
                  </a:cubicBezTo>
                  <a:cubicBezTo>
                    <a:pt x="13" y="5"/>
                    <a:pt x="13" y="6"/>
                    <a:pt x="12" y="6"/>
                  </a:cubicBezTo>
                  <a:cubicBezTo>
                    <a:pt x="12" y="7"/>
                    <a:pt x="12" y="7"/>
                    <a:pt x="12" y="7"/>
                  </a:cubicBezTo>
                  <a:cubicBezTo>
                    <a:pt x="11" y="8"/>
                    <a:pt x="9" y="10"/>
                    <a:pt x="8" y="12"/>
                  </a:cubicBezTo>
                  <a:cubicBezTo>
                    <a:pt x="7" y="15"/>
                    <a:pt x="7" y="18"/>
                    <a:pt x="7" y="20"/>
                  </a:cubicBezTo>
                  <a:cubicBezTo>
                    <a:pt x="7" y="23"/>
                    <a:pt x="7" y="25"/>
                    <a:pt x="7" y="27"/>
                  </a:cubicBezTo>
                  <a:cubicBezTo>
                    <a:pt x="6" y="27"/>
                    <a:pt x="6" y="27"/>
                    <a:pt x="6" y="27"/>
                  </a:cubicBezTo>
                  <a:cubicBezTo>
                    <a:pt x="6" y="30"/>
                    <a:pt x="5" y="32"/>
                    <a:pt x="5" y="35"/>
                  </a:cubicBezTo>
                  <a:cubicBezTo>
                    <a:pt x="6" y="37"/>
                    <a:pt x="6" y="39"/>
                    <a:pt x="6" y="40"/>
                  </a:cubicBezTo>
                  <a:cubicBezTo>
                    <a:pt x="6" y="40"/>
                    <a:pt x="5" y="40"/>
                    <a:pt x="5" y="40"/>
                  </a:cubicBezTo>
                  <a:cubicBezTo>
                    <a:pt x="3" y="40"/>
                    <a:pt x="3" y="40"/>
                    <a:pt x="3" y="40"/>
                  </a:cubicBezTo>
                  <a:cubicBezTo>
                    <a:pt x="2" y="42"/>
                    <a:pt x="2" y="42"/>
                    <a:pt x="2" y="42"/>
                  </a:cubicBezTo>
                  <a:cubicBezTo>
                    <a:pt x="2" y="42"/>
                    <a:pt x="2" y="43"/>
                    <a:pt x="2" y="43"/>
                  </a:cubicBezTo>
                  <a:cubicBezTo>
                    <a:pt x="2" y="43"/>
                    <a:pt x="2" y="45"/>
                    <a:pt x="2" y="46"/>
                  </a:cubicBezTo>
                  <a:cubicBezTo>
                    <a:pt x="2" y="46"/>
                    <a:pt x="2" y="46"/>
                    <a:pt x="2" y="46"/>
                  </a:cubicBezTo>
                  <a:cubicBezTo>
                    <a:pt x="2" y="46"/>
                    <a:pt x="2" y="46"/>
                    <a:pt x="2" y="46"/>
                  </a:cubicBezTo>
                  <a:cubicBezTo>
                    <a:pt x="1" y="51"/>
                    <a:pt x="1" y="51"/>
                    <a:pt x="1" y="51"/>
                  </a:cubicBezTo>
                  <a:cubicBezTo>
                    <a:pt x="1" y="52"/>
                    <a:pt x="1" y="53"/>
                    <a:pt x="1" y="54"/>
                  </a:cubicBezTo>
                  <a:cubicBezTo>
                    <a:pt x="2" y="56"/>
                    <a:pt x="3" y="57"/>
                    <a:pt x="3" y="57"/>
                  </a:cubicBezTo>
                  <a:cubicBezTo>
                    <a:pt x="3" y="58"/>
                    <a:pt x="3" y="58"/>
                    <a:pt x="3" y="58"/>
                  </a:cubicBezTo>
                  <a:cubicBezTo>
                    <a:pt x="3" y="59"/>
                    <a:pt x="3" y="59"/>
                    <a:pt x="3" y="59"/>
                  </a:cubicBezTo>
                  <a:cubicBezTo>
                    <a:pt x="2" y="59"/>
                    <a:pt x="2" y="60"/>
                    <a:pt x="2" y="61"/>
                  </a:cubicBezTo>
                  <a:cubicBezTo>
                    <a:pt x="0" y="65"/>
                    <a:pt x="1" y="72"/>
                    <a:pt x="3" y="75"/>
                  </a:cubicBezTo>
                  <a:cubicBezTo>
                    <a:pt x="3" y="76"/>
                    <a:pt x="3" y="76"/>
                    <a:pt x="3" y="76"/>
                  </a:cubicBezTo>
                  <a:cubicBezTo>
                    <a:pt x="3" y="76"/>
                    <a:pt x="3" y="76"/>
                    <a:pt x="3" y="76"/>
                  </a:cubicBezTo>
                  <a:cubicBezTo>
                    <a:pt x="2" y="78"/>
                    <a:pt x="2" y="78"/>
                    <a:pt x="2" y="78"/>
                  </a:cubicBezTo>
                  <a:cubicBezTo>
                    <a:pt x="1" y="81"/>
                    <a:pt x="1" y="83"/>
                    <a:pt x="2" y="84"/>
                  </a:cubicBezTo>
                  <a:cubicBezTo>
                    <a:pt x="2" y="85"/>
                    <a:pt x="2" y="85"/>
                    <a:pt x="2" y="85"/>
                  </a:cubicBezTo>
                  <a:cubicBezTo>
                    <a:pt x="2" y="86"/>
                    <a:pt x="2" y="86"/>
                    <a:pt x="2" y="86"/>
                  </a:cubicBezTo>
                  <a:cubicBezTo>
                    <a:pt x="3" y="88"/>
                    <a:pt x="3" y="90"/>
                    <a:pt x="6" y="91"/>
                  </a:cubicBezTo>
                  <a:cubicBezTo>
                    <a:pt x="7" y="94"/>
                    <a:pt x="8" y="94"/>
                    <a:pt x="10" y="94"/>
                  </a:cubicBezTo>
                  <a:cubicBezTo>
                    <a:pt x="10" y="94"/>
                    <a:pt x="10" y="94"/>
                    <a:pt x="10" y="94"/>
                  </a:cubicBezTo>
                  <a:cubicBezTo>
                    <a:pt x="12" y="94"/>
                    <a:pt x="13" y="93"/>
                    <a:pt x="14" y="92"/>
                  </a:cubicBezTo>
                  <a:cubicBezTo>
                    <a:pt x="16" y="89"/>
                    <a:pt x="14" y="85"/>
                    <a:pt x="13" y="83"/>
                  </a:cubicBezTo>
                  <a:cubicBezTo>
                    <a:pt x="13" y="83"/>
                    <a:pt x="13" y="83"/>
                    <a:pt x="13" y="82"/>
                  </a:cubicBezTo>
                  <a:cubicBezTo>
                    <a:pt x="12" y="82"/>
                    <a:pt x="12" y="82"/>
                    <a:pt x="12" y="82"/>
                  </a:cubicBezTo>
                  <a:cubicBezTo>
                    <a:pt x="12" y="82"/>
                    <a:pt x="13" y="82"/>
                    <a:pt x="13" y="82"/>
                  </a:cubicBezTo>
                  <a:cubicBezTo>
                    <a:pt x="15" y="78"/>
                    <a:pt x="13" y="75"/>
                    <a:pt x="13" y="72"/>
                  </a:cubicBezTo>
                  <a:cubicBezTo>
                    <a:pt x="12" y="71"/>
                    <a:pt x="12" y="70"/>
                    <a:pt x="12" y="69"/>
                  </a:cubicBezTo>
                  <a:cubicBezTo>
                    <a:pt x="12" y="68"/>
                    <a:pt x="12" y="68"/>
                    <a:pt x="13" y="67"/>
                  </a:cubicBezTo>
                  <a:cubicBezTo>
                    <a:pt x="13" y="66"/>
                    <a:pt x="14" y="65"/>
                    <a:pt x="14" y="64"/>
                  </a:cubicBezTo>
                  <a:cubicBezTo>
                    <a:pt x="15" y="63"/>
                    <a:pt x="16" y="63"/>
                    <a:pt x="17" y="62"/>
                  </a:cubicBezTo>
                  <a:cubicBezTo>
                    <a:pt x="17" y="62"/>
                    <a:pt x="18" y="61"/>
                    <a:pt x="18" y="61"/>
                  </a:cubicBezTo>
                  <a:cubicBezTo>
                    <a:pt x="18" y="61"/>
                    <a:pt x="18" y="61"/>
                    <a:pt x="19" y="60"/>
                  </a:cubicBezTo>
                  <a:cubicBezTo>
                    <a:pt x="20" y="60"/>
                    <a:pt x="21" y="59"/>
                    <a:pt x="21" y="58"/>
                  </a:cubicBezTo>
                  <a:cubicBezTo>
                    <a:pt x="23" y="57"/>
                    <a:pt x="22" y="55"/>
                    <a:pt x="22" y="54"/>
                  </a:cubicBezTo>
                  <a:cubicBezTo>
                    <a:pt x="23" y="54"/>
                    <a:pt x="23" y="53"/>
                    <a:pt x="24" y="52"/>
                  </a:cubicBezTo>
                  <a:cubicBezTo>
                    <a:pt x="24" y="51"/>
                    <a:pt x="24" y="49"/>
                    <a:pt x="24" y="48"/>
                  </a:cubicBezTo>
                  <a:cubicBezTo>
                    <a:pt x="24" y="46"/>
                    <a:pt x="24" y="45"/>
                    <a:pt x="23" y="44"/>
                  </a:cubicBezTo>
                  <a:cubicBezTo>
                    <a:pt x="24" y="44"/>
                    <a:pt x="25" y="43"/>
                    <a:pt x="25" y="42"/>
                  </a:cubicBezTo>
                  <a:cubicBezTo>
                    <a:pt x="26" y="42"/>
                    <a:pt x="26" y="42"/>
                    <a:pt x="26" y="41"/>
                  </a:cubicBezTo>
                  <a:cubicBezTo>
                    <a:pt x="26" y="41"/>
                    <a:pt x="26" y="41"/>
                    <a:pt x="26" y="41"/>
                  </a:cubicBezTo>
                  <a:cubicBezTo>
                    <a:pt x="27" y="41"/>
                    <a:pt x="27" y="40"/>
                    <a:pt x="28" y="39"/>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2" name="Freeform 59">
              <a:extLst>
                <a:ext uri="{FF2B5EF4-FFF2-40B4-BE49-F238E27FC236}">
                  <a16:creationId xmlns:a16="http://schemas.microsoft.com/office/drawing/2014/main" id="{21B31B4B-70F3-7F30-98F4-40EE3565B00D}"/>
                </a:ext>
              </a:extLst>
            </p:cNvPr>
            <p:cNvSpPr>
              <a:spLocks noEditPoints="1"/>
            </p:cNvSpPr>
            <p:nvPr/>
          </p:nvSpPr>
          <p:spPr bwMode="auto">
            <a:xfrm rot="21097436">
              <a:off x="8303629" y="1227360"/>
              <a:ext cx="1057700" cy="1406361"/>
            </a:xfrm>
            <a:custGeom>
              <a:avLst/>
              <a:gdLst>
                <a:gd name="T0" fmla="*/ 1630937 w 458"/>
                <a:gd name="T1" fmla="*/ 1089925 h 556"/>
                <a:gd name="T2" fmla="*/ 1758576 w 458"/>
                <a:gd name="T3" fmla="*/ 580433 h 556"/>
                <a:gd name="T4" fmla="*/ 1581300 w 458"/>
                <a:gd name="T5" fmla="*/ 625578 h 556"/>
                <a:gd name="T6" fmla="*/ 1630937 w 458"/>
                <a:gd name="T7" fmla="*/ 432100 h 556"/>
                <a:gd name="T8" fmla="*/ 1503298 w 458"/>
                <a:gd name="T9" fmla="*/ 477245 h 556"/>
                <a:gd name="T10" fmla="*/ 1418206 w 458"/>
                <a:gd name="T11" fmla="*/ 457898 h 556"/>
                <a:gd name="T12" fmla="*/ 1432388 w 458"/>
                <a:gd name="T13" fmla="*/ 380506 h 556"/>
                <a:gd name="T14" fmla="*/ 1439479 w 458"/>
                <a:gd name="T15" fmla="*/ 187029 h 556"/>
                <a:gd name="T16" fmla="*/ 1297659 w 458"/>
                <a:gd name="T17" fmla="*/ 270869 h 556"/>
                <a:gd name="T18" fmla="*/ 1226748 w 458"/>
                <a:gd name="T19" fmla="*/ 283767 h 556"/>
                <a:gd name="T20" fmla="*/ 1248021 w 458"/>
                <a:gd name="T21" fmla="*/ 193478 h 556"/>
                <a:gd name="T22" fmla="*/ 1184202 w 458"/>
                <a:gd name="T23" fmla="*/ 148333 h 556"/>
                <a:gd name="T24" fmla="*/ 1042381 w 458"/>
                <a:gd name="T25" fmla="*/ 135434 h 556"/>
                <a:gd name="T26" fmla="*/ 879288 w 458"/>
                <a:gd name="T27" fmla="*/ 128985 h 556"/>
                <a:gd name="T28" fmla="*/ 758740 w 458"/>
                <a:gd name="T29" fmla="*/ 32246 h 556"/>
                <a:gd name="T30" fmla="*/ 659466 w 458"/>
                <a:gd name="T31" fmla="*/ 32246 h 556"/>
                <a:gd name="T32" fmla="*/ 567282 w 458"/>
                <a:gd name="T33" fmla="*/ 45145 h 556"/>
                <a:gd name="T34" fmla="*/ 489281 w 458"/>
                <a:gd name="T35" fmla="*/ 83840 h 556"/>
                <a:gd name="T36" fmla="*/ 297823 w 458"/>
                <a:gd name="T37" fmla="*/ 316014 h 556"/>
                <a:gd name="T38" fmla="*/ 361643 w 458"/>
                <a:gd name="T39" fmla="*/ 554636 h 556"/>
                <a:gd name="T40" fmla="*/ 177276 w 458"/>
                <a:gd name="T41" fmla="*/ 999635 h 556"/>
                <a:gd name="T42" fmla="*/ 156003 w 458"/>
                <a:gd name="T43" fmla="*/ 1309200 h 556"/>
                <a:gd name="T44" fmla="*/ 99274 w 458"/>
                <a:gd name="T45" fmla="*/ 1567170 h 556"/>
                <a:gd name="T46" fmla="*/ 21273 w 458"/>
                <a:gd name="T47" fmla="*/ 1857387 h 556"/>
                <a:gd name="T48" fmla="*/ 92183 w 458"/>
                <a:gd name="T49" fmla="*/ 2199198 h 556"/>
                <a:gd name="T50" fmla="*/ 212731 w 458"/>
                <a:gd name="T51" fmla="*/ 2366879 h 556"/>
                <a:gd name="T52" fmla="*/ 283641 w 458"/>
                <a:gd name="T53" fmla="*/ 2463618 h 556"/>
                <a:gd name="T54" fmla="*/ 276550 w 458"/>
                <a:gd name="T55" fmla="*/ 2624849 h 556"/>
                <a:gd name="T56" fmla="*/ 3240601 w 458"/>
                <a:gd name="T57" fmla="*/ 2599052 h 556"/>
                <a:gd name="T58" fmla="*/ 787104 w 458"/>
                <a:gd name="T59" fmla="*/ 238623 h 556"/>
                <a:gd name="T60" fmla="*/ 1645119 w 458"/>
                <a:gd name="T61" fmla="*/ 1367243 h 556"/>
                <a:gd name="T62" fmla="*/ 1474934 w 458"/>
                <a:gd name="T63" fmla="*/ 1431736 h 556"/>
                <a:gd name="T64" fmla="*/ 1602573 w 458"/>
                <a:gd name="T65" fmla="*/ 1534924 h 556"/>
                <a:gd name="T66" fmla="*/ 1723120 w 458"/>
                <a:gd name="T67" fmla="*/ 1567170 h 556"/>
                <a:gd name="T68" fmla="*/ 1602573 w 458"/>
                <a:gd name="T69" fmla="*/ 1663909 h 556"/>
                <a:gd name="T70" fmla="*/ 1418206 w 458"/>
                <a:gd name="T71" fmla="*/ 1670359 h 556"/>
                <a:gd name="T72" fmla="*/ 1311841 w 458"/>
                <a:gd name="T73" fmla="*/ 1709054 h 556"/>
                <a:gd name="T74" fmla="*/ 1269294 w 458"/>
                <a:gd name="T75" fmla="*/ 1580069 h 556"/>
                <a:gd name="T76" fmla="*/ 1077837 w 458"/>
                <a:gd name="T77" fmla="*/ 1586518 h 556"/>
                <a:gd name="T78" fmla="*/ 1198384 w 458"/>
                <a:gd name="T79" fmla="*/ 1522026 h 556"/>
                <a:gd name="T80" fmla="*/ 1375660 w 458"/>
                <a:gd name="T81" fmla="*/ 1502678 h 556"/>
                <a:gd name="T82" fmla="*/ 1212566 w 458"/>
                <a:gd name="T83" fmla="*/ 1334997 h 556"/>
                <a:gd name="T84" fmla="*/ 1113292 w 458"/>
                <a:gd name="T85" fmla="*/ 1283403 h 556"/>
                <a:gd name="T86" fmla="*/ 1198384 w 458"/>
                <a:gd name="T87" fmla="*/ 1283403 h 556"/>
                <a:gd name="T88" fmla="*/ 1432388 w 458"/>
                <a:gd name="T89" fmla="*/ 1341446 h 556"/>
                <a:gd name="T90" fmla="*/ 1021108 w 458"/>
                <a:gd name="T91" fmla="*/ 1257606 h 556"/>
                <a:gd name="T92" fmla="*/ 1070746 w 458"/>
                <a:gd name="T93" fmla="*/ 1270504 h 556"/>
                <a:gd name="T94" fmla="*/ 1035290 w 458"/>
                <a:gd name="T95" fmla="*/ 270869 h 556"/>
                <a:gd name="T96" fmla="*/ 1021108 w 458"/>
                <a:gd name="T97" fmla="*/ 232173 h 556"/>
                <a:gd name="T98" fmla="*/ 2198219 w 458"/>
                <a:gd name="T99" fmla="*/ 2689342 h 556"/>
                <a:gd name="T100" fmla="*/ 2063490 w 458"/>
                <a:gd name="T101" fmla="*/ 2728037 h 556"/>
                <a:gd name="T102" fmla="*/ 1701847 w 458"/>
                <a:gd name="T103" fmla="*/ 2850573 h 556"/>
                <a:gd name="T104" fmla="*/ 1581300 w 458"/>
                <a:gd name="T105" fmla="*/ 2915066 h 556"/>
                <a:gd name="T106" fmla="*/ 1389842 w 458"/>
                <a:gd name="T107" fmla="*/ 2889269 h 556"/>
                <a:gd name="T108" fmla="*/ 1361478 w 458"/>
                <a:gd name="T109" fmla="*/ 2805428 h 556"/>
                <a:gd name="T110" fmla="*/ 1567118 w 458"/>
                <a:gd name="T111" fmla="*/ 2740936 h 556"/>
                <a:gd name="T112" fmla="*/ 1545845 w 458"/>
                <a:gd name="T113" fmla="*/ 2470067 h 556"/>
                <a:gd name="T114" fmla="*/ 1843668 w 458"/>
                <a:gd name="T115" fmla="*/ 2779631 h 556"/>
                <a:gd name="T116" fmla="*/ 2006762 w 458"/>
                <a:gd name="T117" fmla="*/ 2715139 h 556"/>
                <a:gd name="T118" fmla="*/ 2219493 w 458"/>
                <a:gd name="T119" fmla="*/ 2657095 h 556"/>
                <a:gd name="T120" fmla="*/ 2205311 w 458"/>
                <a:gd name="T121" fmla="*/ 2676443 h 5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8" h="556">
                  <a:moveTo>
                    <a:pt x="345" y="346"/>
                  </a:moveTo>
                  <a:cubicBezTo>
                    <a:pt x="332" y="315"/>
                    <a:pt x="332" y="315"/>
                    <a:pt x="332" y="315"/>
                  </a:cubicBezTo>
                  <a:cubicBezTo>
                    <a:pt x="331" y="315"/>
                    <a:pt x="331" y="315"/>
                    <a:pt x="331" y="315"/>
                  </a:cubicBezTo>
                  <a:cubicBezTo>
                    <a:pt x="324" y="314"/>
                    <a:pt x="303" y="310"/>
                    <a:pt x="293" y="284"/>
                  </a:cubicBezTo>
                  <a:cubicBezTo>
                    <a:pt x="293" y="284"/>
                    <a:pt x="293" y="284"/>
                    <a:pt x="293" y="284"/>
                  </a:cubicBezTo>
                  <a:cubicBezTo>
                    <a:pt x="230" y="169"/>
                    <a:pt x="230" y="169"/>
                    <a:pt x="230" y="169"/>
                  </a:cubicBezTo>
                  <a:cubicBezTo>
                    <a:pt x="261" y="108"/>
                    <a:pt x="261" y="108"/>
                    <a:pt x="261" y="108"/>
                  </a:cubicBezTo>
                  <a:cubicBezTo>
                    <a:pt x="262" y="106"/>
                    <a:pt x="262" y="106"/>
                    <a:pt x="262" y="106"/>
                  </a:cubicBezTo>
                  <a:cubicBezTo>
                    <a:pt x="262" y="105"/>
                    <a:pt x="262" y="105"/>
                    <a:pt x="262" y="105"/>
                  </a:cubicBezTo>
                  <a:cubicBezTo>
                    <a:pt x="262" y="104"/>
                    <a:pt x="261" y="103"/>
                    <a:pt x="261" y="101"/>
                  </a:cubicBezTo>
                  <a:cubicBezTo>
                    <a:pt x="259" y="97"/>
                    <a:pt x="256" y="95"/>
                    <a:pt x="253" y="93"/>
                  </a:cubicBezTo>
                  <a:cubicBezTo>
                    <a:pt x="251" y="92"/>
                    <a:pt x="250" y="91"/>
                    <a:pt x="248" y="90"/>
                  </a:cubicBezTo>
                  <a:cubicBezTo>
                    <a:pt x="247" y="88"/>
                    <a:pt x="244" y="86"/>
                    <a:pt x="241" y="86"/>
                  </a:cubicBezTo>
                  <a:cubicBezTo>
                    <a:pt x="238" y="86"/>
                    <a:pt x="236" y="89"/>
                    <a:pt x="234" y="90"/>
                  </a:cubicBezTo>
                  <a:cubicBezTo>
                    <a:pt x="234" y="90"/>
                    <a:pt x="234" y="91"/>
                    <a:pt x="233" y="91"/>
                  </a:cubicBezTo>
                  <a:cubicBezTo>
                    <a:pt x="233" y="92"/>
                    <a:pt x="232" y="92"/>
                    <a:pt x="231" y="93"/>
                  </a:cubicBezTo>
                  <a:cubicBezTo>
                    <a:pt x="229" y="94"/>
                    <a:pt x="229" y="94"/>
                    <a:pt x="229" y="94"/>
                  </a:cubicBezTo>
                  <a:cubicBezTo>
                    <a:pt x="228" y="95"/>
                    <a:pt x="225" y="97"/>
                    <a:pt x="223" y="97"/>
                  </a:cubicBezTo>
                  <a:cubicBezTo>
                    <a:pt x="223" y="95"/>
                    <a:pt x="224" y="90"/>
                    <a:pt x="224" y="88"/>
                  </a:cubicBezTo>
                  <a:cubicBezTo>
                    <a:pt x="225" y="86"/>
                    <a:pt x="225" y="85"/>
                    <a:pt x="225" y="84"/>
                  </a:cubicBezTo>
                  <a:cubicBezTo>
                    <a:pt x="225" y="82"/>
                    <a:pt x="226" y="80"/>
                    <a:pt x="227" y="78"/>
                  </a:cubicBezTo>
                  <a:cubicBezTo>
                    <a:pt x="227" y="77"/>
                    <a:pt x="227" y="77"/>
                    <a:pt x="227" y="76"/>
                  </a:cubicBezTo>
                  <a:cubicBezTo>
                    <a:pt x="227" y="76"/>
                    <a:pt x="228" y="75"/>
                    <a:pt x="228" y="75"/>
                  </a:cubicBezTo>
                  <a:cubicBezTo>
                    <a:pt x="230" y="73"/>
                    <a:pt x="232" y="70"/>
                    <a:pt x="230" y="67"/>
                  </a:cubicBezTo>
                  <a:cubicBezTo>
                    <a:pt x="229" y="65"/>
                    <a:pt x="228" y="64"/>
                    <a:pt x="226" y="64"/>
                  </a:cubicBezTo>
                  <a:cubicBezTo>
                    <a:pt x="224" y="64"/>
                    <a:pt x="222" y="65"/>
                    <a:pt x="221" y="66"/>
                  </a:cubicBezTo>
                  <a:cubicBezTo>
                    <a:pt x="221" y="67"/>
                    <a:pt x="221" y="67"/>
                    <a:pt x="221" y="67"/>
                  </a:cubicBezTo>
                  <a:cubicBezTo>
                    <a:pt x="220" y="67"/>
                    <a:pt x="219" y="68"/>
                    <a:pt x="219" y="68"/>
                  </a:cubicBezTo>
                  <a:cubicBezTo>
                    <a:pt x="218" y="69"/>
                    <a:pt x="217" y="69"/>
                    <a:pt x="215" y="70"/>
                  </a:cubicBezTo>
                  <a:cubicBezTo>
                    <a:pt x="214" y="71"/>
                    <a:pt x="213" y="72"/>
                    <a:pt x="212" y="74"/>
                  </a:cubicBezTo>
                  <a:cubicBezTo>
                    <a:pt x="211" y="75"/>
                    <a:pt x="211" y="75"/>
                    <a:pt x="211" y="75"/>
                  </a:cubicBezTo>
                  <a:cubicBezTo>
                    <a:pt x="208" y="77"/>
                    <a:pt x="205" y="80"/>
                    <a:pt x="201" y="80"/>
                  </a:cubicBezTo>
                  <a:cubicBezTo>
                    <a:pt x="201" y="80"/>
                    <a:pt x="201" y="80"/>
                    <a:pt x="201" y="80"/>
                  </a:cubicBezTo>
                  <a:cubicBezTo>
                    <a:pt x="201" y="80"/>
                    <a:pt x="200" y="78"/>
                    <a:pt x="200" y="78"/>
                  </a:cubicBezTo>
                  <a:cubicBezTo>
                    <a:pt x="200" y="77"/>
                    <a:pt x="200" y="76"/>
                    <a:pt x="200" y="75"/>
                  </a:cubicBezTo>
                  <a:cubicBezTo>
                    <a:pt x="200" y="74"/>
                    <a:pt x="200" y="73"/>
                    <a:pt x="200" y="71"/>
                  </a:cubicBezTo>
                  <a:cubicBezTo>
                    <a:pt x="200" y="70"/>
                    <a:pt x="200" y="69"/>
                    <a:pt x="200" y="67"/>
                  </a:cubicBezTo>
                  <a:cubicBezTo>
                    <a:pt x="200" y="66"/>
                    <a:pt x="200" y="65"/>
                    <a:pt x="200" y="64"/>
                  </a:cubicBezTo>
                  <a:cubicBezTo>
                    <a:pt x="200" y="64"/>
                    <a:pt x="200" y="64"/>
                    <a:pt x="200" y="64"/>
                  </a:cubicBezTo>
                  <a:cubicBezTo>
                    <a:pt x="200" y="64"/>
                    <a:pt x="200" y="64"/>
                    <a:pt x="200" y="64"/>
                  </a:cubicBezTo>
                  <a:cubicBezTo>
                    <a:pt x="200" y="63"/>
                    <a:pt x="201" y="63"/>
                    <a:pt x="201" y="62"/>
                  </a:cubicBezTo>
                  <a:cubicBezTo>
                    <a:pt x="201" y="61"/>
                    <a:pt x="202" y="60"/>
                    <a:pt x="202" y="59"/>
                  </a:cubicBezTo>
                  <a:cubicBezTo>
                    <a:pt x="202" y="58"/>
                    <a:pt x="202" y="58"/>
                    <a:pt x="203" y="57"/>
                  </a:cubicBezTo>
                  <a:cubicBezTo>
                    <a:pt x="203" y="56"/>
                    <a:pt x="203" y="54"/>
                    <a:pt x="203" y="53"/>
                  </a:cubicBezTo>
                  <a:cubicBezTo>
                    <a:pt x="203" y="53"/>
                    <a:pt x="204" y="52"/>
                    <a:pt x="204" y="52"/>
                  </a:cubicBezTo>
                  <a:cubicBezTo>
                    <a:pt x="204" y="50"/>
                    <a:pt x="204" y="49"/>
                    <a:pt x="205" y="48"/>
                  </a:cubicBezTo>
                  <a:cubicBezTo>
                    <a:pt x="206" y="44"/>
                    <a:pt x="207" y="41"/>
                    <a:pt x="206" y="37"/>
                  </a:cubicBezTo>
                  <a:cubicBezTo>
                    <a:pt x="206" y="34"/>
                    <a:pt x="205" y="31"/>
                    <a:pt x="203" y="29"/>
                  </a:cubicBezTo>
                  <a:cubicBezTo>
                    <a:pt x="201" y="27"/>
                    <a:pt x="200" y="26"/>
                    <a:pt x="198" y="26"/>
                  </a:cubicBezTo>
                  <a:cubicBezTo>
                    <a:pt x="197" y="26"/>
                    <a:pt x="195" y="26"/>
                    <a:pt x="193" y="29"/>
                  </a:cubicBezTo>
                  <a:cubicBezTo>
                    <a:pt x="192" y="31"/>
                    <a:pt x="191" y="35"/>
                    <a:pt x="191" y="39"/>
                  </a:cubicBezTo>
                  <a:cubicBezTo>
                    <a:pt x="191" y="39"/>
                    <a:pt x="191" y="39"/>
                    <a:pt x="191" y="39"/>
                  </a:cubicBezTo>
                  <a:cubicBezTo>
                    <a:pt x="190" y="39"/>
                    <a:pt x="189" y="39"/>
                    <a:pt x="188" y="39"/>
                  </a:cubicBezTo>
                  <a:cubicBezTo>
                    <a:pt x="187" y="39"/>
                    <a:pt x="185" y="40"/>
                    <a:pt x="183" y="42"/>
                  </a:cubicBezTo>
                  <a:cubicBezTo>
                    <a:pt x="182" y="42"/>
                    <a:pt x="182" y="43"/>
                    <a:pt x="181" y="43"/>
                  </a:cubicBezTo>
                  <a:cubicBezTo>
                    <a:pt x="179" y="44"/>
                    <a:pt x="179" y="44"/>
                    <a:pt x="179" y="44"/>
                  </a:cubicBezTo>
                  <a:cubicBezTo>
                    <a:pt x="179" y="44"/>
                    <a:pt x="179" y="44"/>
                    <a:pt x="178" y="45"/>
                  </a:cubicBezTo>
                  <a:cubicBezTo>
                    <a:pt x="177" y="45"/>
                    <a:pt x="175" y="46"/>
                    <a:pt x="175" y="46"/>
                  </a:cubicBezTo>
                  <a:cubicBezTo>
                    <a:pt x="174" y="46"/>
                    <a:pt x="174" y="46"/>
                    <a:pt x="174" y="45"/>
                  </a:cubicBezTo>
                  <a:cubicBezTo>
                    <a:pt x="173" y="45"/>
                    <a:pt x="173" y="44"/>
                    <a:pt x="173" y="44"/>
                  </a:cubicBezTo>
                  <a:cubicBezTo>
                    <a:pt x="173" y="43"/>
                    <a:pt x="172" y="41"/>
                    <a:pt x="171" y="40"/>
                  </a:cubicBezTo>
                  <a:cubicBezTo>
                    <a:pt x="169" y="39"/>
                    <a:pt x="167" y="38"/>
                    <a:pt x="165" y="38"/>
                  </a:cubicBezTo>
                  <a:cubicBezTo>
                    <a:pt x="166" y="38"/>
                    <a:pt x="167" y="38"/>
                    <a:pt x="168" y="37"/>
                  </a:cubicBezTo>
                  <a:cubicBezTo>
                    <a:pt x="168" y="37"/>
                    <a:pt x="169" y="37"/>
                    <a:pt x="169" y="37"/>
                  </a:cubicBezTo>
                  <a:cubicBezTo>
                    <a:pt x="170" y="37"/>
                    <a:pt x="171" y="37"/>
                    <a:pt x="172" y="37"/>
                  </a:cubicBezTo>
                  <a:cubicBezTo>
                    <a:pt x="176" y="36"/>
                    <a:pt x="176" y="31"/>
                    <a:pt x="176" y="30"/>
                  </a:cubicBezTo>
                  <a:cubicBezTo>
                    <a:pt x="176" y="28"/>
                    <a:pt x="175" y="25"/>
                    <a:pt x="170" y="25"/>
                  </a:cubicBezTo>
                  <a:cubicBezTo>
                    <a:pt x="170" y="25"/>
                    <a:pt x="170" y="25"/>
                    <a:pt x="170" y="25"/>
                  </a:cubicBezTo>
                  <a:cubicBezTo>
                    <a:pt x="169" y="25"/>
                    <a:pt x="169" y="25"/>
                    <a:pt x="168" y="26"/>
                  </a:cubicBezTo>
                  <a:cubicBezTo>
                    <a:pt x="168" y="26"/>
                    <a:pt x="168" y="26"/>
                    <a:pt x="168" y="26"/>
                  </a:cubicBezTo>
                  <a:cubicBezTo>
                    <a:pt x="168" y="26"/>
                    <a:pt x="168" y="26"/>
                    <a:pt x="168" y="26"/>
                  </a:cubicBezTo>
                  <a:cubicBezTo>
                    <a:pt x="168" y="25"/>
                    <a:pt x="167" y="24"/>
                    <a:pt x="167" y="23"/>
                  </a:cubicBezTo>
                  <a:cubicBezTo>
                    <a:pt x="165" y="21"/>
                    <a:pt x="162" y="20"/>
                    <a:pt x="158" y="20"/>
                  </a:cubicBezTo>
                  <a:cubicBezTo>
                    <a:pt x="157" y="20"/>
                    <a:pt x="156" y="20"/>
                    <a:pt x="155" y="21"/>
                  </a:cubicBezTo>
                  <a:cubicBezTo>
                    <a:pt x="153" y="21"/>
                    <a:pt x="153" y="22"/>
                    <a:pt x="152" y="22"/>
                  </a:cubicBezTo>
                  <a:cubicBezTo>
                    <a:pt x="151" y="23"/>
                    <a:pt x="151" y="23"/>
                    <a:pt x="151" y="23"/>
                  </a:cubicBezTo>
                  <a:cubicBezTo>
                    <a:pt x="151" y="23"/>
                    <a:pt x="151" y="23"/>
                    <a:pt x="150" y="23"/>
                  </a:cubicBezTo>
                  <a:cubicBezTo>
                    <a:pt x="150" y="22"/>
                    <a:pt x="149" y="21"/>
                    <a:pt x="147" y="21"/>
                  </a:cubicBezTo>
                  <a:cubicBezTo>
                    <a:pt x="146" y="20"/>
                    <a:pt x="144" y="20"/>
                    <a:pt x="143" y="20"/>
                  </a:cubicBezTo>
                  <a:cubicBezTo>
                    <a:pt x="141" y="20"/>
                    <a:pt x="140" y="20"/>
                    <a:pt x="139" y="20"/>
                  </a:cubicBezTo>
                  <a:cubicBezTo>
                    <a:pt x="138" y="20"/>
                    <a:pt x="137" y="20"/>
                    <a:pt x="137" y="20"/>
                  </a:cubicBezTo>
                  <a:cubicBezTo>
                    <a:pt x="135" y="20"/>
                    <a:pt x="134" y="20"/>
                    <a:pt x="133" y="20"/>
                  </a:cubicBezTo>
                  <a:cubicBezTo>
                    <a:pt x="126" y="20"/>
                    <a:pt x="126" y="20"/>
                    <a:pt x="126" y="20"/>
                  </a:cubicBezTo>
                  <a:cubicBezTo>
                    <a:pt x="125" y="20"/>
                    <a:pt x="125" y="20"/>
                    <a:pt x="124" y="20"/>
                  </a:cubicBezTo>
                  <a:cubicBezTo>
                    <a:pt x="123" y="20"/>
                    <a:pt x="122" y="21"/>
                    <a:pt x="121" y="21"/>
                  </a:cubicBezTo>
                  <a:cubicBezTo>
                    <a:pt x="117" y="21"/>
                    <a:pt x="115" y="20"/>
                    <a:pt x="114" y="19"/>
                  </a:cubicBezTo>
                  <a:cubicBezTo>
                    <a:pt x="114" y="18"/>
                    <a:pt x="114" y="18"/>
                    <a:pt x="115" y="17"/>
                  </a:cubicBezTo>
                  <a:cubicBezTo>
                    <a:pt x="115" y="16"/>
                    <a:pt x="116" y="14"/>
                    <a:pt x="116" y="12"/>
                  </a:cubicBezTo>
                  <a:cubicBezTo>
                    <a:pt x="116" y="8"/>
                    <a:pt x="113" y="5"/>
                    <a:pt x="108" y="5"/>
                  </a:cubicBezTo>
                  <a:cubicBezTo>
                    <a:pt x="108" y="5"/>
                    <a:pt x="108" y="5"/>
                    <a:pt x="107" y="5"/>
                  </a:cubicBezTo>
                  <a:cubicBezTo>
                    <a:pt x="107" y="5"/>
                    <a:pt x="106" y="5"/>
                    <a:pt x="106" y="6"/>
                  </a:cubicBezTo>
                  <a:cubicBezTo>
                    <a:pt x="106" y="5"/>
                    <a:pt x="106" y="5"/>
                    <a:pt x="105" y="5"/>
                  </a:cubicBezTo>
                  <a:cubicBezTo>
                    <a:pt x="105" y="5"/>
                    <a:pt x="105" y="5"/>
                    <a:pt x="104" y="4"/>
                  </a:cubicBezTo>
                  <a:cubicBezTo>
                    <a:pt x="103" y="3"/>
                    <a:pt x="102" y="2"/>
                    <a:pt x="99" y="2"/>
                  </a:cubicBezTo>
                  <a:cubicBezTo>
                    <a:pt x="99" y="2"/>
                    <a:pt x="98" y="2"/>
                    <a:pt x="97" y="2"/>
                  </a:cubicBezTo>
                  <a:cubicBezTo>
                    <a:pt x="95" y="3"/>
                    <a:pt x="94" y="4"/>
                    <a:pt x="93" y="5"/>
                  </a:cubicBezTo>
                  <a:cubicBezTo>
                    <a:pt x="93" y="5"/>
                    <a:pt x="93" y="5"/>
                    <a:pt x="93" y="5"/>
                  </a:cubicBezTo>
                  <a:cubicBezTo>
                    <a:pt x="93" y="5"/>
                    <a:pt x="93" y="5"/>
                    <a:pt x="93" y="5"/>
                  </a:cubicBezTo>
                  <a:cubicBezTo>
                    <a:pt x="92" y="3"/>
                    <a:pt x="91" y="0"/>
                    <a:pt x="87" y="0"/>
                  </a:cubicBezTo>
                  <a:cubicBezTo>
                    <a:pt x="87" y="0"/>
                    <a:pt x="86" y="1"/>
                    <a:pt x="85" y="1"/>
                  </a:cubicBezTo>
                  <a:cubicBezTo>
                    <a:pt x="82" y="2"/>
                    <a:pt x="81" y="4"/>
                    <a:pt x="81" y="6"/>
                  </a:cubicBezTo>
                  <a:cubicBezTo>
                    <a:pt x="80" y="6"/>
                    <a:pt x="80" y="7"/>
                    <a:pt x="80" y="7"/>
                  </a:cubicBezTo>
                  <a:cubicBezTo>
                    <a:pt x="80" y="8"/>
                    <a:pt x="80" y="8"/>
                    <a:pt x="79" y="8"/>
                  </a:cubicBezTo>
                  <a:cubicBezTo>
                    <a:pt x="78" y="9"/>
                    <a:pt x="77" y="11"/>
                    <a:pt x="77" y="14"/>
                  </a:cubicBezTo>
                  <a:cubicBezTo>
                    <a:pt x="77" y="14"/>
                    <a:pt x="77" y="14"/>
                    <a:pt x="77" y="14"/>
                  </a:cubicBezTo>
                  <a:cubicBezTo>
                    <a:pt x="76" y="14"/>
                    <a:pt x="73" y="7"/>
                    <a:pt x="73" y="7"/>
                  </a:cubicBezTo>
                  <a:cubicBezTo>
                    <a:pt x="70" y="11"/>
                    <a:pt x="70" y="11"/>
                    <a:pt x="70" y="11"/>
                  </a:cubicBezTo>
                  <a:cubicBezTo>
                    <a:pt x="70" y="12"/>
                    <a:pt x="70" y="13"/>
                    <a:pt x="69" y="13"/>
                  </a:cubicBezTo>
                  <a:cubicBezTo>
                    <a:pt x="68" y="15"/>
                    <a:pt x="67" y="17"/>
                    <a:pt x="65" y="19"/>
                  </a:cubicBezTo>
                  <a:cubicBezTo>
                    <a:pt x="64" y="22"/>
                    <a:pt x="62" y="25"/>
                    <a:pt x="59" y="27"/>
                  </a:cubicBezTo>
                  <a:cubicBezTo>
                    <a:pt x="58" y="28"/>
                    <a:pt x="56" y="29"/>
                    <a:pt x="54" y="30"/>
                  </a:cubicBezTo>
                  <a:cubicBezTo>
                    <a:pt x="51" y="32"/>
                    <a:pt x="48" y="33"/>
                    <a:pt x="47" y="36"/>
                  </a:cubicBezTo>
                  <a:cubicBezTo>
                    <a:pt x="45" y="38"/>
                    <a:pt x="45" y="40"/>
                    <a:pt x="44" y="43"/>
                  </a:cubicBezTo>
                  <a:cubicBezTo>
                    <a:pt x="44" y="45"/>
                    <a:pt x="43" y="47"/>
                    <a:pt x="42" y="49"/>
                  </a:cubicBezTo>
                  <a:cubicBezTo>
                    <a:pt x="39" y="54"/>
                    <a:pt x="36" y="57"/>
                    <a:pt x="31" y="61"/>
                  </a:cubicBezTo>
                  <a:cubicBezTo>
                    <a:pt x="30" y="62"/>
                    <a:pt x="30" y="62"/>
                    <a:pt x="30" y="62"/>
                  </a:cubicBezTo>
                  <a:cubicBezTo>
                    <a:pt x="29" y="63"/>
                    <a:pt x="27" y="66"/>
                    <a:pt x="27" y="68"/>
                  </a:cubicBezTo>
                  <a:cubicBezTo>
                    <a:pt x="27" y="70"/>
                    <a:pt x="28" y="73"/>
                    <a:pt x="31" y="75"/>
                  </a:cubicBezTo>
                  <a:cubicBezTo>
                    <a:pt x="33" y="77"/>
                    <a:pt x="37" y="78"/>
                    <a:pt x="41" y="80"/>
                  </a:cubicBezTo>
                  <a:cubicBezTo>
                    <a:pt x="45" y="81"/>
                    <a:pt x="50" y="83"/>
                    <a:pt x="51" y="86"/>
                  </a:cubicBezTo>
                  <a:cubicBezTo>
                    <a:pt x="52" y="89"/>
                    <a:pt x="52" y="92"/>
                    <a:pt x="50" y="96"/>
                  </a:cubicBezTo>
                  <a:cubicBezTo>
                    <a:pt x="49" y="99"/>
                    <a:pt x="45" y="102"/>
                    <a:pt x="41" y="105"/>
                  </a:cubicBezTo>
                  <a:cubicBezTo>
                    <a:pt x="35" y="111"/>
                    <a:pt x="28" y="117"/>
                    <a:pt x="31" y="123"/>
                  </a:cubicBezTo>
                  <a:cubicBezTo>
                    <a:pt x="32" y="125"/>
                    <a:pt x="34" y="127"/>
                    <a:pt x="36" y="129"/>
                  </a:cubicBezTo>
                  <a:cubicBezTo>
                    <a:pt x="41" y="132"/>
                    <a:pt x="44" y="135"/>
                    <a:pt x="41" y="140"/>
                  </a:cubicBezTo>
                  <a:cubicBezTo>
                    <a:pt x="38" y="146"/>
                    <a:pt x="31" y="151"/>
                    <a:pt x="25" y="155"/>
                  </a:cubicBezTo>
                  <a:cubicBezTo>
                    <a:pt x="23" y="157"/>
                    <a:pt x="23" y="157"/>
                    <a:pt x="23" y="157"/>
                  </a:cubicBezTo>
                  <a:cubicBezTo>
                    <a:pt x="15" y="162"/>
                    <a:pt x="16" y="170"/>
                    <a:pt x="16" y="178"/>
                  </a:cubicBezTo>
                  <a:cubicBezTo>
                    <a:pt x="17" y="180"/>
                    <a:pt x="17" y="180"/>
                    <a:pt x="17" y="180"/>
                  </a:cubicBezTo>
                  <a:cubicBezTo>
                    <a:pt x="17" y="184"/>
                    <a:pt x="18" y="186"/>
                    <a:pt x="20" y="189"/>
                  </a:cubicBezTo>
                  <a:cubicBezTo>
                    <a:pt x="20" y="190"/>
                    <a:pt x="21" y="191"/>
                    <a:pt x="22" y="192"/>
                  </a:cubicBezTo>
                  <a:cubicBezTo>
                    <a:pt x="23" y="195"/>
                    <a:pt x="23" y="199"/>
                    <a:pt x="22" y="203"/>
                  </a:cubicBezTo>
                  <a:cubicBezTo>
                    <a:pt x="22" y="204"/>
                    <a:pt x="22" y="205"/>
                    <a:pt x="22" y="206"/>
                  </a:cubicBezTo>
                  <a:cubicBezTo>
                    <a:pt x="22" y="208"/>
                    <a:pt x="22" y="208"/>
                    <a:pt x="22" y="208"/>
                  </a:cubicBezTo>
                  <a:cubicBezTo>
                    <a:pt x="21" y="212"/>
                    <a:pt x="21" y="217"/>
                    <a:pt x="21" y="222"/>
                  </a:cubicBezTo>
                  <a:cubicBezTo>
                    <a:pt x="21" y="222"/>
                    <a:pt x="22" y="223"/>
                    <a:pt x="22" y="224"/>
                  </a:cubicBezTo>
                  <a:cubicBezTo>
                    <a:pt x="22" y="227"/>
                    <a:pt x="23" y="230"/>
                    <a:pt x="21" y="234"/>
                  </a:cubicBezTo>
                  <a:cubicBezTo>
                    <a:pt x="20" y="238"/>
                    <a:pt x="17" y="240"/>
                    <a:pt x="14" y="243"/>
                  </a:cubicBezTo>
                  <a:cubicBezTo>
                    <a:pt x="12" y="245"/>
                    <a:pt x="10" y="246"/>
                    <a:pt x="9" y="249"/>
                  </a:cubicBezTo>
                  <a:cubicBezTo>
                    <a:pt x="7" y="252"/>
                    <a:pt x="7" y="256"/>
                    <a:pt x="8" y="261"/>
                  </a:cubicBezTo>
                  <a:cubicBezTo>
                    <a:pt x="8" y="262"/>
                    <a:pt x="8" y="264"/>
                    <a:pt x="8" y="265"/>
                  </a:cubicBezTo>
                  <a:cubicBezTo>
                    <a:pt x="9" y="270"/>
                    <a:pt x="7" y="273"/>
                    <a:pt x="4" y="276"/>
                  </a:cubicBezTo>
                  <a:cubicBezTo>
                    <a:pt x="4" y="277"/>
                    <a:pt x="3" y="278"/>
                    <a:pt x="2" y="280"/>
                  </a:cubicBezTo>
                  <a:cubicBezTo>
                    <a:pt x="0" y="284"/>
                    <a:pt x="1" y="285"/>
                    <a:pt x="3" y="288"/>
                  </a:cubicBezTo>
                  <a:cubicBezTo>
                    <a:pt x="4" y="289"/>
                    <a:pt x="5" y="290"/>
                    <a:pt x="6" y="291"/>
                  </a:cubicBezTo>
                  <a:cubicBezTo>
                    <a:pt x="8" y="296"/>
                    <a:pt x="8" y="301"/>
                    <a:pt x="8" y="307"/>
                  </a:cubicBezTo>
                  <a:cubicBezTo>
                    <a:pt x="8" y="311"/>
                    <a:pt x="8" y="315"/>
                    <a:pt x="9" y="319"/>
                  </a:cubicBezTo>
                  <a:cubicBezTo>
                    <a:pt x="10" y="321"/>
                    <a:pt x="11" y="322"/>
                    <a:pt x="12" y="324"/>
                  </a:cubicBezTo>
                  <a:cubicBezTo>
                    <a:pt x="14" y="326"/>
                    <a:pt x="15" y="328"/>
                    <a:pt x="15" y="330"/>
                  </a:cubicBezTo>
                  <a:cubicBezTo>
                    <a:pt x="16" y="335"/>
                    <a:pt x="14" y="338"/>
                    <a:pt x="13" y="341"/>
                  </a:cubicBezTo>
                  <a:cubicBezTo>
                    <a:pt x="11" y="343"/>
                    <a:pt x="10" y="345"/>
                    <a:pt x="10" y="348"/>
                  </a:cubicBezTo>
                  <a:cubicBezTo>
                    <a:pt x="9" y="352"/>
                    <a:pt x="11" y="356"/>
                    <a:pt x="14" y="358"/>
                  </a:cubicBezTo>
                  <a:cubicBezTo>
                    <a:pt x="16" y="359"/>
                    <a:pt x="18" y="360"/>
                    <a:pt x="20" y="360"/>
                  </a:cubicBezTo>
                  <a:cubicBezTo>
                    <a:pt x="22" y="360"/>
                    <a:pt x="24" y="361"/>
                    <a:pt x="26" y="362"/>
                  </a:cubicBezTo>
                  <a:cubicBezTo>
                    <a:pt x="27" y="363"/>
                    <a:pt x="27" y="363"/>
                    <a:pt x="28" y="364"/>
                  </a:cubicBezTo>
                  <a:cubicBezTo>
                    <a:pt x="29" y="365"/>
                    <a:pt x="29" y="366"/>
                    <a:pt x="30" y="367"/>
                  </a:cubicBezTo>
                  <a:cubicBezTo>
                    <a:pt x="32" y="368"/>
                    <a:pt x="33" y="368"/>
                    <a:pt x="35" y="368"/>
                  </a:cubicBezTo>
                  <a:cubicBezTo>
                    <a:pt x="35" y="368"/>
                    <a:pt x="36" y="368"/>
                    <a:pt x="37" y="368"/>
                  </a:cubicBezTo>
                  <a:cubicBezTo>
                    <a:pt x="38" y="368"/>
                    <a:pt x="38" y="368"/>
                    <a:pt x="39" y="368"/>
                  </a:cubicBezTo>
                  <a:cubicBezTo>
                    <a:pt x="42" y="368"/>
                    <a:pt x="44" y="368"/>
                    <a:pt x="45" y="370"/>
                  </a:cubicBezTo>
                  <a:cubicBezTo>
                    <a:pt x="47" y="373"/>
                    <a:pt x="46" y="375"/>
                    <a:pt x="42" y="379"/>
                  </a:cubicBezTo>
                  <a:cubicBezTo>
                    <a:pt x="41" y="380"/>
                    <a:pt x="41" y="381"/>
                    <a:pt x="40" y="382"/>
                  </a:cubicBezTo>
                  <a:cubicBezTo>
                    <a:pt x="38" y="385"/>
                    <a:pt x="39" y="388"/>
                    <a:pt x="39" y="392"/>
                  </a:cubicBezTo>
                  <a:cubicBezTo>
                    <a:pt x="40" y="394"/>
                    <a:pt x="40" y="396"/>
                    <a:pt x="40" y="399"/>
                  </a:cubicBezTo>
                  <a:cubicBezTo>
                    <a:pt x="39" y="401"/>
                    <a:pt x="39" y="402"/>
                    <a:pt x="39" y="402"/>
                  </a:cubicBezTo>
                  <a:cubicBezTo>
                    <a:pt x="38" y="403"/>
                    <a:pt x="38" y="403"/>
                    <a:pt x="38" y="404"/>
                  </a:cubicBezTo>
                  <a:cubicBezTo>
                    <a:pt x="37" y="406"/>
                    <a:pt x="37" y="406"/>
                    <a:pt x="37" y="406"/>
                  </a:cubicBezTo>
                  <a:cubicBezTo>
                    <a:pt x="39" y="407"/>
                    <a:pt x="39" y="407"/>
                    <a:pt x="39" y="407"/>
                  </a:cubicBezTo>
                  <a:cubicBezTo>
                    <a:pt x="60" y="420"/>
                    <a:pt x="82" y="432"/>
                    <a:pt x="103" y="444"/>
                  </a:cubicBezTo>
                  <a:cubicBezTo>
                    <a:pt x="103" y="444"/>
                    <a:pt x="103" y="444"/>
                    <a:pt x="103" y="444"/>
                  </a:cubicBezTo>
                  <a:cubicBezTo>
                    <a:pt x="268" y="530"/>
                    <a:pt x="401" y="552"/>
                    <a:pt x="426" y="556"/>
                  </a:cubicBezTo>
                  <a:cubicBezTo>
                    <a:pt x="429" y="556"/>
                    <a:pt x="429" y="556"/>
                    <a:pt x="429" y="556"/>
                  </a:cubicBezTo>
                  <a:cubicBezTo>
                    <a:pt x="430" y="553"/>
                    <a:pt x="430" y="553"/>
                    <a:pt x="430" y="553"/>
                  </a:cubicBezTo>
                  <a:cubicBezTo>
                    <a:pt x="443" y="468"/>
                    <a:pt x="453" y="418"/>
                    <a:pt x="457" y="403"/>
                  </a:cubicBezTo>
                  <a:cubicBezTo>
                    <a:pt x="458" y="401"/>
                    <a:pt x="458" y="401"/>
                    <a:pt x="458" y="401"/>
                  </a:cubicBezTo>
                  <a:lnTo>
                    <a:pt x="345" y="346"/>
                  </a:lnTo>
                  <a:close/>
                  <a:moveTo>
                    <a:pt x="106" y="44"/>
                  </a:moveTo>
                  <a:cubicBezTo>
                    <a:pt x="106" y="44"/>
                    <a:pt x="105" y="44"/>
                    <a:pt x="105" y="43"/>
                  </a:cubicBezTo>
                  <a:cubicBezTo>
                    <a:pt x="104" y="43"/>
                    <a:pt x="104" y="42"/>
                    <a:pt x="104" y="41"/>
                  </a:cubicBezTo>
                  <a:cubicBezTo>
                    <a:pt x="104" y="39"/>
                    <a:pt x="106" y="38"/>
                    <a:pt x="111" y="37"/>
                  </a:cubicBezTo>
                  <a:cubicBezTo>
                    <a:pt x="111" y="37"/>
                    <a:pt x="112" y="37"/>
                    <a:pt x="112" y="37"/>
                  </a:cubicBezTo>
                  <a:cubicBezTo>
                    <a:pt x="112" y="38"/>
                    <a:pt x="111" y="38"/>
                    <a:pt x="111" y="39"/>
                  </a:cubicBezTo>
                  <a:cubicBezTo>
                    <a:pt x="111" y="40"/>
                    <a:pt x="110" y="40"/>
                    <a:pt x="110" y="40"/>
                  </a:cubicBezTo>
                  <a:cubicBezTo>
                    <a:pt x="109" y="42"/>
                    <a:pt x="109" y="43"/>
                    <a:pt x="107" y="44"/>
                  </a:cubicBezTo>
                  <a:cubicBezTo>
                    <a:pt x="107" y="44"/>
                    <a:pt x="107" y="44"/>
                    <a:pt x="106" y="44"/>
                  </a:cubicBezTo>
                  <a:close/>
                  <a:moveTo>
                    <a:pt x="232" y="212"/>
                  </a:moveTo>
                  <a:cubicBezTo>
                    <a:pt x="231" y="212"/>
                    <a:pt x="230" y="212"/>
                    <a:pt x="229" y="212"/>
                  </a:cubicBezTo>
                  <a:cubicBezTo>
                    <a:pt x="229" y="212"/>
                    <a:pt x="229" y="212"/>
                    <a:pt x="229" y="212"/>
                  </a:cubicBezTo>
                  <a:cubicBezTo>
                    <a:pt x="228" y="212"/>
                    <a:pt x="227" y="212"/>
                    <a:pt x="226" y="212"/>
                  </a:cubicBezTo>
                  <a:cubicBezTo>
                    <a:pt x="225" y="212"/>
                    <a:pt x="224" y="212"/>
                    <a:pt x="222" y="212"/>
                  </a:cubicBezTo>
                  <a:cubicBezTo>
                    <a:pt x="220" y="212"/>
                    <a:pt x="217" y="212"/>
                    <a:pt x="214" y="214"/>
                  </a:cubicBezTo>
                  <a:cubicBezTo>
                    <a:pt x="212" y="216"/>
                    <a:pt x="208" y="218"/>
                    <a:pt x="208" y="222"/>
                  </a:cubicBezTo>
                  <a:cubicBezTo>
                    <a:pt x="208" y="225"/>
                    <a:pt x="211" y="227"/>
                    <a:pt x="213" y="228"/>
                  </a:cubicBezTo>
                  <a:cubicBezTo>
                    <a:pt x="213" y="228"/>
                    <a:pt x="213" y="228"/>
                    <a:pt x="213" y="228"/>
                  </a:cubicBezTo>
                  <a:cubicBezTo>
                    <a:pt x="217" y="230"/>
                    <a:pt x="220" y="232"/>
                    <a:pt x="222" y="235"/>
                  </a:cubicBezTo>
                  <a:cubicBezTo>
                    <a:pt x="222" y="236"/>
                    <a:pt x="222" y="236"/>
                    <a:pt x="222" y="236"/>
                  </a:cubicBezTo>
                  <a:cubicBezTo>
                    <a:pt x="223" y="236"/>
                    <a:pt x="223" y="236"/>
                    <a:pt x="223" y="236"/>
                  </a:cubicBezTo>
                  <a:cubicBezTo>
                    <a:pt x="224" y="237"/>
                    <a:pt x="225" y="237"/>
                    <a:pt x="226" y="238"/>
                  </a:cubicBezTo>
                  <a:cubicBezTo>
                    <a:pt x="228" y="239"/>
                    <a:pt x="230" y="240"/>
                    <a:pt x="233" y="240"/>
                  </a:cubicBezTo>
                  <a:cubicBezTo>
                    <a:pt x="233" y="240"/>
                    <a:pt x="234" y="240"/>
                    <a:pt x="234" y="240"/>
                  </a:cubicBezTo>
                  <a:cubicBezTo>
                    <a:pt x="237" y="240"/>
                    <a:pt x="239" y="239"/>
                    <a:pt x="241" y="238"/>
                  </a:cubicBezTo>
                  <a:cubicBezTo>
                    <a:pt x="242" y="237"/>
                    <a:pt x="243" y="237"/>
                    <a:pt x="244" y="236"/>
                  </a:cubicBezTo>
                  <a:cubicBezTo>
                    <a:pt x="244" y="236"/>
                    <a:pt x="245" y="236"/>
                    <a:pt x="244" y="236"/>
                  </a:cubicBezTo>
                  <a:cubicBezTo>
                    <a:pt x="245" y="237"/>
                    <a:pt x="244" y="241"/>
                    <a:pt x="243" y="243"/>
                  </a:cubicBezTo>
                  <a:cubicBezTo>
                    <a:pt x="242" y="244"/>
                    <a:pt x="240" y="245"/>
                    <a:pt x="238" y="246"/>
                  </a:cubicBezTo>
                  <a:cubicBezTo>
                    <a:pt x="235" y="248"/>
                    <a:pt x="231" y="250"/>
                    <a:pt x="230" y="255"/>
                  </a:cubicBezTo>
                  <a:cubicBezTo>
                    <a:pt x="230" y="255"/>
                    <a:pt x="230" y="256"/>
                    <a:pt x="230" y="257"/>
                  </a:cubicBezTo>
                  <a:cubicBezTo>
                    <a:pt x="230" y="258"/>
                    <a:pt x="230" y="259"/>
                    <a:pt x="230" y="259"/>
                  </a:cubicBezTo>
                  <a:cubicBezTo>
                    <a:pt x="230" y="259"/>
                    <a:pt x="229" y="259"/>
                    <a:pt x="229" y="259"/>
                  </a:cubicBezTo>
                  <a:cubicBezTo>
                    <a:pt x="228" y="259"/>
                    <a:pt x="226" y="259"/>
                    <a:pt x="226" y="258"/>
                  </a:cubicBezTo>
                  <a:cubicBezTo>
                    <a:pt x="225" y="258"/>
                    <a:pt x="225" y="257"/>
                    <a:pt x="224" y="256"/>
                  </a:cubicBezTo>
                  <a:cubicBezTo>
                    <a:pt x="223" y="254"/>
                    <a:pt x="223" y="253"/>
                    <a:pt x="221" y="252"/>
                  </a:cubicBezTo>
                  <a:cubicBezTo>
                    <a:pt x="219" y="249"/>
                    <a:pt x="214" y="248"/>
                    <a:pt x="212" y="247"/>
                  </a:cubicBezTo>
                  <a:cubicBezTo>
                    <a:pt x="211" y="247"/>
                    <a:pt x="211" y="247"/>
                    <a:pt x="210" y="247"/>
                  </a:cubicBezTo>
                  <a:cubicBezTo>
                    <a:pt x="207" y="247"/>
                    <a:pt x="202" y="249"/>
                    <a:pt x="200" y="252"/>
                  </a:cubicBezTo>
                  <a:cubicBezTo>
                    <a:pt x="199" y="254"/>
                    <a:pt x="199" y="257"/>
                    <a:pt x="200" y="259"/>
                  </a:cubicBezTo>
                  <a:cubicBezTo>
                    <a:pt x="200" y="260"/>
                    <a:pt x="201" y="261"/>
                    <a:pt x="201" y="261"/>
                  </a:cubicBezTo>
                  <a:cubicBezTo>
                    <a:pt x="201" y="261"/>
                    <a:pt x="200" y="261"/>
                    <a:pt x="199" y="261"/>
                  </a:cubicBezTo>
                  <a:cubicBezTo>
                    <a:pt x="198" y="261"/>
                    <a:pt x="197" y="261"/>
                    <a:pt x="196" y="262"/>
                  </a:cubicBezTo>
                  <a:cubicBezTo>
                    <a:pt x="195" y="262"/>
                    <a:pt x="194" y="262"/>
                    <a:pt x="193" y="263"/>
                  </a:cubicBezTo>
                  <a:cubicBezTo>
                    <a:pt x="192" y="263"/>
                    <a:pt x="191" y="263"/>
                    <a:pt x="190" y="263"/>
                  </a:cubicBezTo>
                  <a:cubicBezTo>
                    <a:pt x="189" y="264"/>
                    <a:pt x="187" y="264"/>
                    <a:pt x="185" y="265"/>
                  </a:cubicBezTo>
                  <a:cubicBezTo>
                    <a:pt x="186" y="264"/>
                    <a:pt x="187" y="264"/>
                    <a:pt x="188" y="264"/>
                  </a:cubicBezTo>
                  <a:cubicBezTo>
                    <a:pt x="192" y="262"/>
                    <a:pt x="195" y="259"/>
                    <a:pt x="197" y="256"/>
                  </a:cubicBezTo>
                  <a:cubicBezTo>
                    <a:pt x="198" y="252"/>
                    <a:pt x="198" y="249"/>
                    <a:pt x="196" y="245"/>
                  </a:cubicBezTo>
                  <a:cubicBezTo>
                    <a:pt x="195" y="243"/>
                    <a:pt x="195" y="243"/>
                    <a:pt x="195" y="243"/>
                  </a:cubicBezTo>
                  <a:cubicBezTo>
                    <a:pt x="193" y="243"/>
                    <a:pt x="193" y="243"/>
                    <a:pt x="193" y="243"/>
                  </a:cubicBezTo>
                  <a:cubicBezTo>
                    <a:pt x="189" y="243"/>
                    <a:pt x="184" y="244"/>
                    <a:pt x="179" y="245"/>
                  </a:cubicBezTo>
                  <a:cubicBezTo>
                    <a:pt x="175" y="246"/>
                    <a:pt x="173" y="249"/>
                    <a:pt x="170" y="251"/>
                  </a:cubicBezTo>
                  <a:cubicBezTo>
                    <a:pt x="169" y="252"/>
                    <a:pt x="167" y="253"/>
                    <a:pt x="166" y="254"/>
                  </a:cubicBezTo>
                  <a:cubicBezTo>
                    <a:pt x="165" y="255"/>
                    <a:pt x="164" y="255"/>
                    <a:pt x="163" y="255"/>
                  </a:cubicBezTo>
                  <a:cubicBezTo>
                    <a:pt x="161" y="255"/>
                    <a:pt x="159" y="252"/>
                    <a:pt x="156" y="250"/>
                  </a:cubicBezTo>
                  <a:cubicBezTo>
                    <a:pt x="155" y="249"/>
                    <a:pt x="154" y="248"/>
                    <a:pt x="154" y="247"/>
                  </a:cubicBezTo>
                  <a:cubicBezTo>
                    <a:pt x="153" y="247"/>
                    <a:pt x="152" y="246"/>
                    <a:pt x="152" y="246"/>
                  </a:cubicBezTo>
                  <a:cubicBezTo>
                    <a:pt x="151" y="246"/>
                    <a:pt x="151" y="245"/>
                    <a:pt x="151" y="245"/>
                  </a:cubicBezTo>
                  <a:cubicBezTo>
                    <a:pt x="152" y="245"/>
                    <a:pt x="153" y="246"/>
                    <a:pt x="154" y="246"/>
                  </a:cubicBezTo>
                  <a:cubicBezTo>
                    <a:pt x="155" y="246"/>
                    <a:pt x="156" y="245"/>
                    <a:pt x="157" y="245"/>
                  </a:cubicBezTo>
                  <a:cubicBezTo>
                    <a:pt x="161" y="243"/>
                    <a:pt x="163" y="239"/>
                    <a:pt x="164" y="236"/>
                  </a:cubicBezTo>
                  <a:cubicBezTo>
                    <a:pt x="165" y="236"/>
                    <a:pt x="165" y="236"/>
                    <a:pt x="166" y="236"/>
                  </a:cubicBezTo>
                  <a:cubicBezTo>
                    <a:pt x="167" y="236"/>
                    <a:pt x="168" y="236"/>
                    <a:pt x="169" y="236"/>
                  </a:cubicBezTo>
                  <a:cubicBezTo>
                    <a:pt x="170" y="236"/>
                    <a:pt x="173" y="236"/>
                    <a:pt x="176" y="233"/>
                  </a:cubicBezTo>
                  <a:cubicBezTo>
                    <a:pt x="177" y="231"/>
                    <a:pt x="178" y="230"/>
                    <a:pt x="178" y="228"/>
                  </a:cubicBezTo>
                  <a:cubicBezTo>
                    <a:pt x="178" y="228"/>
                    <a:pt x="178" y="229"/>
                    <a:pt x="178" y="229"/>
                  </a:cubicBezTo>
                  <a:cubicBezTo>
                    <a:pt x="182" y="232"/>
                    <a:pt x="184" y="234"/>
                    <a:pt x="189" y="234"/>
                  </a:cubicBezTo>
                  <a:cubicBezTo>
                    <a:pt x="189" y="234"/>
                    <a:pt x="190" y="234"/>
                    <a:pt x="191" y="234"/>
                  </a:cubicBezTo>
                  <a:cubicBezTo>
                    <a:pt x="194" y="233"/>
                    <a:pt x="194" y="233"/>
                    <a:pt x="194" y="233"/>
                  </a:cubicBezTo>
                  <a:cubicBezTo>
                    <a:pt x="194" y="231"/>
                    <a:pt x="194" y="231"/>
                    <a:pt x="194" y="231"/>
                  </a:cubicBezTo>
                  <a:cubicBezTo>
                    <a:pt x="194" y="221"/>
                    <a:pt x="190" y="217"/>
                    <a:pt x="184" y="211"/>
                  </a:cubicBezTo>
                  <a:cubicBezTo>
                    <a:pt x="183" y="211"/>
                    <a:pt x="183" y="211"/>
                    <a:pt x="182" y="210"/>
                  </a:cubicBezTo>
                  <a:cubicBezTo>
                    <a:pt x="181" y="209"/>
                    <a:pt x="178" y="207"/>
                    <a:pt x="175" y="206"/>
                  </a:cubicBezTo>
                  <a:cubicBezTo>
                    <a:pt x="174" y="206"/>
                    <a:pt x="174" y="206"/>
                    <a:pt x="174" y="206"/>
                  </a:cubicBezTo>
                  <a:cubicBezTo>
                    <a:pt x="173" y="206"/>
                    <a:pt x="172" y="207"/>
                    <a:pt x="171" y="207"/>
                  </a:cubicBezTo>
                  <a:cubicBezTo>
                    <a:pt x="171" y="207"/>
                    <a:pt x="171" y="207"/>
                    <a:pt x="171" y="207"/>
                  </a:cubicBezTo>
                  <a:cubicBezTo>
                    <a:pt x="170" y="207"/>
                    <a:pt x="169" y="206"/>
                    <a:pt x="168" y="205"/>
                  </a:cubicBezTo>
                  <a:cubicBezTo>
                    <a:pt x="168" y="205"/>
                    <a:pt x="168" y="205"/>
                    <a:pt x="168" y="205"/>
                  </a:cubicBezTo>
                  <a:cubicBezTo>
                    <a:pt x="166" y="203"/>
                    <a:pt x="165" y="203"/>
                    <a:pt x="162" y="202"/>
                  </a:cubicBezTo>
                  <a:cubicBezTo>
                    <a:pt x="161" y="201"/>
                    <a:pt x="161" y="201"/>
                    <a:pt x="160" y="200"/>
                  </a:cubicBezTo>
                  <a:cubicBezTo>
                    <a:pt x="159" y="200"/>
                    <a:pt x="158" y="199"/>
                    <a:pt x="157" y="199"/>
                  </a:cubicBezTo>
                  <a:cubicBezTo>
                    <a:pt x="157" y="199"/>
                    <a:pt x="157" y="199"/>
                    <a:pt x="156" y="198"/>
                  </a:cubicBezTo>
                  <a:cubicBezTo>
                    <a:pt x="157" y="199"/>
                    <a:pt x="157" y="199"/>
                    <a:pt x="158" y="199"/>
                  </a:cubicBezTo>
                  <a:cubicBezTo>
                    <a:pt x="159" y="200"/>
                    <a:pt x="161" y="200"/>
                    <a:pt x="163" y="200"/>
                  </a:cubicBezTo>
                  <a:cubicBezTo>
                    <a:pt x="163" y="200"/>
                    <a:pt x="163" y="200"/>
                    <a:pt x="164" y="200"/>
                  </a:cubicBezTo>
                  <a:cubicBezTo>
                    <a:pt x="165" y="200"/>
                    <a:pt x="166" y="200"/>
                    <a:pt x="167" y="199"/>
                  </a:cubicBezTo>
                  <a:cubicBezTo>
                    <a:pt x="167" y="199"/>
                    <a:pt x="168" y="199"/>
                    <a:pt x="169" y="199"/>
                  </a:cubicBezTo>
                  <a:cubicBezTo>
                    <a:pt x="169" y="199"/>
                    <a:pt x="169" y="199"/>
                    <a:pt x="170" y="199"/>
                  </a:cubicBezTo>
                  <a:cubicBezTo>
                    <a:pt x="171" y="199"/>
                    <a:pt x="171" y="200"/>
                    <a:pt x="172" y="200"/>
                  </a:cubicBezTo>
                  <a:cubicBezTo>
                    <a:pt x="174" y="201"/>
                    <a:pt x="175" y="201"/>
                    <a:pt x="176" y="201"/>
                  </a:cubicBezTo>
                  <a:cubicBezTo>
                    <a:pt x="179" y="202"/>
                    <a:pt x="182" y="203"/>
                    <a:pt x="185" y="204"/>
                  </a:cubicBezTo>
                  <a:cubicBezTo>
                    <a:pt x="190" y="206"/>
                    <a:pt x="194" y="208"/>
                    <a:pt x="200" y="208"/>
                  </a:cubicBezTo>
                  <a:cubicBezTo>
                    <a:pt x="201" y="208"/>
                    <a:pt x="201" y="208"/>
                    <a:pt x="202" y="208"/>
                  </a:cubicBezTo>
                  <a:cubicBezTo>
                    <a:pt x="205" y="207"/>
                    <a:pt x="207" y="207"/>
                    <a:pt x="209" y="206"/>
                  </a:cubicBezTo>
                  <a:cubicBezTo>
                    <a:pt x="212" y="206"/>
                    <a:pt x="214" y="205"/>
                    <a:pt x="217" y="205"/>
                  </a:cubicBezTo>
                  <a:cubicBezTo>
                    <a:pt x="217" y="205"/>
                    <a:pt x="218" y="205"/>
                    <a:pt x="218" y="205"/>
                  </a:cubicBezTo>
                  <a:cubicBezTo>
                    <a:pt x="222" y="205"/>
                    <a:pt x="227" y="208"/>
                    <a:pt x="231" y="211"/>
                  </a:cubicBezTo>
                  <a:cubicBezTo>
                    <a:pt x="231" y="211"/>
                    <a:pt x="232" y="212"/>
                    <a:pt x="232" y="212"/>
                  </a:cubicBezTo>
                  <a:close/>
                  <a:moveTo>
                    <a:pt x="144" y="195"/>
                  </a:moveTo>
                  <a:cubicBezTo>
                    <a:pt x="144" y="195"/>
                    <a:pt x="145" y="195"/>
                    <a:pt x="146" y="195"/>
                  </a:cubicBezTo>
                  <a:cubicBezTo>
                    <a:pt x="146" y="195"/>
                    <a:pt x="146" y="195"/>
                    <a:pt x="146" y="195"/>
                  </a:cubicBezTo>
                  <a:cubicBezTo>
                    <a:pt x="147" y="195"/>
                    <a:pt x="147" y="195"/>
                    <a:pt x="148" y="196"/>
                  </a:cubicBezTo>
                  <a:cubicBezTo>
                    <a:pt x="149" y="196"/>
                    <a:pt x="149" y="196"/>
                    <a:pt x="150" y="197"/>
                  </a:cubicBezTo>
                  <a:cubicBezTo>
                    <a:pt x="150" y="197"/>
                    <a:pt x="151" y="197"/>
                    <a:pt x="152" y="197"/>
                  </a:cubicBezTo>
                  <a:cubicBezTo>
                    <a:pt x="152" y="197"/>
                    <a:pt x="151" y="197"/>
                    <a:pt x="151" y="197"/>
                  </a:cubicBezTo>
                  <a:cubicBezTo>
                    <a:pt x="149" y="197"/>
                    <a:pt x="147" y="198"/>
                    <a:pt x="145" y="199"/>
                  </a:cubicBezTo>
                  <a:cubicBezTo>
                    <a:pt x="144" y="199"/>
                    <a:pt x="143" y="199"/>
                    <a:pt x="143" y="199"/>
                  </a:cubicBezTo>
                  <a:cubicBezTo>
                    <a:pt x="143" y="199"/>
                    <a:pt x="143" y="199"/>
                    <a:pt x="143" y="198"/>
                  </a:cubicBezTo>
                  <a:cubicBezTo>
                    <a:pt x="143" y="197"/>
                    <a:pt x="143" y="196"/>
                    <a:pt x="144" y="195"/>
                  </a:cubicBezTo>
                  <a:close/>
                  <a:moveTo>
                    <a:pt x="154" y="38"/>
                  </a:moveTo>
                  <a:cubicBezTo>
                    <a:pt x="151" y="38"/>
                    <a:pt x="148" y="41"/>
                    <a:pt x="146" y="42"/>
                  </a:cubicBezTo>
                  <a:cubicBezTo>
                    <a:pt x="146" y="43"/>
                    <a:pt x="145" y="43"/>
                    <a:pt x="144" y="44"/>
                  </a:cubicBezTo>
                  <a:cubicBezTo>
                    <a:pt x="144" y="44"/>
                    <a:pt x="144" y="44"/>
                    <a:pt x="144" y="44"/>
                  </a:cubicBezTo>
                  <a:cubicBezTo>
                    <a:pt x="143" y="41"/>
                    <a:pt x="141" y="40"/>
                    <a:pt x="138" y="38"/>
                  </a:cubicBezTo>
                  <a:cubicBezTo>
                    <a:pt x="135" y="36"/>
                    <a:pt x="131" y="34"/>
                    <a:pt x="126" y="34"/>
                  </a:cubicBezTo>
                  <a:cubicBezTo>
                    <a:pt x="128" y="33"/>
                    <a:pt x="129" y="33"/>
                    <a:pt x="131" y="33"/>
                  </a:cubicBezTo>
                  <a:cubicBezTo>
                    <a:pt x="135" y="33"/>
                    <a:pt x="140" y="34"/>
                    <a:pt x="144" y="36"/>
                  </a:cubicBezTo>
                  <a:cubicBezTo>
                    <a:pt x="147" y="36"/>
                    <a:pt x="150" y="37"/>
                    <a:pt x="153" y="38"/>
                  </a:cubicBezTo>
                  <a:cubicBezTo>
                    <a:pt x="154" y="38"/>
                    <a:pt x="154" y="38"/>
                    <a:pt x="155" y="38"/>
                  </a:cubicBezTo>
                  <a:cubicBezTo>
                    <a:pt x="155" y="38"/>
                    <a:pt x="155" y="38"/>
                    <a:pt x="154" y="38"/>
                  </a:cubicBezTo>
                  <a:close/>
                  <a:moveTo>
                    <a:pt x="311" y="415"/>
                  </a:moveTo>
                  <a:cubicBezTo>
                    <a:pt x="311" y="415"/>
                    <a:pt x="311" y="415"/>
                    <a:pt x="311" y="415"/>
                  </a:cubicBezTo>
                  <a:cubicBezTo>
                    <a:pt x="310" y="417"/>
                    <a:pt x="310" y="417"/>
                    <a:pt x="310" y="417"/>
                  </a:cubicBezTo>
                  <a:cubicBezTo>
                    <a:pt x="309" y="417"/>
                    <a:pt x="309" y="417"/>
                    <a:pt x="309" y="417"/>
                  </a:cubicBezTo>
                  <a:cubicBezTo>
                    <a:pt x="310" y="418"/>
                    <a:pt x="310" y="422"/>
                    <a:pt x="310" y="423"/>
                  </a:cubicBezTo>
                  <a:cubicBezTo>
                    <a:pt x="310" y="424"/>
                    <a:pt x="309" y="426"/>
                    <a:pt x="305" y="426"/>
                  </a:cubicBezTo>
                  <a:cubicBezTo>
                    <a:pt x="302" y="426"/>
                    <a:pt x="299" y="425"/>
                    <a:pt x="297" y="424"/>
                  </a:cubicBezTo>
                  <a:cubicBezTo>
                    <a:pt x="296" y="424"/>
                    <a:pt x="296" y="424"/>
                    <a:pt x="296" y="424"/>
                  </a:cubicBezTo>
                  <a:cubicBezTo>
                    <a:pt x="294" y="423"/>
                    <a:pt x="292" y="423"/>
                    <a:pt x="291" y="423"/>
                  </a:cubicBezTo>
                  <a:cubicBezTo>
                    <a:pt x="285" y="423"/>
                    <a:pt x="281" y="426"/>
                    <a:pt x="277" y="430"/>
                  </a:cubicBezTo>
                  <a:cubicBezTo>
                    <a:pt x="276" y="431"/>
                    <a:pt x="276" y="431"/>
                    <a:pt x="276" y="431"/>
                  </a:cubicBezTo>
                  <a:cubicBezTo>
                    <a:pt x="270" y="437"/>
                    <a:pt x="261" y="445"/>
                    <a:pt x="253" y="445"/>
                  </a:cubicBezTo>
                  <a:cubicBezTo>
                    <a:pt x="252" y="445"/>
                    <a:pt x="250" y="445"/>
                    <a:pt x="248" y="444"/>
                  </a:cubicBezTo>
                  <a:cubicBezTo>
                    <a:pt x="247" y="443"/>
                    <a:pt x="245" y="442"/>
                    <a:pt x="243" y="442"/>
                  </a:cubicBezTo>
                  <a:cubicBezTo>
                    <a:pt x="242" y="442"/>
                    <a:pt x="241" y="442"/>
                    <a:pt x="240" y="442"/>
                  </a:cubicBezTo>
                  <a:cubicBezTo>
                    <a:pt x="238" y="443"/>
                    <a:pt x="237" y="443"/>
                    <a:pt x="236" y="444"/>
                  </a:cubicBezTo>
                  <a:cubicBezTo>
                    <a:pt x="235" y="444"/>
                    <a:pt x="235" y="445"/>
                    <a:pt x="234" y="445"/>
                  </a:cubicBezTo>
                  <a:cubicBezTo>
                    <a:pt x="233" y="445"/>
                    <a:pt x="233" y="446"/>
                    <a:pt x="232" y="446"/>
                  </a:cubicBezTo>
                  <a:cubicBezTo>
                    <a:pt x="230" y="446"/>
                    <a:pt x="229" y="447"/>
                    <a:pt x="227" y="449"/>
                  </a:cubicBezTo>
                  <a:cubicBezTo>
                    <a:pt x="226" y="449"/>
                    <a:pt x="226" y="450"/>
                    <a:pt x="225" y="450"/>
                  </a:cubicBezTo>
                  <a:cubicBezTo>
                    <a:pt x="224" y="451"/>
                    <a:pt x="223" y="452"/>
                    <a:pt x="223" y="452"/>
                  </a:cubicBezTo>
                  <a:cubicBezTo>
                    <a:pt x="222" y="453"/>
                    <a:pt x="220" y="453"/>
                    <a:pt x="219" y="453"/>
                  </a:cubicBezTo>
                  <a:cubicBezTo>
                    <a:pt x="217" y="453"/>
                    <a:pt x="215" y="453"/>
                    <a:pt x="214" y="453"/>
                  </a:cubicBezTo>
                  <a:cubicBezTo>
                    <a:pt x="213" y="453"/>
                    <a:pt x="211" y="453"/>
                    <a:pt x="210" y="452"/>
                  </a:cubicBezTo>
                  <a:cubicBezTo>
                    <a:pt x="208" y="452"/>
                    <a:pt x="206" y="452"/>
                    <a:pt x="204" y="450"/>
                  </a:cubicBezTo>
                  <a:cubicBezTo>
                    <a:pt x="203" y="450"/>
                    <a:pt x="202" y="449"/>
                    <a:pt x="200" y="449"/>
                  </a:cubicBezTo>
                  <a:cubicBezTo>
                    <a:pt x="199" y="448"/>
                    <a:pt x="197" y="448"/>
                    <a:pt x="196" y="448"/>
                  </a:cubicBezTo>
                  <a:cubicBezTo>
                    <a:pt x="194" y="447"/>
                    <a:pt x="192" y="447"/>
                    <a:pt x="191" y="446"/>
                  </a:cubicBezTo>
                  <a:cubicBezTo>
                    <a:pt x="186" y="443"/>
                    <a:pt x="180" y="437"/>
                    <a:pt x="179" y="432"/>
                  </a:cubicBezTo>
                  <a:cubicBezTo>
                    <a:pt x="179" y="431"/>
                    <a:pt x="179" y="431"/>
                    <a:pt x="179" y="430"/>
                  </a:cubicBezTo>
                  <a:cubicBezTo>
                    <a:pt x="180" y="430"/>
                    <a:pt x="182" y="431"/>
                    <a:pt x="183" y="432"/>
                  </a:cubicBezTo>
                  <a:cubicBezTo>
                    <a:pt x="184" y="432"/>
                    <a:pt x="185" y="433"/>
                    <a:pt x="186" y="433"/>
                  </a:cubicBezTo>
                  <a:cubicBezTo>
                    <a:pt x="188" y="434"/>
                    <a:pt x="190" y="435"/>
                    <a:pt x="192" y="435"/>
                  </a:cubicBezTo>
                  <a:cubicBezTo>
                    <a:pt x="197" y="435"/>
                    <a:pt x="200" y="431"/>
                    <a:pt x="201" y="429"/>
                  </a:cubicBezTo>
                  <a:cubicBezTo>
                    <a:pt x="203" y="427"/>
                    <a:pt x="204" y="425"/>
                    <a:pt x="206" y="423"/>
                  </a:cubicBezTo>
                  <a:cubicBezTo>
                    <a:pt x="207" y="423"/>
                    <a:pt x="207" y="423"/>
                    <a:pt x="208" y="423"/>
                  </a:cubicBezTo>
                  <a:cubicBezTo>
                    <a:pt x="208" y="423"/>
                    <a:pt x="210" y="424"/>
                    <a:pt x="211" y="424"/>
                  </a:cubicBezTo>
                  <a:cubicBezTo>
                    <a:pt x="213" y="425"/>
                    <a:pt x="215" y="426"/>
                    <a:pt x="217" y="426"/>
                  </a:cubicBezTo>
                  <a:cubicBezTo>
                    <a:pt x="219" y="426"/>
                    <a:pt x="220" y="426"/>
                    <a:pt x="221" y="425"/>
                  </a:cubicBezTo>
                  <a:cubicBezTo>
                    <a:pt x="229" y="421"/>
                    <a:pt x="225" y="414"/>
                    <a:pt x="223" y="409"/>
                  </a:cubicBezTo>
                  <a:cubicBezTo>
                    <a:pt x="223" y="407"/>
                    <a:pt x="222" y="406"/>
                    <a:pt x="222" y="405"/>
                  </a:cubicBezTo>
                  <a:cubicBezTo>
                    <a:pt x="222" y="403"/>
                    <a:pt x="222" y="401"/>
                    <a:pt x="222" y="400"/>
                  </a:cubicBezTo>
                  <a:cubicBezTo>
                    <a:pt x="222" y="396"/>
                    <a:pt x="223" y="391"/>
                    <a:pt x="217" y="388"/>
                  </a:cubicBezTo>
                  <a:cubicBezTo>
                    <a:pt x="217" y="386"/>
                    <a:pt x="217" y="383"/>
                    <a:pt x="217" y="382"/>
                  </a:cubicBezTo>
                  <a:cubicBezTo>
                    <a:pt x="217" y="382"/>
                    <a:pt x="217" y="382"/>
                    <a:pt x="218" y="383"/>
                  </a:cubicBezTo>
                  <a:cubicBezTo>
                    <a:pt x="219" y="383"/>
                    <a:pt x="220" y="385"/>
                    <a:pt x="221" y="387"/>
                  </a:cubicBezTo>
                  <a:cubicBezTo>
                    <a:pt x="222" y="389"/>
                    <a:pt x="223" y="391"/>
                    <a:pt x="225" y="393"/>
                  </a:cubicBezTo>
                  <a:cubicBezTo>
                    <a:pt x="231" y="398"/>
                    <a:pt x="233" y="404"/>
                    <a:pt x="236" y="412"/>
                  </a:cubicBezTo>
                  <a:cubicBezTo>
                    <a:pt x="236" y="412"/>
                    <a:pt x="236" y="412"/>
                    <a:pt x="236" y="412"/>
                  </a:cubicBezTo>
                  <a:cubicBezTo>
                    <a:pt x="239" y="422"/>
                    <a:pt x="247" y="429"/>
                    <a:pt x="256" y="430"/>
                  </a:cubicBezTo>
                  <a:cubicBezTo>
                    <a:pt x="258" y="431"/>
                    <a:pt x="259" y="431"/>
                    <a:pt x="260" y="431"/>
                  </a:cubicBezTo>
                  <a:cubicBezTo>
                    <a:pt x="263" y="431"/>
                    <a:pt x="267" y="430"/>
                    <a:pt x="269" y="428"/>
                  </a:cubicBezTo>
                  <a:cubicBezTo>
                    <a:pt x="270" y="428"/>
                    <a:pt x="271" y="427"/>
                    <a:pt x="271" y="427"/>
                  </a:cubicBezTo>
                  <a:cubicBezTo>
                    <a:pt x="272" y="426"/>
                    <a:pt x="272" y="426"/>
                    <a:pt x="273" y="426"/>
                  </a:cubicBezTo>
                  <a:cubicBezTo>
                    <a:pt x="273" y="426"/>
                    <a:pt x="274" y="426"/>
                    <a:pt x="275" y="425"/>
                  </a:cubicBezTo>
                  <a:cubicBezTo>
                    <a:pt x="276" y="425"/>
                    <a:pt x="277" y="425"/>
                    <a:pt x="279" y="424"/>
                  </a:cubicBezTo>
                  <a:cubicBezTo>
                    <a:pt x="280" y="423"/>
                    <a:pt x="282" y="422"/>
                    <a:pt x="283" y="421"/>
                  </a:cubicBezTo>
                  <a:cubicBezTo>
                    <a:pt x="284" y="421"/>
                    <a:pt x="285" y="420"/>
                    <a:pt x="286" y="419"/>
                  </a:cubicBezTo>
                  <a:cubicBezTo>
                    <a:pt x="288" y="418"/>
                    <a:pt x="290" y="416"/>
                    <a:pt x="291" y="415"/>
                  </a:cubicBezTo>
                  <a:cubicBezTo>
                    <a:pt x="293" y="413"/>
                    <a:pt x="295" y="411"/>
                    <a:pt x="296" y="411"/>
                  </a:cubicBezTo>
                  <a:cubicBezTo>
                    <a:pt x="299" y="410"/>
                    <a:pt x="301" y="410"/>
                    <a:pt x="304" y="410"/>
                  </a:cubicBezTo>
                  <a:cubicBezTo>
                    <a:pt x="307" y="410"/>
                    <a:pt x="310" y="411"/>
                    <a:pt x="313" y="412"/>
                  </a:cubicBezTo>
                  <a:cubicBezTo>
                    <a:pt x="313" y="412"/>
                    <a:pt x="313" y="412"/>
                    <a:pt x="313" y="412"/>
                  </a:cubicBezTo>
                  <a:cubicBezTo>
                    <a:pt x="313" y="412"/>
                    <a:pt x="313" y="412"/>
                    <a:pt x="312" y="412"/>
                  </a:cubicBezTo>
                  <a:cubicBezTo>
                    <a:pt x="312" y="412"/>
                    <a:pt x="312" y="412"/>
                    <a:pt x="312" y="412"/>
                  </a:cubicBezTo>
                  <a:cubicBezTo>
                    <a:pt x="310" y="412"/>
                    <a:pt x="310" y="412"/>
                    <a:pt x="310" y="412"/>
                  </a:cubicBezTo>
                  <a:cubicBezTo>
                    <a:pt x="310" y="412"/>
                    <a:pt x="310" y="412"/>
                    <a:pt x="310" y="412"/>
                  </a:cubicBezTo>
                  <a:cubicBezTo>
                    <a:pt x="311" y="415"/>
                    <a:pt x="311" y="415"/>
                    <a:pt x="311" y="415"/>
                  </a:cubicBezTo>
                  <a:cubicBezTo>
                    <a:pt x="311" y="415"/>
                    <a:pt x="311" y="415"/>
                    <a:pt x="311" y="415"/>
                  </a:cubicBezTo>
                  <a:close/>
                  <a:moveTo>
                    <a:pt x="320" y="416"/>
                  </a:moveTo>
                  <a:cubicBezTo>
                    <a:pt x="319" y="416"/>
                    <a:pt x="319" y="416"/>
                    <a:pt x="319" y="416"/>
                  </a:cubicBezTo>
                  <a:cubicBezTo>
                    <a:pt x="318" y="416"/>
                    <a:pt x="318" y="415"/>
                    <a:pt x="317" y="415"/>
                  </a:cubicBezTo>
                  <a:cubicBezTo>
                    <a:pt x="316" y="414"/>
                    <a:pt x="314" y="413"/>
                    <a:pt x="313" y="412"/>
                  </a:cubicBezTo>
                  <a:cubicBezTo>
                    <a:pt x="315" y="413"/>
                    <a:pt x="318" y="415"/>
                    <a:pt x="320" y="416"/>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3" name="Freeform 73">
              <a:extLst>
                <a:ext uri="{FF2B5EF4-FFF2-40B4-BE49-F238E27FC236}">
                  <a16:creationId xmlns:a16="http://schemas.microsoft.com/office/drawing/2014/main" id="{931F3F86-C1BE-7403-B702-D844C20E8354}"/>
                </a:ext>
              </a:extLst>
            </p:cNvPr>
            <p:cNvSpPr>
              <a:spLocks/>
            </p:cNvSpPr>
            <p:nvPr/>
          </p:nvSpPr>
          <p:spPr bwMode="auto">
            <a:xfrm rot="21097436">
              <a:off x="10050344" y="1499729"/>
              <a:ext cx="33026" cy="30470"/>
            </a:xfrm>
            <a:custGeom>
              <a:avLst/>
              <a:gdLst>
                <a:gd name="T0" fmla="*/ 50704 w 14"/>
                <a:gd name="T1" fmla="*/ 0 h 12"/>
                <a:gd name="T2" fmla="*/ 7243 w 14"/>
                <a:gd name="T3" fmla="*/ 19422 h 12"/>
                <a:gd name="T4" fmla="*/ 21730 w 14"/>
                <a:gd name="T5" fmla="*/ 58266 h 12"/>
                <a:gd name="T6" fmla="*/ 50704 w 14"/>
                <a:gd name="T7" fmla="*/ 71214 h 12"/>
                <a:gd name="T8" fmla="*/ 65190 w 14"/>
                <a:gd name="T9" fmla="*/ 77688 h 12"/>
                <a:gd name="T10" fmla="*/ 65190 w 14"/>
                <a:gd name="T11" fmla="*/ 77688 h 12"/>
                <a:gd name="T12" fmla="*/ 94164 w 14"/>
                <a:gd name="T13" fmla="*/ 64740 h 12"/>
                <a:gd name="T14" fmla="*/ 101407 w 14"/>
                <a:gd name="T15" fmla="*/ 38844 h 12"/>
                <a:gd name="T16" fmla="*/ 50704 w 14"/>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 h="12">
                  <a:moveTo>
                    <a:pt x="7" y="0"/>
                  </a:moveTo>
                  <a:cubicBezTo>
                    <a:pt x="4" y="0"/>
                    <a:pt x="2" y="1"/>
                    <a:pt x="1" y="3"/>
                  </a:cubicBezTo>
                  <a:cubicBezTo>
                    <a:pt x="1" y="4"/>
                    <a:pt x="0" y="6"/>
                    <a:pt x="3" y="9"/>
                  </a:cubicBezTo>
                  <a:cubicBezTo>
                    <a:pt x="4" y="10"/>
                    <a:pt x="5" y="10"/>
                    <a:pt x="7" y="11"/>
                  </a:cubicBezTo>
                  <a:cubicBezTo>
                    <a:pt x="8" y="11"/>
                    <a:pt x="9" y="12"/>
                    <a:pt x="9" y="12"/>
                  </a:cubicBezTo>
                  <a:cubicBezTo>
                    <a:pt x="9" y="12"/>
                    <a:pt x="9" y="12"/>
                    <a:pt x="9" y="12"/>
                  </a:cubicBezTo>
                  <a:cubicBezTo>
                    <a:pt x="11" y="12"/>
                    <a:pt x="12" y="11"/>
                    <a:pt x="13" y="10"/>
                  </a:cubicBezTo>
                  <a:cubicBezTo>
                    <a:pt x="14" y="9"/>
                    <a:pt x="14" y="8"/>
                    <a:pt x="14" y="6"/>
                  </a:cubicBezTo>
                  <a:cubicBezTo>
                    <a:pt x="14" y="2"/>
                    <a:pt x="11" y="0"/>
                    <a:pt x="7" y="0"/>
                  </a:cubicBezTo>
                  <a:close/>
                </a:path>
              </a:pathLst>
            </a:custGeom>
            <a:solidFill>
              <a:srgbClr val="FF0000"/>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4" name="Freeform 75">
              <a:extLst>
                <a:ext uri="{FF2B5EF4-FFF2-40B4-BE49-F238E27FC236}">
                  <a16:creationId xmlns:a16="http://schemas.microsoft.com/office/drawing/2014/main" id="{AD3FAAB8-0C14-C448-5878-266BD9EA546A}"/>
                </a:ext>
              </a:extLst>
            </p:cNvPr>
            <p:cNvSpPr>
              <a:spLocks/>
            </p:cNvSpPr>
            <p:nvPr/>
          </p:nvSpPr>
          <p:spPr bwMode="auto">
            <a:xfrm rot="21097436">
              <a:off x="8791353" y="1006258"/>
              <a:ext cx="325914" cy="318978"/>
            </a:xfrm>
            <a:custGeom>
              <a:avLst/>
              <a:gdLst>
                <a:gd name="T0" fmla="*/ 965240 w 141"/>
                <a:gd name="T1" fmla="*/ 393739 h 126"/>
                <a:gd name="T2" fmla="*/ 936851 w 141"/>
                <a:gd name="T3" fmla="*/ 284008 h 126"/>
                <a:gd name="T4" fmla="*/ 816196 w 141"/>
                <a:gd name="T5" fmla="*/ 232371 h 126"/>
                <a:gd name="T6" fmla="*/ 752320 w 141"/>
                <a:gd name="T7" fmla="*/ 193642 h 126"/>
                <a:gd name="T8" fmla="*/ 702638 w 141"/>
                <a:gd name="T9" fmla="*/ 90366 h 126"/>
                <a:gd name="T10" fmla="*/ 596178 w 141"/>
                <a:gd name="T11" fmla="*/ 51638 h 126"/>
                <a:gd name="T12" fmla="*/ 496815 w 141"/>
                <a:gd name="T13" fmla="*/ 12909 h 126"/>
                <a:gd name="T14" fmla="*/ 432939 w 141"/>
                <a:gd name="T15" fmla="*/ 6455 h 126"/>
                <a:gd name="T16" fmla="*/ 397452 w 141"/>
                <a:gd name="T17" fmla="*/ 51638 h 126"/>
                <a:gd name="T18" fmla="*/ 390355 w 141"/>
                <a:gd name="T19" fmla="*/ 129095 h 126"/>
                <a:gd name="T20" fmla="*/ 347770 w 141"/>
                <a:gd name="T21" fmla="*/ 213006 h 126"/>
                <a:gd name="T22" fmla="*/ 269699 w 141"/>
                <a:gd name="T23" fmla="*/ 258190 h 126"/>
                <a:gd name="T24" fmla="*/ 234213 w 141"/>
                <a:gd name="T25" fmla="*/ 290463 h 126"/>
                <a:gd name="T26" fmla="*/ 227115 w 141"/>
                <a:gd name="T27" fmla="*/ 309827 h 126"/>
                <a:gd name="T28" fmla="*/ 177434 w 141"/>
                <a:gd name="T29" fmla="*/ 322737 h 126"/>
                <a:gd name="T30" fmla="*/ 149044 w 141"/>
                <a:gd name="T31" fmla="*/ 367920 h 126"/>
                <a:gd name="T32" fmla="*/ 99363 w 141"/>
                <a:gd name="T33" fmla="*/ 387284 h 126"/>
                <a:gd name="T34" fmla="*/ 63876 w 141"/>
                <a:gd name="T35" fmla="*/ 413103 h 126"/>
                <a:gd name="T36" fmla="*/ 28389 w 141"/>
                <a:gd name="T37" fmla="*/ 522834 h 126"/>
                <a:gd name="T38" fmla="*/ 42584 w 141"/>
                <a:gd name="T39" fmla="*/ 548653 h 126"/>
                <a:gd name="T40" fmla="*/ 70974 w 141"/>
                <a:gd name="T41" fmla="*/ 593836 h 126"/>
                <a:gd name="T42" fmla="*/ 92266 w 141"/>
                <a:gd name="T43" fmla="*/ 664838 h 126"/>
                <a:gd name="T44" fmla="*/ 56779 w 141"/>
                <a:gd name="T45" fmla="*/ 781023 h 126"/>
                <a:gd name="T46" fmla="*/ 120655 w 141"/>
                <a:gd name="T47" fmla="*/ 813297 h 126"/>
                <a:gd name="T48" fmla="*/ 163239 w 141"/>
                <a:gd name="T49" fmla="*/ 806842 h 126"/>
                <a:gd name="T50" fmla="*/ 198726 w 141"/>
                <a:gd name="T51" fmla="*/ 800388 h 126"/>
                <a:gd name="T52" fmla="*/ 255505 w 141"/>
                <a:gd name="T53" fmla="*/ 793933 h 126"/>
                <a:gd name="T54" fmla="*/ 312284 w 141"/>
                <a:gd name="T55" fmla="*/ 813297 h 126"/>
                <a:gd name="T56" fmla="*/ 383257 w 141"/>
                <a:gd name="T57" fmla="*/ 768114 h 126"/>
                <a:gd name="T58" fmla="*/ 418744 w 141"/>
                <a:gd name="T59" fmla="*/ 722931 h 126"/>
                <a:gd name="T60" fmla="*/ 475523 w 141"/>
                <a:gd name="T61" fmla="*/ 671293 h 126"/>
                <a:gd name="T62" fmla="*/ 518107 w 141"/>
                <a:gd name="T63" fmla="*/ 677748 h 126"/>
                <a:gd name="T64" fmla="*/ 603275 w 141"/>
                <a:gd name="T65" fmla="*/ 613200 h 126"/>
                <a:gd name="T66" fmla="*/ 667151 w 141"/>
                <a:gd name="T67" fmla="*/ 600291 h 126"/>
                <a:gd name="T68" fmla="*/ 723930 w 141"/>
                <a:gd name="T69" fmla="*/ 587381 h 126"/>
                <a:gd name="T70" fmla="*/ 787806 w 141"/>
                <a:gd name="T71" fmla="*/ 568017 h 126"/>
                <a:gd name="T72" fmla="*/ 837488 w 141"/>
                <a:gd name="T73" fmla="*/ 555107 h 126"/>
                <a:gd name="T74" fmla="*/ 872975 w 141"/>
                <a:gd name="T75" fmla="*/ 555107 h 126"/>
                <a:gd name="T76" fmla="*/ 993630 w 141"/>
                <a:gd name="T77" fmla="*/ 509924 h 1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1" h="126">
                  <a:moveTo>
                    <a:pt x="137" y="64"/>
                  </a:moveTo>
                  <a:cubicBezTo>
                    <a:pt x="137" y="63"/>
                    <a:pt x="136" y="62"/>
                    <a:pt x="136" y="61"/>
                  </a:cubicBezTo>
                  <a:cubicBezTo>
                    <a:pt x="135" y="59"/>
                    <a:pt x="135" y="56"/>
                    <a:pt x="135" y="54"/>
                  </a:cubicBezTo>
                  <a:cubicBezTo>
                    <a:pt x="134" y="51"/>
                    <a:pt x="134" y="47"/>
                    <a:pt x="132" y="44"/>
                  </a:cubicBezTo>
                  <a:cubicBezTo>
                    <a:pt x="129" y="37"/>
                    <a:pt x="122" y="36"/>
                    <a:pt x="117" y="36"/>
                  </a:cubicBezTo>
                  <a:cubicBezTo>
                    <a:pt x="116" y="36"/>
                    <a:pt x="116" y="36"/>
                    <a:pt x="115" y="36"/>
                  </a:cubicBezTo>
                  <a:cubicBezTo>
                    <a:pt x="114" y="36"/>
                    <a:pt x="114" y="36"/>
                    <a:pt x="113" y="36"/>
                  </a:cubicBezTo>
                  <a:cubicBezTo>
                    <a:pt x="110" y="36"/>
                    <a:pt x="108" y="35"/>
                    <a:pt x="106" y="30"/>
                  </a:cubicBezTo>
                  <a:cubicBezTo>
                    <a:pt x="105" y="28"/>
                    <a:pt x="104" y="27"/>
                    <a:pt x="103" y="25"/>
                  </a:cubicBezTo>
                  <a:cubicBezTo>
                    <a:pt x="102" y="21"/>
                    <a:pt x="100" y="18"/>
                    <a:pt x="99" y="14"/>
                  </a:cubicBezTo>
                  <a:cubicBezTo>
                    <a:pt x="97" y="11"/>
                    <a:pt x="92" y="10"/>
                    <a:pt x="88" y="9"/>
                  </a:cubicBezTo>
                  <a:cubicBezTo>
                    <a:pt x="87" y="8"/>
                    <a:pt x="85" y="8"/>
                    <a:pt x="84" y="8"/>
                  </a:cubicBezTo>
                  <a:cubicBezTo>
                    <a:pt x="82" y="7"/>
                    <a:pt x="80" y="6"/>
                    <a:pt x="78" y="5"/>
                  </a:cubicBezTo>
                  <a:cubicBezTo>
                    <a:pt x="76" y="4"/>
                    <a:pt x="73" y="3"/>
                    <a:pt x="70" y="2"/>
                  </a:cubicBezTo>
                  <a:cubicBezTo>
                    <a:pt x="68" y="1"/>
                    <a:pt x="66" y="0"/>
                    <a:pt x="63" y="0"/>
                  </a:cubicBezTo>
                  <a:cubicBezTo>
                    <a:pt x="62" y="0"/>
                    <a:pt x="61" y="1"/>
                    <a:pt x="61" y="1"/>
                  </a:cubicBezTo>
                  <a:cubicBezTo>
                    <a:pt x="57" y="2"/>
                    <a:pt x="56" y="5"/>
                    <a:pt x="56" y="7"/>
                  </a:cubicBezTo>
                  <a:cubicBezTo>
                    <a:pt x="56" y="7"/>
                    <a:pt x="56" y="8"/>
                    <a:pt x="56" y="8"/>
                  </a:cubicBezTo>
                  <a:cubicBezTo>
                    <a:pt x="55" y="11"/>
                    <a:pt x="55" y="14"/>
                    <a:pt x="56" y="16"/>
                  </a:cubicBezTo>
                  <a:cubicBezTo>
                    <a:pt x="56" y="18"/>
                    <a:pt x="55" y="19"/>
                    <a:pt x="55" y="20"/>
                  </a:cubicBezTo>
                  <a:cubicBezTo>
                    <a:pt x="55" y="22"/>
                    <a:pt x="55" y="23"/>
                    <a:pt x="54" y="24"/>
                  </a:cubicBezTo>
                  <a:cubicBezTo>
                    <a:pt x="54" y="27"/>
                    <a:pt x="51" y="31"/>
                    <a:pt x="49" y="33"/>
                  </a:cubicBezTo>
                  <a:cubicBezTo>
                    <a:pt x="47" y="34"/>
                    <a:pt x="45" y="35"/>
                    <a:pt x="44" y="36"/>
                  </a:cubicBezTo>
                  <a:cubicBezTo>
                    <a:pt x="42" y="37"/>
                    <a:pt x="40" y="39"/>
                    <a:pt x="38" y="40"/>
                  </a:cubicBezTo>
                  <a:cubicBezTo>
                    <a:pt x="38" y="40"/>
                    <a:pt x="38" y="40"/>
                    <a:pt x="38" y="40"/>
                  </a:cubicBezTo>
                  <a:cubicBezTo>
                    <a:pt x="36" y="42"/>
                    <a:pt x="34" y="43"/>
                    <a:pt x="33" y="45"/>
                  </a:cubicBezTo>
                  <a:cubicBezTo>
                    <a:pt x="33" y="46"/>
                    <a:pt x="33" y="46"/>
                    <a:pt x="32" y="47"/>
                  </a:cubicBezTo>
                  <a:cubicBezTo>
                    <a:pt x="32" y="48"/>
                    <a:pt x="32" y="48"/>
                    <a:pt x="32" y="48"/>
                  </a:cubicBezTo>
                  <a:cubicBezTo>
                    <a:pt x="32" y="49"/>
                    <a:pt x="31" y="49"/>
                    <a:pt x="30" y="49"/>
                  </a:cubicBezTo>
                  <a:cubicBezTo>
                    <a:pt x="29" y="49"/>
                    <a:pt x="27" y="49"/>
                    <a:pt x="25" y="50"/>
                  </a:cubicBezTo>
                  <a:cubicBezTo>
                    <a:pt x="24" y="51"/>
                    <a:pt x="23" y="53"/>
                    <a:pt x="22" y="55"/>
                  </a:cubicBezTo>
                  <a:cubicBezTo>
                    <a:pt x="21" y="55"/>
                    <a:pt x="21" y="56"/>
                    <a:pt x="21" y="57"/>
                  </a:cubicBezTo>
                  <a:cubicBezTo>
                    <a:pt x="20" y="57"/>
                    <a:pt x="19" y="58"/>
                    <a:pt x="18" y="58"/>
                  </a:cubicBezTo>
                  <a:cubicBezTo>
                    <a:pt x="17" y="59"/>
                    <a:pt x="16" y="59"/>
                    <a:pt x="14" y="60"/>
                  </a:cubicBezTo>
                  <a:cubicBezTo>
                    <a:pt x="13" y="61"/>
                    <a:pt x="12" y="61"/>
                    <a:pt x="11" y="62"/>
                  </a:cubicBezTo>
                  <a:cubicBezTo>
                    <a:pt x="10" y="63"/>
                    <a:pt x="9" y="63"/>
                    <a:pt x="9" y="64"/>
                  </a:cubicBezTo>
                  <a:cubicBezTo>
                    <a:pt x="5" y="66"/>
                    <a:pt x="1" y="69"/>
                    <a:pt x="0" y="75"/>
                  </a:cubicBezTo>
                  <a:cubicBezTo>
                    <a:pt x="0" y="79"/>
                    <a:pt x="2" y="81"/>
                    <a:pt x="4" y="81"/>
                  </a:cubicBezTo>
                  <a:cubicBezTo>
                    <a:pt x="5" y="82"/>
                    <a:pt x="5" y="82"/>
                    <a:pt x="5" y="83"/>
                  </a:cubicBezTo>
                  <a:cubicBezTo>
                    <a:pt x="6" y="83"/>
                    <a:pt x="6" y="84"/>
                    <a:pt x="6" y="85"/>
                  </a:cubicBezTo>
                  <a:cubicBezTo>
                    <a:pt x="6" y="86"/>
                    <a:pt x="6" y="87"/>
                    <a:pt x="7" y="89"/>
                  </a:cubicBezTo>
                  <a:cubicBezTo>
                    <a:pt x="8" y="90"/>
                    <a:pt x="9" y="91"/>
                    <a:pt x="10" y="92"/>
                  </a:cubicBezTo>
                  <a:cubicBezTo>
                    <a:pt x="10" y="93"/>
                    <a:pt x="10" y="93"/>
                    <a:pt x="11" y="93"/>
                  </a:cubicBezTo>
                  <a:cubicBezTo>
                    <a:pt x="13" y="97"/>
                    <a:pt x="14" y="100"/>
                    <a:pt x="13" y="103"/>
                  </a:cubicBezTo>
                  <a:cubicBezTo>
                    <a:pt x="13" y="106"/>
                    <a:pt x="12" y="110"/>
                    <a:pt x="10" y="113"/>
                  </a:cubicBezTo>
                  <a:cubicBezTo>
                    <a:pt x="9" y="115"/>
                    <a:pt x="7" y="118"/>
                    <a:pt x="8" y="121"/>
                  </a:cubicBezTo>
                  <a:cubicBezTo>
                    <a:pt x="9" y="122"/>
                    <a:pt x="10" y="124"/>
                    <a:pt x="12" y="125"/>
                  </a:cubicBezTo>
                  <a:cubicBezTo>
                    <a:pt x="13" y="126"/>
                    <a:pt x="15" y="126"/>
                    <a:pt x="17" y="126"/>
                  </a:cubicBezTo>
                  <a:cubicBezTo>
                    <a:pt x="17" y="126"/>
                    <a:pt x="17" y="126"/>
                    <a:pt x="17" y="126"/>
                  </a:cubicBezTo>
                  <a:cubicBezTo>
                    <a:pt x="19" y="126"/>
                    <a:pt x="21" y="126"/>
                    <a:pt x="23" y="125"/>
                  </a:cubicBezTo>
                  <a:cubicBezTo>
                    <a:pt x="24" y="125"/>
                    <a:pt x="26" y="124"/>
                    <a:pt x="27" y="124"/>
                  </a:cubicBezTo>
                  <a:cubicBezTo>
                    <a:pt x="28" y="124"/>
                    <a:pt x="28" y="124"/>
                    <a:pt x="28" y="124"/>
                  </a:cubicBezTo>
                  <a:cubicBezTo>
                    <a:pt x="30" y="124"/>
                    <a:pt x="32" y="123"/>
                    <a:pt x="34" y="123"/>
                  </a:cubicBezTo>
                  <a:cubicBezTo>
                    <a:pt x="34" y="123"/>
                    <a:pt x="35" y="123"/>
                    <a:pt x="36" y="123"/>
                  </a:cubicBezTo>
                  <a:cubicBezTo>
                    <a:pt x="36" y="124"/>
                    <a:pt x="37" y="124"/>
                    <a:pt x="38" y="124"/>
                  </a:cubicBezTo>
                  <a:cubicBezTo>
                    <a:pt x="40" y="125"/>
                    <a:pt x="42" y="126"/>
                    <a:pt x="44" y="126"/>
                  </a:cubicBezTo>
                  <a:cubicBezTo>
                    <a:pt x="44" y="126"/>
                    <a:pt x="45" y="126"/>
                    <a:pt x="45" y="126"/>
                  </a:cubicBezTo>
                  <a:cubicBezTo>
                    <a:pt x="50" y="126"/>
                    <a:pt x="52" y="122"/>
                    <a:pt x="54" y="119"/>
                  </a:cubicBezTo>
                  <a:cubicBezTo>
                    <a:pt x="55" y="118"/>
                    <a:pt x="56" y="117"/>
                    <a:pt x="56" y="116"/>
                  </a:cubicBezTo>
                  <a:cubicBezTo>
                    <a:pt x="57" y="114"/>
                    <a:pt x="58" y="113"/>
                    <a:pt x="59" y="112"/>
                  </a:cubicBezTo>
                  <a:cubicBezTo>
                    <a:pt x="61" y="109"/>
                    <a:pt x="63" y="106"/>
                    <a:pt x="66" y="104"/>
                  </a:cubicBezTo>
                  <a:cubicBezTo>
                    <a:pt x="66" y="104"/>
                    <a:pt x="67" y="104"/>
                    <a:pt x="67" y="104"/>
                  </a:cubicBezTo>
                  <a:cubicBezTo>
                    <a:pt x="68" y="105"/>
                    <a:pt x="70" y="105"/>
                    <a:pt x="71" y="105"/>
                  </a:cubicBezTo>
                  <a:cubicBezTo>
                    <a:pt x="72" y="105"/>
                    <a:pt x="72" y="105"/>
                    <a:pt x="73" y="105"/>
                  </a:cubicBezTo>
                  <a:cubicBezTo>
                    <a:pt x="77" y="104"/>
                    <a:pt x="80" y="101"/>
                    <a:pt x="82" y="98"/>
                  </a:cubicBezTo>
                  <a:cubicBezTo>
                    <a:pt x="83" y="97"/>
                    <a:pt x="84" y="96"/>
                    <a:pt x="85" y="95"/>
                  </a:cubicBezTo>
                  <a:cubicBezTo>
                    <a:pt x="86" y="94"/>
                    <a:pt x="87" y="94"/>
                    <a:pt x="89" y="94"/>
                  </a:cubicBezTo>
                  <a:cubicBezTo>
                    <a:pt x="91" y="93"/>
                    <a:pt x="92" y="93"/>
                    <a:pt x="94" y="93"/>
                  </a:cubicBezTo>
                  <a:cubicBezTo>
                    <a:pt x="94" y="93"/>
                    <a:pt x="95" y="92"/>
                    <a:pt x="96" y="92"/>
                  </a:cubicBezTo>
                  <a:cubicBezTo>
                    <a:pt x="98" y="92"/>
                    <a:pt x="100" y="92"/>
                    <a:pt x="102" y="91"/>
                  </a:cubicBezTo>
                  <a:cubicBezTo>
                    <a:pt x="103" y="91"/>
                    <a:pt x="103" y="91"/>
                    <a:pt x="103" y="91"/>
                  </a:cubicBezTo>
                  <a:cubicBezTo>
                    <a:pt x="106" y="90"/>
                    <a:pt x="109" y="89"/>
                    <a:pt x="111" y="88"/>
                  </a:cubicBezTo>
                  <a:cubicBezTo>
                    <a:pt x="113" y="87"/>
                    <a:pt x="114" y="87"/>
                    <a:pt x="115" y="86"/>
                  </a:cubicBezTo>
                  <a:cubicBezTo>
                    <a:pt x="116" y="86"/>
                    <a:pt x="117" y="86"/>
                    <a:pt x="118" y="86"/>
                  </a:cubicBezTo>
                  <a:cubicBezTo>
                    <a:pt x="118" y="86"/>
                    <a:pt x="119" y="86"/>
                    <a:pt x="120" y="86"/>
                  </a:cubicBezTo>
                  <a:cubicBezTo>
                    <a:pt x="121" y="86"/>
                    <a:pt x="122" y="86"/>
                    <a:pt x="123" y="86"/>
                  </a:cubicBezTo>
                  <a:cubicBezTo>
                    <a:pt x="125" y="86"/>
                    <a:pt x="125" y="86"/>
                    <a:pt x="125" y="86"/>
                  </a:cubicBezTo>
                  <a:cubicBezTo>
                    <a:pt x="130" y="86"/>
                    <a:pt x="138" y="86"/>
                    <a:pt x="140" y="79"/>
                  </a:cubicBezTo>
                  <a:cubicBezTo>
                    <a:pt x="141" y="74"/>
                    <a:pt x="139" y="69"/>
                    <a:pt x="137" y="64"/>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5" name="Freeform 76">
              <a:extLst>
                <a:ext uri="{FF2B5EF4-FFF2-40B4-BE49-F238E27FC236}">
                  <a16:creationId xmlns:a16="http://schemas.microsoft.com/office/drawing/2014/main" id="{73F72140-E30F-F560-D2AB-E7984406D7BB}"/>
                </a:ext>
              </a:extLst>
            </p:cNvPr>
            <p:cNvSpPr>
              <a:spLocks/>
            </p:cNvSpPr>
            <p:nvPr/>
          </p:nvSpPr>
          <p:spPr bwMode="auto">
            <a:xfrm rot="21097436">
              <a:off x="9964989" y="1893046"/>
              <a:ext cx="285935" cy="296127"/>
            </a:xfrm>
            <a:custGeom>
              <a:avLst/>
              <a:gdLst>
                <a:gd name="T0" fmla="*/ 821328 w 124"/>
                <a:gd name="T1" fmla="*/ 464634 h 117"/>
                <a:gd name="T2" fmla="*/ 757604 w 124"/>
                <a:gd name="T3" fmla="*/ 432368 h 117"/>
                <a:gd name="T4" fmla="*/ 715122 w 124"/>
                <a:gd name="T5" fmla="*/ 438821 h 117"/>
                <a:gd name="T6" fmla="*/ 693880 w 124"/>
                <a:gd name="T7" fmla="*/ 425915 h 117"/>
                <a:gd name="T8" fmla="*/ 672639 w 124"/>
                <a:gd name="T9" fmla="*/ 387195 h 117"/>
                <a:gd name="T10" fmla="*/ 580594 w 124"/>
                <a:gd name="T11" fmla="*/ 296850 h 117"/>
                <a:gd name="T12" fmla="*/ 552272 w 124"/>
                <a:gd name="T13" fmla="*/ 290397 h 117"/>
                <a:gd name="T14" fmla="*/ 531031 w 124"/>
                <a:gd name="T15" fmla="*/ 283943 h 117"/>
                <a:gd name="T16" fmla="*/ 509790 w 124"/>
                <a:gd name="T17" fmla="*/ 264584 h 117"/>
                <a:gd name="T18" fmla="*/ 410664 w 124"/>
                <a:gd name="T19" fmla="*/ 200051 h 117"/>
                <a:gd name="T20" fmla="*/ 368181 w 124"/>
                <a:gd name="T21" fmla="*/ 180691 h 117"/>
                <a:gd name="T22" fmla="*/ 311538 w 124"/>
                <a:gd name="T23" fmla="*/ 141972 h 117"/>
                <a:gd name="T24" fmla="*/ 276136 w 124"/>
                <a:gd name="T25" fmla="*/ 161331 h 117"/>
                <a:gd name="T26" fmla="*/ 261975 w 124"/>
                <a:gd name="T27" fmla="*/ 129065 h 117"/>
                <a:gd name="T28" fmla="*/ 283216 w 124"/>
                <a:gd name="T29" fmla="*/ 135518 h 117"/>
                <a:gd name="T30" fmla="*/ 297377 w 124"/>
                <a:gd name="T31" fmla="*/ 51626 h 117"/>
                <a:gd name="T32" fmla="*/ 290297 w 124"/>
                <a:gd name="T33" fmla="*/ 38720 h 117"/>
                <a:gd name="T34" fmla="*/ 205332 w 124"/>
                <a:gd name="T35" fmla="*/ 38720 h 117"/>
                <a:gd name="T36" fmla="*/ 191171 w 124"/>
                <a:gd name="T37" fmla="*/ 38720 h 117"/>
                <a:gd name="T38" fmla="*/ 113287 w 124"/>
                <a:gd name="T39" fmla="*/ 148425 h 117"/>
                <a:gd name="T40" fmla="*/ 106206 w 124"/>
                <a:gd name="T41" fmla="*/ 251677 h 117"/>
                <a:gd name="T42" fmla="*/ 106206 w 124"/>
                <a:gd name="T43" fmla="*/ 458181 h 117"/>
                <a:gd name="T44" fmla="*/ 70804 w 124"/>
                <a:gd name="T45" fmla="*/ 522714 h 117"/>
                <a:gd name="T46" fmla="*/ 14161 w 124"/>
                <a:gd name="T47" fmla="*/ 645326 h 117"/>
                <a:gd name="T48" fmla="*/ 148689 w 124"/>
                <a:gd name="T49" fmla="*/ 632419 h 117"/>
                <a:gd name="T50" fmla="*/ 191171 w 124"/>
                <a:gd name="T51" fmla="*/ 613059 h 117"/>
                <a:gd name="T52" fmla="*/ 205332 w 124"/>
                <a:gd name="T53" fmla="*/ 664685 h 117"/>
                <a:gd name="T54" fmla="*/ 212412 w 124"/>
                <a:gd name="T55" fmla="*/ 729218 h 117"/>
                <a:gd name="T56" fmla="*/ 325699 w 124"/>
                <a:gd name="T57" fmla="*/ 722765 h 117"/>
                <a:gd name="T58" fmla="*/ 368181 w 124"/>
                <a:gd name="T59" fmla="*/ 684045 h 117"/>
                <a:gd name="T60" fmla="*/ 396503 w 124"/>
                <a:gd name="T61" fmla="*/ 632419 h 117"/>
                <a:gd name="T62" fmla="*/ 467307 w 124"/>
                <a:gd name="T63" fmla="*/ 535620 h 117"/>
                <a:gd name="T64" fmla="*/ 474388 w 124"/>
                <a:gd name="T65" fmla="*/ 496901 h 117"/>
                <a:gd name="T66" fmla="*/ 502709 w 124"/>
                <a:gd name="T67" fmla="*/ 490447 h 117"/>
                <a:gd name="T68" fmla="*/ 509790 w 124"/>
                <a:gd name="T69" fmla="*/ 509807 h 117"/>
                <a:gd name="T70" fmla="*/ 538111 w 124"/>
                <a:gd name="T71" fmla="*/ 529167 h 117"/>
                <a:gd name="T72" fmla="*/ 573513 w 124"/>
                <a:gd name="T73" fmla="*/ 522714 h 117"/>
                <a:gd name="T74" fmla="*/ 580594 w 124"/>
                <a:gd name="T75" fmla="*/ 522714 h 117"/>
                <a:gd name="T76" fmla="*/ 566433 w 124"/>
                <a:gd name="T77" fmla="*/ 567887 h 117"/>
                <a:gd name="T78" fmla="*/ 637237 w 124"/>
                <a:gd name="T79" fmla="*/ 587246 h 117"/>
                <a:gd name="T80" fmla="*/ 679719 w 124"/>
                <a:gd name="T81" fmla="*/ 600153 h 117"/>
                <a:gd name="T82" fmla="*/ 743443 w 124"/>
                <a:gd name="T83" fmla="*/ 619513 h 117"/>
                <a:gd name="T84" fmla="*/ 877971 w 124"/>
                <a:gd name="T85" fmla="*/ 516261 h 1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24" h="117">
                  <a:moveTo>
                    <a:pt x="120" y="75"/>
                  </a:moveTo>
                  <a:cubicBezTo>
                    <a:pt x="119" y="74"/>
                    <a:pt x="118" y="73"/>
                    <a:pt x="116" y="72"/>
                  </a:cubicBezTo>
                  <a:cubicBezTo>
                    <a:pt x="115" y="71"/>
                    <a:pt x="114" y="70"/>
                    <a:pt x="113" y="69"/>
                  </a:cubicBezTo>
                  <a:cubicBezTo>
                    <a:pt x="111" y="67"/>
                    <a:pt x="110" y="67"/>
                    <a:pt x="107" y="67"/>
                  </a:cubicBezTo>
                  <a:cubicBezTo>
                    <a:pt x="106" y="67"/>
                    <a:pt x="104" y="67"/>
                    <a:pt x="103" y="67"/>
                  </a:cubicBezTo>
                  <a:cubicBezTo>
                    <a:pt x="101" y="68"/>
                    <a:pt x="101" y="68"/>
                    <a:pt x="101" y="68"/>
                  </a:cubicBezTo>
                  <a:cubicBezTo>
                    <a:pt x="100" y="68"/>
                    <a:pt x="99" y="68"/>
                    <a:pt x="98" y="68"/>
                  </a:cubicBezTo>
                  <a:cubicBezTo>
                    <a:pt x="98" y="68"/>
                    <a:pt x="98" y="67"/>
                    <a:pt x="98" y="66"/>
                  </a:cubicBezTo>
                  <a:cubicBezTo>
                    <a:pt x="97" y="65"/>
                    <a:pt x="97" y="63"/>
                    <a:pt x="96" y="62"/>
                  </a:cubicBezTo>
                  <a:cubicBezTo>
                    <a:pt x="95" y="61"/>
                    <a:pt x="95" y="60"/>
                    <a:pt x="95" y="60"/>
                  </a:cubicBezTo>
                  <a:cubicBezTo>
                    <a:pt x="94" y="52"/>
                    <a:pt x="90" y="47"/>
                    <a:pt x="83" y="46"/>
                  </a:cubicBezTo>
                  <a:cubicBezTo>
                    <a:pt x="83" y="46"/>
                    <a:pt x="82" y="46"/>
                    <a:pt x="82" y="46"/>
                  </a:cubicBezTo>
                  <a:cubicBezTo>
                    <a:pt x="81" y="46"/>
                    <a:pt x="80" y="46"/>
                    <a:pt x="79" y="46"/>
                  </a:cubicBezTo>
                  <a:cubicBezTo>
                    <a:pt x="79" y="46"/>
                    <a:pt x="79" y="46"/>
                    <a:pt x="78" y="45"/>
                  </a:cubicBezTo>
                  <a:cubicBezTo>
                    <a:pt x="77" y="45"/>
                    <a:pt x="77" y="45"/>
                    <a:pt x="76" y="44"/>
                  </a:cubicBezTo>
                  <a:cubicBezTo>
                    <a:pt x="75" y="44"/>
                    <a:pt x="75" y="44"/>
                    <a:pt x="75" y="44"/>
                  </a:cubicBezTo>
                  <a:cubicBezTo>
                    <a:pt x="73" y="44"/>
                    <a:pt x="73" y="44"/>
                    <a:pt x="73" y="43"/>
                  </a:cubicBezTo>
                  <a:cubicBezTo>
                    <a:pt x="72" y="43"/>
                    <a:pt x="72" y="42"/>
                    <a:pt x="72" y="41"/>
                  </a:cubicBezTo>
                  <a:cubicBezTo>
                    <a:pt x="71" y="40"/>
                    <a:pt x="71" y="38"/>
                    <a:pt x="69" y="37"/>
                  </a:cubicBezTo>
                  <a:cubicBezTo>
                    <a:pt x="68" y="36"/>
                    <a:pt x="64" y="32"/>
                    <a:pt x="58" y="31"/>
                  </a:cubicBezTo>
                  <a:cubicBezTo>
                    <a:pt x="56" y="31"/>
                    <a:pt x="55" y="31"/>
                    <a:pt x="53" y="29"/>
                  </a:cubicBezTo>
                  <a:cubicBezTo>
                    <a:pt x="53" y="28"/>
                    <a:pt x="53" y="28"/>
                    <a:pt x="52" y="28"/>
                  </a:cubicBezTo>
                  <a:cubicBezTo>
                    <a:pt x="51" y="25"/>
                    <a:pt x="49" y="22"/>
                    <a:pt x="45" y="22"/>
                  </a:cubicBezTo>
                  <a:cubicBezTo>
                    <a:pt x="44" y="22"/>
                    <a:pt x="44" y="22"/>
                    <a:pt x="44" y="22"/>
                  </a:cubicBezTo>
                  <a:cubicBezTo>
                    <a:pt x="42" y="22"/>
                    <a:pt x="40" y="24"/>
                    <a:pt x="40" y="24"/>
                  </a:cubicBezTo>
                  <a:cubicBezTo>
                    <a:pt x="39" y="25"/>
                    <a:pt x="39" y="25"/>
                    <a:pt x="39" y="25"/>
                  </a:cubicBezTo>
                  <a:cubicBezTo>
                    <a:pt x="39" y="25"/>
                    <a:pt x="38" y="25"/>
                    <a:pt x="38" y="25"/>
                  </a:cubicBezTo>
                  <a:cubicBezTo>
                    <a:pt x="38" y="25"/>
                    <a:pt x="37" y="22"/>
                    <a:pt x="37" y="20"/>
                  </a:cubicBezTo>
                  <a:cubicBezTo>
                    <a:pt x="38" y="20"/>
                    <a:pt x="39" y="21"/>
                    <a:pt x="40" y="21"/>
                  </a:cubicBezTo>
                  <a:cubicBezTo>
                    <a:pt x="40" y="21"/>
                    <a:pt x="40" y="21"/>
                    <a:pt x="40" y="21"/>
                  </a:cubicBezTo>
                  <a:cubicBezTo>
                    <a:pt x="42" y="21"/>
                    <a:pt x="43" y="20"/>
                    <a:pt x="44" y="19"/>
                  </a:cubicBezTo>
                  <a:cubicBezTo>
                    <a:pt x="48" y="15"/>
                    <a:pt x="43" y="10"/>
                    <a:pt x="42" y="8"/>
                  </a:cubicBezTo>
                  <a:cubicBezTo>
                    <a:pt x="41" y="7"/>
                    <a:pt x="41" y="7"/>
                    <a:pt x="41" y="7"/>
                  </a:cubicBezTo>
                  <a:cubicBezTo>
                    <a:pt x="41" y="7"/>
                    <a:pt x="41" y="6"/>
                    <a:pt x="41" y="6"/>
                  </a:cubicBezTo>
                  <a:cubicBezTo>
                    <a:pt x="40" y="4"/>
                    <a:pt x="39" y="0"/>
                    <a:pt x="35" y="0"/>
                  </a:cubicBezTo>
                  <a:cubicBezTo>
                    <a:pt x="31" y="0"/>
                    <a:pt x="29" y="3"/>
                    <a:pt x="29" y="6"/>
                  </a:cubicBezTo>
                  <a:cubicBezTo>
                    <a:pt x="29" y="6"/>
                    <a:pt x="29" y="6"/>
                    <a:pt x="29" y="6"/>
                  </a:cubicBezTo>
                  <a:cubicBezTo>
                    <a:pt x="28" y="6"/>
                    <a:pt x="28" y="6"/>
                    <a:pt x="27" y="6"/>
                  </a:cubicBezTo>
                  <a:cubicBezTo>
                    <a:pt x="26" y="6"/>
                    <a:pt x="24" y="7"/>
                    <a:pt x="23" y="7"/>
                  </a:cubicBezTo>
                  <a:cubicBezTo>
                    <a:pt x="16" y="11"/>
                    <a:pt x="16" y="19"/>
                    <a:pt x="16" y="23"/>
                  </a:cubicBezTo>
                  <a:cubicBezTo>
                    <a:pt x="16" y="25"/>
                    <a:pt x="16" y="28"/>
                    <a:pt x="16" y="30"/>
                  </a:cubicBezTo>
                  <a:cubicBezTo>
                    <a:pt x="16" y="33"/>
                    <a:pt x="16" y="36"/>
                    <a:pt x="15" y="39"/>
                  </a:cubicBezTo>
                  <a:cubicBezTo>
                    <a:pt x="15" y="45"/>
                    <a:pt x="15" y="49"/>
                    <a:pt x="14" y="54"/>
                  </a:cubicBezTo>
                  <a:cubicBezTo>
                    <a:pt x="13" y="60"/>
                    <a:pt x="13" y="66"/>
                    <a:pt x="15" y="71"/>
                  </a:cubicBezTo>
                  <a:cubicBezTo>
                    <a:pt x="16" y="76"/>
                    <a:pt x="16" y="78"/>
                    <a:pt x="13" y="80"/>
                  </a:cubicBezTo>
                  <a:cubicBezTo>
                    <a:pt x="12" y="80"/>
                    <a:pt x="11" y="81"/>
                    <a:pt x="10" y="81"/>
                  </a:cubicBezTo>
                  <a:cubicBezTo>
                    <a:pt x="6" y="84"/>
                    <a:pt x="1" y="87"/>
                    <a:pt x="0" y="94"/>
                  </a:cubicBezTo>
                  <a:cubicBezTo>
                    <a:pt x="0" y="96"/>
                    <a:pt x="1" y="99"/>
                    <a:pt x="2" y="100"/>
                  </a:cubicBezTo>
                  <a:cubicBezTo>
                    <a:pt x="3" y="101"/>
                    <a:pt x="5" y="102"/>
                    <a:pt x="7" y="102"/>
                  </a:cubicBezTo>
                  <a:cubicBezTo>
                    <a:pt x="12" y="102"/>
                    <a:pt x="17" y="100"/>
                    <a:pt x="21" y="98"/>
                  </a:cubicBezTo>
                  <a:cubicBezTo>
                    <a:pt x="23" y="97"/>
                    <a:pt x="25" y="96"/>
                    <a:pt x="26" y="95"/>
                  </a:cubicBezTo>
                  <a:cubicBezTo>
                    <a:pt x="27" y="95"/>
                    <a:pt x="27" y="95"/>
                    <a:pt x="27" y="95"/>
                  </a:cubicBezTo>
                  <a:cubicBezTo>
                    <a:pt x="27" y="95"/>
                    <a:pt x="27" y="95"/>
                    <a:pt x="27" y="96"/>
                  </a:cubicBezTo>
                  <a:cubicBezTo>
                    <a:pt x="29" y="98"/>
                    <a:pt x="29" y="101"/>
                    <a:pt x="29" y="103"/>
                  </a:cubicBezTo>
                  <a:cubicBezTo>
                    <a:pt x="29" y="104"/>
                    <a:pt x="29" y="105"/>
                    <a:pt x="29" y="105"/>
                  </a:cubicBezTo>
                  <a:cubicBezTo>
                    <a:pt x="29" y="108"/>
                    <a:pt x="29" y="110"/>
                    <a:pt x="30" y="113"/>
                  </a:cubicBezTo>
                  <a:cubicBezTo>
                    <a:pt x="32" y="117"/>
                    <a:pt x="35" y="117"/>
                    <a:pt x="36" y="117"/>
                  </a:cubicBezTo>
                  <a:cubicBezTo>
                    <a:pt x="40" y="117"/>
                    <a:pt x="43" y="114"/>
                    <a:pt x="46" y="112"/>
                  </a:cubicBezTo>
                  <a:cubicBezTo>
                    <a:pt x="47" y="111"/>
                    <a:pt x="47" y="111"/>
                    <a:pt x="47" y="111"/>
                  </a:cubicBezTo>
                  <a:cubicBezTo>
                    <a:pt x="49" y="109"/>
                    <a:pt x="51" y="108"/>
                    <a:pt x="52" y="106"/>
                  </a:cubicBezTo>
                  <a:cubicBezTo>
                    <a:pt x="53" y="104"/>
                    <a:pt x="54" y="102"/>
                    <a:pt x="54" y="101"/>
                  </a:cubicBezTo>
                  <a:cubicBezTo>
                    <a:pt x="55" y="100"/>
                    <a:pt x="55" y="99"/>
                    <a:pt x="56" y="98"/>
                  </a:cubicBezTo>
                  <a:cubicBezTo>
                    <a:pt x="56" y="96"/>
                    <a:pt x="58" y="95"/>
                    <a:pt x="60" y="93"/>
                  </a:cubicBezTo>
                  <a:cubicBezTo>
                    <a:pt x="62" y="91"/>
                    <a:pt x="65" y="88"/>
                    <a:pt x="66" y="83"/>
                  </a:cubicBezTo>
                  <a:cubicBezTo>
                    <a:pt x="66" y="82"/>
                    <a:pt x="66" y="82"/>
                    <a:pt x="66" y="81"/>
                  </a:cubicBezTo>
                  <a:cubicBezTo>
                    <a:pt x="66" y="79"/>
                    <a:pt x="66" y="78"/>
                    <a:pt x="67" y="77"/>
                  </a:cubicBezTo>
                  <a:cubicBezTo>
                    <a:pt x="68" y="76"/>
                    <a:pt x="69" y="75"/>
                    <a:pt x="71" y="75"/>
                  </a:cubicBezTo>
                  <a:cubicBezTo>
                    <a:pt x="71" y="75"/>
                    <a:pt x="71" y="76"/>
                    <a:pt x="71" y="76"/>
                  </a:cubicBezTo>
                  <a:cubicBezTo>
                    <a:pt x="71" y="77"/>
                    <a:pt x="72" y="78"/>
                    <a:pt x="72" y="78"/>
                  </a:cubicBezTo>
                  <a:cubicBezTo>
                    <a:pt x="72" y="78"/>
                    <a:pt x="72" y="79"/>
                    <a:pt x="72" y="79"/>
                  </a:cubicBezTo>
                  <a:cubicBezTo>
                    <a:pt x="72" y="82"/>
                    <a:pt x="72" y="82"/>
                    <a:pt x="72" y="82"/>
                  </a:cubicBezTo>
                  <a:cubicBezTo>
                    <a:pt x="76" y="82"/>
                    <a:pt x="76" y="82"/>
                    <a:pt x="76" y="82"/>
                  </a:cubicBezTo>
                  <a:cubicBezTo>
                    <a:pt x="77" y="82"/>
                    <a:pt x="77" y="82"/>
                    <a:pt x="77" y="82"/>
                  </a:cubicBezTo>
                  <a:cubicBezTo>
                    <a:pt x="78" y="81"/>
                    <a:pt x="80" y="81"/>
                    <a:pt x="81" y="81"/>
                  </a:cubicBezTo>
                  <a:cubicBezTo>
                    <a:pt x="82" y="81"/>
                    <a:pt x="82" y="81"/>
                    <a:pt x="82" y="81"/>
                  </a:cubicBezTo>
                  <a:cubicBezTo>
                    <a:pt x="82" y="81"/>
                    <a:pt x="82" y="81"/>
                    <a:pt x="82" y="81"/>
                  </a:cubicBezTo>
                  <a:cubicBezTo>
                    <a:pt x="82" y="81"/>
                    <a:pt x="82" y="82"/>
                    <a:pt x="81" y="83"/>
                  </a:cubicBezTo>
                  <a:cubicBezTo>
                    <a:pt x="81" y="84"/>
                    <a:pt x="80" y="86"/>
                    <a:pt x="80" y="88"/>
                  </a:cubicBezTo>
                  <a:cubicBezTo>
                    <a:pt x="81" y="90"/>
                    <a:pt x="82" y="92"/>
                    <a:pt x="86" y="92"/>
                  </a:cubicBezTo>
                  <a:cubicBezTo>
                    <a:pt x="87" y="92"/>
                    <a:pt x="89" y="92"/>
                    <a:pt x="90" y="91"/>
                  </a:cubicBezTo>
                  <a:cubicBezTo>
                    <a:pt x="90" y="91"/>
                    <a:pt x="91" y="91"/>
                    <a:pt x="91" y="91"/>
                  </a:cubicBezTo>
                  <a:cubicBezTo>
                    <a:pt x="93" y="91"/>
                    <a:pt x="94" y="92"/>
                    <a:pt x="96" y="93"/>
                  </a:cubicBezTo>
                  <a:cubicBezTo>
                    <a:pt x="97" y="93"/>
                    <a:pt x="98" y="94"/>
                    <a:pt x="99" y="94"/>
                  </a:cubicBezTo>
                  <a:cubicBezTo>
                    <a:pt x="101" y="95"/>
                    <a:pt x="103" y="96"/>
                    <a:pt x="105" y="96"/>
                  </a:cubicBezTo>
                  <a:cubicBezTo>
                    <a:pt x="112" y="96"/>
                    <a:pt x="117" y="90"/>
                    <a:pt x="121" y="86"/>
                  </a:cubicBezTo>
                  <a:cubicBezTo>
                    <a:pt x="122" y="84"/>
                    <a:pt x="124" y="82"/>
                    <a:pt x="124" y="80"/>
                  </a:cubicBezTo>
                  <a:cubicBezTo>
                    <a:pt x="123" y="78"/>
                    <a:pt x="122" y="76"/>
                    <a:pt x="120" y="75"/>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6" name="Freeform 83">
              <a:extLst>
                <a:ext uri="{FF2B5EF4-FFF2-40B4-BE49-F238E27FC236}">
                  <a16:creationId xmlns:a16="http://schemas.microsoft.com/office/drawing/2014/main" id="{4E0B29E1-337D-7D22-A12D-3E7F530D7494}"/>
                </a:ext>
              </a:extLst>
            </p:cNvPr>
            <p:cNvSpPr>
              <a:spLocks noEditPoints="1"/>
            </p:cNvSpPr>
            <p:nvPr/>
          </p:nvSpPr>
          <p:spPr bwMode="auto">
            <a:xfrm rot="21097436">
              <a:off x="9093251" y="892361"/>
              <a:ext cx="178166" cy="230426"/>
            </a:xfrm>
            <a:custGeom>
              <a:avLst/>
              <a:gdLst>
                <a:gd name="T0" fmla="*/ 483121 w 77"/>
                <a:gd name="T1" fmla="*/ 316355 h 91"/>
                <a:gd name="T2" fmla="*/ 476017 w 77"/>
                <a:gd name="T3" fmla="*/ 277617 h 91"/>
                <a:gd name="T4" fmla="*/ 476017 w 77"/>
                <a:gd name="T5" fmla="*/ 219511 h 91"/>
                <a:gd name="T6" fmla="*/ 461807 w 77"/>
                <a:gd name="T7" fmla="*/ 135581 h 91"/>
                <a:gd name="T8" fmla="*/ 390760 w 77"/>
                <a:gd name="T9" fmla="*/ 96843 h 91"/>
                <a:gd name="T10" fmla="*/ 390760 w 77"/>
                <a:gd name="T11" fmla="*/ 77475 h 91"/>
                <a:gd name="T12" fmla="*/ 291294 w 77"/>
                <a:gd name="T13" fmla="*/ 0 h 91"/>
                <a:gd name="T14" fmla="*/ 234456 w 77"/>
                <a:gd name="T15" fmla="*/ 51650 h 91"/>
                <a:gd name="T16" fmla="*/ 198932 w 77"/>
                <a:gd name="T17" fmla="*/ 45194 h 91"/>
                <a:gd name="T18" fmla="*/ 156304 w 77"/>
                <a:gd name="T19" fmla="*/ 122668 h 91"/>
                <a:gd name="T20" fmla="*/ 127885 w 77"/>
                <a:gd name="T21" fmla="*/ 122668 h 91"/>
                <a:gd name="T22" fmla="*/ 63943 w 77"/>
                <a:gd name="T23" fmla="*/ 193687 h 91"/>
                <a:gd name="T24" fmla="*/ 14209 w 77"/>
                <a:gd name="T25" fmla="*/ 206599 h 91"/>
                <a:gd name="T26" fmla="*/ 28419 w 77"/>
                <a:gd name="T27" fmla="*/ 284074 h 91"/>
                <a:gd name="T28" fmla="*/ 71047 w 77"/>
                <a:gd name="T29" fmla="*/ 296986 h 91"/>
                <a:gd name="T30" fmla="*/ 78152 w 77"/>
                <a:gd name="T31" fmla="*/ 348636 h 91"/>
                <a:gd name="T32" fmla="*/ 134990 w 77"/>
                <a:gd name="T33" fmla="*/ 361548 h 91"/>
                <a:gd name="T34" fmla="*/ 149199 w 77"/>
                <a:gd name="T35" fmla="*/ 368005 h 91"/>
                <a:gd name="T36" fmla="*/ 191828 w 77"/>
                <a:gd name="T37" fmla="*/ 393829 h 91"/>
                <a:gd name="T38" fmla="*/ 227351 w 77"/>
                <a:gd name="T39" fmla="*/ 393829 h 91"/>
                <a:gd name="T40" fmla="*/ 284189 w 77"/>
                <a:gd name="T41" fmla="*/ 406742 h 91"/>
                <a:gd name="T42" fmla="*/ 269980 w 77"/>
                <a:gd name="T43" fmla="*/ 426111 h 91"/>
                <a:gd name="T44" fmla="*/ 248665 w 77"/>
                <a:gd name="T45" fmla="*/ 432567 h 91"/>
                <a:gd name="T46" fmla="*/ 213142 w 77"/>
                <a:gd name="T47" fmla="*/ 426111 h 91"/>
                <a:gd name="T48" fmla="*/ 156304 w 77"/>
                <a:gd name="T49" fmla="*/ 439023 h 91"/>
                <a:gd name="T50" fmla="*/ 170513 w 77"/>
                <a:gd name="T51" fmla="*/ 503585 h 91"/>
                <a:gd name="T52" fmla="*/ 305503 w 77"/>
                <a:gd name="T53" fmla="*/ 587516 h 91"/>
                <a:gd name="T54" fmla="*/ 468912 w 77"/>
                <a:gd name="T55" fmla="*/ 548779 h 91"/>
                <a:gd name="T56" fmla="*/ 547064 w 77"/>
                <a:gd name="T57" fmla="*/ 342180 h 91"/>
                <a:gd name="T58" fmla="*/ 355236 w 77"/>
                <a:gd name="T59" fmla="*/ 419654 h 91"/>
                <a:gd name="T60" fmla="*/ 333922 w 77"/>
                <a:gd name="T61" fmla="*/ 393829 h 91"/>
                <a:gd name="T62" fmla="*/ 348132 w 77"/>
                <a:gd name="T63" fmla="*/ 393829 h 91"/>
                <a:gd name="T64" fmla="*/ 397865 w 77"/>
                <a:gd name="T65" fmla="*/ 419654 h 91"/>
                <a:gd name="T66" fmla="*/ 369446 w 77"/>
                <a:gd name="T67" fmla="*/ 432567 h 91"/>
                <a:gd name="T68" fmla="*/ 277084 w 77"/>
                <a:gd name="T69" fmla="*/ 309899 h 91"/>
                <a:gd name="T70" fmla="*/ 262875 w 77"/>
                <a:gd name="T71" fmla="*/ 322811 h 9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7" h="91">
                  <a:moveTo>
                    <a:pt x="73" y="51"/>
                  </a:moveTo>
                  <a:cubicBezTo>
                    <a:pt x="71" y="51"/>
                    <a:pt x="70" y="50"/>
                    <a:pt x="68" y="49"/>
                  </a:cubicBezTo>
                  <a:cubicBezTo>
                    <a:pt x="68" y="49"/>
                    <a:pt x="68" y="48"/>
                    <a:pt x="68" y="46"/>
                  </a:cubicBezTo>
                  <a:cubicBezTo>
                    <a:pt x="68" y="45"/>
                    <a:pt x="68" y="44"/>
                    <a:pt x="67" y="43"/>
                  </a:cubicBezTo>
                  <a:cubicBezTo>
                    <a:pt x="67" y="41"/>
                    <a:pt x="67" y="40"/>
                    <a:pt x="67" y="38"/>
                  </a:cubicBezTo>
                  <a:cubicBezTo>
                    <a:pt x="67" y="37"/>
                    <a:pt x="67" y="35"/>
                    <a:pt x="67" y="34"/>
                  </a:cubicBezTo>
                  <a:cubicBezTo>
                    <a:pt x="67" y="33"/>
                    <a:pt x="67" y="32"/>
                    <a:pt x="67" y="31"/>
                  </a:cubicBezTo>
                  <a:cubicBezTo>
                    <a:pt x="66" y="28"/>
                    <a:pt x="66" y="24"/>
                    <a:pt x="65" y="21"/>
                  </a:cubicBezTo>
                  <a:cubicBezTo>
                    <a:pt x="63" y="17"/>
                    <a:pt x="59" y="16"/>
                    <a:pt x="56" y="15"/>
                  </a:cubicBezTo>
                  <a:cubicBezTo>
                    <a:pt x="56" y="15"/>
                    <a:pt x="55" y="15"/>
                    <a:pt x="55" y="15"/>
                  </a:cubicBezTo>
                  <a:cubicBezTo>
                    <a:pt x="55" y="14"/>
                    <a:pt x="55" y="14"/>
                    <a:pt x="55" y="13"/>
                  </a:cubicBezTo>
                  <a:cubicBezTo>
                    <a:pt x="55" y="12"/>
                    <a:pt x="55" y="12"/>
                    <a:pt x="55" y="12"/>
                  </a:cubicBezTo>
                  <a:cubicBezTo>
                    <a:pt x="56" y="7"/>
                    <a:pt x="55" y="5"/>
                    <a:pt x="54" y="4"/>
                  </a:cubicBezTo>
                  <a:cubicBezTo>
                    <a:pt x="51" y="2"/>
                    <a:pt x="46" y="0"/>
                    <a:pt x="41" y="0"/>
                  </a:cubicBezTo>
                  <a:cubicBezTo>
                    <a:pt x="35" y="0"/>
                    <a:pt x="34" y="4"/>
                    <a:pt x="33" y="5"/>
                  </a:cubicBezTo>
                  <a:cubicBezTo>
                    <a:pt x="33" y="6"/>
                    <a:pt x="33" y="7"/>
                    <a:pt x="33" y="8"/>
                  </a:cubicBezTo>
                  <a:cubicBezTo>
                    <a:pt x="33" y="8"/>
                    <a:pt x="33" y="8"/>
                    <a:pt x="32" y="8"/>
                  </a:cubicBezTo>
                  <a:cubicBezTo>
                    <a:pt x="31" y="8"/>
                    <a:pt x="30" y="7"/>
                    <a:pt x="28" y="7"/>
                  </a:cubicBezTo>
                  <a:cubicBezTo>
                    <a:pt x="26" y="7"/>
                    <a:pt x="25" y="8"/>
                    <a:pt x="23" y="9"/>
                  </a:cubicBezTo>
                  <a:cubicBezTo>
                    <a:pt x="21" y="12"/>
                    <a:pt x="20" y="16"/>
                    <a:pt x="22" y="19"/>
                  </a:cubicBezTo>
                  <a:cubicBezTo>
                    <a:pt x="21" y="19"/>
                    <a:pt x="21" y="19"/>
                    <a:pt x="21" y="19"/>
                  </a:cubicBezTo>
                  <a:cubicBezTo>
                    <a:pt x="20" y="19"/>
                    <a:pt x="19" y="19"/>
                    <a:pt x="18" y="19"/>
                  </a:cubicBezTo>
                  <a:cubicBezTo>
                    <a:pt x="11" y="19"/>
                    <a:pt x="11" y="24"/>
                    <a:pt x="10" y="27"/>
                  </a:cubicBezTo>
                  <a:cubicBezTo>
                    <a:pt x="10" y="30"/>
                    <a:pt x="9" y="30"/>
                    <a:pt x="9" y="30"/>
                  </a:cubicBezTo>
                  <a:cubicBezTo>
                    <a:pt x="8" y="30"/>
                    <a:pt x="8" y="30"/>
                    <a:pt x="8" y="30"/>
                  </a:cubicBezTo>
                  <a:cubicBezTo>
                    <a:pt x="6" y="30"/>
                    <a:pt x="4" y="30"/>
                    <a:pt x="2" y="32"/>
                  </a:cubicBezTo>
                  <a:cubicBezTo>
                    <a:pt x="1" y="34"/>
                    <a:pt x="0" y="36"/>
                    <a:pt x="1" y="38"/>
                  </a:cubicBezTo>
                  <a:cubicBezTo>
                    <a:pt x="1" y="41"/>
                    <a:pt x="2" y="43"/>
                    <a:pt x="4" y="44"/>
                  </a:cubicBezTo>
                  <a:cubicBezTo>
                    <a:pt x="6" y="45"/>
                    <a:pt x="7" y="45"/>
                    <a:pt x="9" y="46"/>
                  </a:cubicBezTo>
                  <a:cubicBezTo>
                    <a:pt x="10" y="46"/>
                    <a:pt x="10" y="46"/>
                    <a:pt x="10" y="46"/>
                  </a:cubicBezTo>
                  <a:cubicBezTo>
                    <a:pt x="10" y="46"/>
                    <a:pt x="10" y="47"/>
                    <a:pt x="10" y="47"/>
                  </a:cubicBezTo>
                  <a:cubicBezTo>
                    <a:pt x="10" y="49"/>
                    <a:pt x="9" y="51"/>
                    <a:pt x="11" y="54"/>
                  </a:cubicBezTo>
                  <a:cubicBezTo>
                    <a:pt x="12" y="56"/>
                    <a:pt x="14" y="56"/>
                    <a:pt x="16" y="56"/>
                  </a:cubicBezTo>
                  <a:cubicBezTo>
                    <a:pt x="17" y="56"/>
                    <a:pt x="18" y="56"/>
                    <a:pt x="19" y="56"/>
                  </a:cubicBezTo>
                  <a:cubicBezTo>
                    <a:pt x="19" y="56"/>
                    <a:pt x="20" y="56"/>
                    <a:pt x="20" y="56"/>
                  </a:cubicBezTo>
                  <a:cubicBezTo>
                    <a:pt x="20" y="56"/>
                    <a:pt x="21" y="57"/>
                    <a:pt x="21" y="57"/>
                  </a:cubicBezTo>
                  <a:cubicBezTo>
                    <a:pt x="22" y="58"/>
                    <a:pt x="23" y="60"/>
                    <a:pt x="26" y="61"/>
                  </a:cubicBezTo>
                  <a:cubicBezTo>
                    <a:pt x="27" y="61"/>
                    <a:pt x="27" y="61"/>
                    <a:pt x="27" y="61"/>
                  </a:cubicBezTo>
                  <a:cubicBezTo>
                    <a:pt x="29" y="61"/>
                    <a:pt x="31" y="60"/>
                    <a:pt x="32" y="59"/>
                  </a:cubicBezTo>
                  <a:cubicBezTo>
                    <a:pt x="32" y="61"/>
                    <a:pt x="32" y="61"/>
                    <a:pt x="32" y="61"/>
                  </a:cubicBezTo>
                  <a:cubicBezTo>
                    <a:pt x="34" y="62"/>
                    <a:pt x="34" y="62"/>
                    <a:pt x="34" y="62"/>
                  </a:cubicBezTo>
                  <a:cubicBezTo>
                    <a:pt x="36" y="63"/>
                    <a:pt x="38" y="63"/>
                    <a:pt x="40" y="63"/>
                  </a:cubicBezTo>
                  <a:cubicBezTo>
                    <a:pt x="40" y="63"/>
                    <a:pt x="40" y="63"/>
                    <a:pt x="40" y="63"/>
                  </a:cubicBezTo>
                  <a:cubicBezTo>
                    <a:pt x="39" y="64"/>
                    <a:pt x="39" y="65"/>
                    <a:pt x="38" y="66"/>
                  </a:cubicBezTo>
                  <a:cubicBezTo>
                    <a:pt x="38" y="66"/>
                    <a:pt x="38" y="66"/>
                    <a:pt x="37" y="66"/>
                  </a:cubicBezTo>
                  <a:cubicBezTo>
                    <a:pt x="36" y="67"/>
                    <a:pt x="36" y="67"/>
                    <a:pt x="35" y="67"/>
                  </a:cubicBezTo>
                  <a:cubicBezTo>
                    <a:pt x="34" y="67"/>
                    <a:pt x="32" y="67"/>
                    <a:pt x="31" y="66"/>
                  </a:cubicBezTo>
                  <a:cubicBezTo>
                    <a:pt x="31" y="66"/>
                    <a:pt x="30" y="66"/>
                    <a:pt x="30" y="66"/>
                  </a:cubicBezTo>
                  <a:cubicBezTo>
                    <a:pt x="29" y="66"/>
                    <a:pt x="28" y="65"/>
                    <a:pt x="27" y="65"/>
                  </a:cubicBezTo>
                  <a:cubicBezTo>
                    <a:pt x="25" y="65"/>
                    <a:pt x="23" y="66"/>
                    <a:pt x="22" y="68"/>
                  </a:cubicBezTo>
                  <a:cubicBezTo>
                    <a:pt x="20" y="71"/>
                    <a:pt x="22" y="75"/>
                    <a:pt x="23" y="77"/>
                  </a:cubicBezTo>
                  <a:cubicBezTo>
                    <a:pt x="23" y="78"/>
                    <a:pt x="24" y="78"/>
                    <a:pt x="24" y="78"/>
                  </a:cubicBezTo>
                  <a:cubicBezTo>
                    <a:pt x="28" y="90"/>
                    <a:pt x="36" y="91"/>
                    <a:pt x="43" y="91"/>
                  </a:cubicBezTo>
                  <a:cubicBezTo>
                    <a:pt x="43" y="91"/>
                    <a:pt x="43" y="91"/>
                    <a:pt x="43" y="91"/>
                  </a:cubicBezTo>
                  <a:cubicBezTo>
                    <a:pt x="46" y="91"/>
                    <a:pt x="49" y="91"/>
                    <a:pt x="53" y="90"/>
                  </a:cubicBezTo>
                  <a:cubicBezTo>
                    <a:pt x="57" y="90"/>
                    <a:pt x="61" y="88"/>
                    <a:pt x="66" y="85"/>
                  </a:cubicBezTo>
                  <a:cubicBezTo>
                    <a:pt x="67" y="84"/>
                    <a:pt x="67" y="84"/>
                    <a:pt x="67" y="84"/>
                  </a:cubicBezTo>
                  <a:cubicBezTo>
                    <a:pt x="77" y="53"/>
                    <a:pt x="77" y="53"/>
                    <a:pt x="77" y="53"/>
                  </a:cubicBezTo>
                  <a:lnTo>
                    <a:pt x="73" y="51"/>
                  </a:lnTo>
                  <a:close/>
                  <a:moveTo>
                    <a:pt x="50" y="65"/>
                  </a:moveTo>
                  <a:cubicBezTo>
                    <a:pt x="49" y="64"/>
                    <a:pt x="48" y="62"/>
                    <a:pt x="46" y="62"/>
                  </a:cubicBezTo>
                  <a:cubicBezTo>
                    <a:pt x="46" y="62"/>
                    <a:pt x="47" y="61"/>
                    <a:pt x="47" y="61"/>
                  </a:cubicBezTo>
                  <a:cubicBezTo>
                    <a:pt x="47" y="61"/>
                    <a:pt x="48" y="60"/>
                    <a:pt x="48" y="60"/>
                  </a:cubicBezTo>
                  <a:cubicBezTo>
                    <a:pt x="49" y="61"/>
                    <a:pt x="49" y="61"/>
                    <a:pt x="49" y="61"/>
                  </a:cubicBezTo>
                  <a:cubicBezTo>
                    <a:pt x="50" y="63"/>
                    <a:pt x="51" y="64"/>
                    <a:pt x="54" y="64"/>
                  </a:cubicBezTo>
                  <a:cubicBezTo>
                    <a:pt x="55" y="64"/>
                    <a:pt x="56" y="64"/>
                    <a:pt x="56" y="65"/>
                  </a:cubicBezTo>
                  <a:cubicBezTo>
                    <a:pt x="57" y="65"/>
                    <a:pt x="57" y="65"/>
                    <a:pt x="58" y="65"/>
                  </a:cubicBezTo>
                  <a:cubicBezTo>
                    <a:pt x="56" y="66"/>
                    <a:pt x="54" y="67"/>
                    <a:pt x="52" y="67"/>
                  </a:cubicBezTo>
                  <a:cubicBezTo>
                    <a:pt x="52" y="67"/>
                    <a:pt x="50" y="66"/>
                    <a:pt x="50" y="65"/>
                  </a:cubicBezTo>
                  <a:close/>
                  <a:moveTo>
                    <a:pt x="39" y="48"/>
                  </a:moveTo>
                  <a:cubicBezTo>
                    <a:pt x="39" y="49"/>
                    <a:pt x="39" y="49"/>
                    <a:pt x="38" y="49"/>
                  </a:cubicBezTo>
                  <a:cubicBezTo>
                    <a:pt x="38" y="49"/>
                    <a:pt x="37" y="50"/>
                    <a:pt x="37" y="50"/>
                  </a:cubicBezTo>
                  <a:cubicBezTo>
                    <a:pt x="37" y="49"/>
                    <a:pt x="38" y="49"/>
                    <a:pt x="39" y="48"/>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7" name="Freeform 86">
              <a:extLst>
                <a:ext uri="{FF2B5EF4-FFF2-40B4-BE49-F238E27FC236}">
                  <a16:creationId xmlns:a16="http://schemas.microsoft.com/office/drawing/2014/main" id="{1FD9B110-B68E-8B60-DEC9-C7339026E5A0}"/>
                </a:ext>
              </a:extLst>
            </p:cNvPr>
            <p:cNvSpPr>
              <a:spLocks/>
            </p:cNvSpPr>
            <p:nvPr/>
          </p:nvSpPr>
          <p:spPr bwMode="auto">
            <a:xfrm rot="21097436">
              <a:off x="9186586" y="854573"/>
              <a:ext cx="41717" cy="35231"/>
            </a:xfrm>
            <a:custGeom>
              <a:avLst/>
              <a:gdLst>
                <a:gd name="T0" fmla="*/ 120977 w 18"/>
                <a:gd name="T1" fmla="*/ 38497 h 14"/>
                <a:gd name="T2" fmla="*/ 49814 w 18"/>
                <a:gd name="T3" fmla="*/ 0 h 14"/>
                <a:gd name="T4" fmla="*/ 42698 w 18"/>
                <a:gd name="T5" fmla="*/ 0 h 14"/>
                <a:gd name="T6" fmla="*/ 7116 w 18"/>
                <a:gd name="T7" fmla="*/ 19249 h 14"/>
                <a:gd name="T8" fmla="*/ 14233 w 18"/>
                <a:gd name="T9" fmla="*/ 51330 h 14"/>
                <a:gd name="T10" fmla="*/ 71163 w 18"/>
                <a:gd name="T11" fmla="*/ 89827 h 14"/>
                <a:gd name="T12" fmla="*/ 78279 w 18"/>
                <a:gd name="T13" fmla="*/ 89827 h 14"/>
                <a:gd name="T14" fmla="*/ 120977 w 18"/>
                <a:gd name="T15" fmla="*/ 70578 h 14"/>
                <a:gd name="T16" fmla="*/ 120977 w 18"/>
                <a:gd name="T17" fmla="*/ 3849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14">
                  <a:moveTo>
                    <a:pt x="17" y="6"/>
                  </a:moveTo>
                  <a:cubicBezTo>
                    <a:pt x="15" y="3"/>
                    <a:pt x="9" y="1"/>
                    <a:pt x="7" y="0"/>
                  </a:cubicBezTo>
                  <a:cubicBezTo>
                    <a:pt x="6" y="0"/>
                    <a:pt x="6" y="0"/>
                    <a:pt x="6" y="0"/>
                  </a:cubicBezTo>
                  <a:cubicBezTo>
                    <a:pt x="3" y="0"/>
                    <a:pt x="2" y="2"/>
                    <a:pt x="1" y="3"/>
                  </a:cubicBezTo>
                  <a:cubicBezTo>
                    <a:pt x="1" y="4"/>
                    <a:pt x="0" y="6"/>
                    <a:pt x="2" y="8"/>
                  </a:cubicBezTo>
                  <a:cubicBezTo>
                    <a:pt x="3" y="11"/>
                    <a:pt x="7" y="14"/>
                    <a:pt x="10" y="14"/>
                  </a:cubicBezTo>
                  <a:cubicBezTo>
                    <a:pt x="11" y="14"/>
                    <a:pt x="11" y="14"/>
                    <a:pt x="11" y="14"/>
                  </a:cubicBezTo>
                  <a:cubicBezTo>
                    <a:pt x="13" y="14"/>
                    <a:pt x="16" y="13"/>
                    <a:pt x="17" y="11"/>
                  </a:cubicBezTo>
                  <a:cubicBezTo>
                    <a:pt x="18" y="9"/>
                    <a:pt x="18" y="7"/>
                    <a:pt x="17" y="6"/>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8" name="Freeform 90">
              <a:extLst>
                <a:ext uri="{FF2B5EF4-FFF2-40B4-BE49-F238E27FC236}">
                  <a16:creationId xmlns:a16="http://schemas.microsoft.com/office/drawing/2014/main" id="{0A2270D2-B58F-C701-B363-F3DFCB990E44}"/>
                </a:ext>
              </a:extLst>
            </p:cNvPr>
            <p:cNvSpPr>
              <a:spLocks/>
            </p:cNvSpPr>
            <p:nvPr/>
          </p:nvSpPr>
          <p:spPr bwMode="auto">
            <a:xfrm rot="21097436">
              <a:off x="9378128" y="1041154"/>
              <a:ext cx="46932" cy="50465"/>
            </a:xfrm>
            <a:custGeom>
              <a:avLst/>
              <a:gdLst>
                <a:gd name="T0" fmla="*/ 136900 w 20"/>
                <a:gd name="T1" fmla="*/ 25734 h 20"/>
                <a:gd name="T2" fmla="*/ 86463 w 20"/>
                <a:gd name="T3" fmla="*/ 0 h 20"/>
                <a:gd name="T4" fmla="*/ 7205 w 20"/>
                <a:gd name="T5" fmla="*/ 64336 h 20"/>
                <a:gd name="T6" fmla="*/ 57642 w 20"/>
                <a:gd name="T7" fmla="*/ 128671 h 20"/>
                <a:gd name="T8" fmla="*/ 79258 w 20"/>
                <a:gd name="T9" fmla="*/ 128671 h 20"/>
                <a:gd name="T10" fmla="*/ 79258 w 20"/>
                <a:gd name="T11" fmla="*/ 128671 h 20"/>
                <a:gd name="T12" fmla="*/ 129695 w 20"/>
                <a:gd name="T13" fmla="*/ 102937 h 20"/>
                <a:gd name="T14" fmla="*/ 136900 w 20"/>
                <a:gd name="T15" fmla="*/ 25734 h 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20">
                  <a:moveTo>
                    <a:pt x="19" y="4"/>
                  </a:moveTo>
                  <a:cubicBezTo>
                    <a:pt x="17" y="0"/>
                    <a:pt x="14" y="0"/>
                    <a:pt x="12" y="0"/>
                  </a:cubicBezTo>
                  <a:cubicBezTo>
                    <a:pt x="7" y="0"/>
                    <a:pt x="2" y="6"/>
                    <a:pt x="1" y="10"/>
                  </a:cubicBezTo>
                  <a:cubicBezTo>
                    <a:pt x="0" y="15"/>
                    <a:pt x="2" y="18"/>
                    <a:pt x="8" y="20"/>
                  </a:cubicBezTo>
                  <a:cubicBezTo>
                    <a:pt x="9" y="20"/>
                    <a:pt x="10" y="20"/>
                    <a:pt x="11" y="20"/>
                  </a:cubicBezTo>
                  <a:cubicBezTo>
                    <a:pt x="11" y="20"/>
                    <a:pt x="11" y="20"/>
                    <a:pt x="11" y="20"/>
                  </a:cubicBezTo>
                  <a:cubicBezTo>
                    <a:pt x="14" y="20"/>
                    <a:pt x="16" y="19"/>
                    <a:pt x="18" y="16"/>
                  </a:cubicBezTo>
                  <a:cubicBezTo>
                    <a:pt x="20" y="13"/>
                    <a:pt x="20" y="8"/>
                    <a:pt x="19" y="4"/>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29" name="Freeform 92">
              <a:extLst>
                <a:ext uri="{FF2B5EF4-FFF2-40B4-BE49-F238E27FC236}">
                  <a16:creationId xmlns:a16="http://schemas.microsoft.com/office/drawing/2014/main" id="{579EE5A2-F0F9-9AAE-DEAC-9D030492173F}"/>
                </a:ext>
              </a:extLst>
            </p:cNvPr>
            <p:cNvSpPr>
              <a:spLocks noEditPoints="1"/>
            </p:cNvSpPr>
            <p:nvPr/>
          </p:nvSpPr>
          <p:spPr bwMode="auto">
            <a:xfrm rot="21097436">
              <a:off x="9403467" y="902530"/>
              <a:ext cx="163392" cy="199957"/>
            </a:xfrm>
            <a:custGeom>
              <a:avLst/>
              <a:gdLst>
                <a:gd name="T0" fmla="*/ 487566 w 71"/>
                <a:gd name="T1" fmla="*/ 148431 h 79"/>
                <a:gd name="T2" fmla="*/ 423970 w 71"/>
                <a:gd name="T3" fmla="*/ 70989 h 79"/>
                <a:gd name="T4" fmla="*/ 381573 w 71"/>
                <a:gd name="T5" fmla="*/ 77442 h 79"/>
                <a:gd name="T6" fmla="*/ 325044 w 71"/>
                <a:gd name="T7" fmla="*/ 58082 h 79"/>
                <a:gd name="T8" fmla="*/ 289713 w 71"/>
                <a:gd name="T9" fmla="*/ 19361 h 79"/>
                <a:gd name="T10" fmla="*/ 247316 w 71"/>
                <a:gd name="T11" fmla="*/ 32268 h 79"/>
                <a:gd name="T12" fmla="*/ 240250 w 71"/>
                <a:gd name="T13" fmla="*/ 38721 h 79"/>
                <a:gd name="T14" fmla="*/ 219051 w 71"/>
                <a:gd name="T15" fmla="*/ 83896 h 79"/>
                <a:gd name="T16" fmla="*/ 204919 w 71"/>
                <a:gd name="T17" fmla="*/ 83896 h 79"/>
                <a:gd name="T18" fmla="*/ 162522 w 71"/>
                <a:gd name="T19" fmla="*/ 135524 h 79"/>
                <a:gd name="T20" fmla="*/ 134257 w 71"/>
                <a:gd name="T21" fmla="*/ 109710 h 79"/>
                <a:gd name="T22" fmla="*/ 134257 w 71"/>
                <a:gd name="T23" fmla="*/ 58082 h 79"/>
                <a:gd name="T24" fmla="*/ 105993 w 71"/>
                <a:gd name="T25" fmla="*/ 32268 h 79"/>
                <a:gd name="T26" fmla="*/ 77728 w 71"/>
                <a:gd name="T27" fmla="*/ 6454 h 79"/>
                <a:gd name="T28" fmla="*/ 14132 w 71"/>
                <a:gd name="T29" fmla="*/ 19361 h 79"/>
                <a:gd name="T30" fmla="*/ 14132 w 71"/>
                <a:gd name="T31" fmla="*/ 70989 h 79"/>
                <a:gd name="T32" fmla="*/ 14132 w 71"/>
                <a:gd name="T33" fmla="*/ 103256 h 79"/>
                <a:gd name="T34" fmla="*/ 14132 w 71"/>
                <a:gd name="T35" fmla="*/ 148431 h 79"/>
                <a:gd name="T36" fmla="*/ 42397 w 71"/>
                <a:gd name="T37" fmla="*/ 200059 h 79"/>
                <a:gd name="T38" fmla="*/ 70662 w 71"/>
                <a:gd name="T39" fmla="*/ 258141 h 79"/>
                <a:gd name="T40" fmla="*/ 77728 w 71"/>
                <a:gd name="T41" fmla="*/ 264594 h 79"/>
                <a:gd name="T42" fmla="*/ 91860 w 71"/>
                <a:gd name="T43" fmla="*/ 303315 h 79"/>
                <a:gd name="T44" fmla="*/ 134257 w 71"/>
                <a:gd name="T45" fmla="*/ 335583 h 79"/>
                <a:gd name="T46" fmla="*/ 183720 w 71"/>
                <a:gd name="T47" fmla="*/ 329129 h 79"/>
                <a:gd name="T48" fmla="*/ 233184 w 71"/>
                <a:gd name="T49" fmla="*/ 335583 h 79"/>
                <a:gd name="T50" fmla="*/ 275581 w 71"/>
                <a:gd name="T51" fmla="*/ 329129 h 79"/>
                <a:gd name="T52" fmla="*/ 282647 w 71"/>
                <a:gd name="T53" fmla="*/ 329129 h 79"/>
                <a:gd name="T54" fmla="*/ 219051 w 71"/>
                <a:gd name="T55" fmla="*/ 374304 h 79"/>
                <a:gd name="T56" fmla="*/ 219051 w 71"/>
                <a:gd name="T57" fmla="*/ 419479 h 79"/>
                <a:gd name="T58" fmla="*/ 219051 w 71"/>
                <a:gd name="T59" fmla="*/ 458200 h 79"/>
                <a:gd name="T60" fmla="*/ 261448 w 71"/>
                <a:gd name="T61" fmla="*/ 503374 h 79"/>
                <a:gd name="T62" fmla="*/ 289713 w 71"/>
                <a:gd name="T63" fmla="*/ 496921 h 79"/>
                <a:gd name="T64" fmla="*/ 296779 w 71"/>
                <a:gd name="T65" fmla="*/ 496921 h 79"/>
                <a:gd name="T66" fmla="*/ 332110 w 71"/>
                <a:gd name="T67" fmla="*/ 509828 h 79"/>
                <a:gd name="T68" fmla="*/ 374507 w 71"/>
                <a:gd name="T69" fmla="*/ 509828 h 79"/>
                <a:gd name="T70" fmla="*/ 409838 w 71"/>
                <a:gd name="T71" fmla="*/ 503374 h 79"/>
                <a:gd name="T72" fmla="*/ 438102 w 71"/>
                <a:gd name="T73" fmla="*/ 432386 h 79"/>
                <a:gd name="T74" fmla="*/ 445169 w 71"/>
                <a:gd name="T75" fmla="*/ 400118 h 79"/>
                <a:gd name="T76" fmla="*/ 473433 w 71"/>
                <a:gd name="T77" fmla="*/ 329129 h 79"/>
                <a:gd name="T78" fmla="*/ 466367 w 71"/>
                <a:gd name="T79" fmla="*/ 296862 h 79"/>
                <a:gd name="T80" fmla="*/ 487566 w 71"/>
                <a:gd name="T81" fmla="*/ 251687 h 79"/>
                <a:gd name="T82" fmla="*/ 162522 w 71"/>
                <a:gd name="T83" fmla="*/ 161338 h 79"/>
                <a:gd name="T84" fmla="*/ 162522 w 71"/>
                <a:gd name="T85" fmla="*/ 167791 h 79"/>
                <a:gd name="T86" fmla="*/ 162522 w 71"/>
                <a:gd name="T87" fmla="*/ 161338 h 79"/>
                <a:gd name="T88" fmla="*/ 247316 w 71"/>
                <a:gd name="T89" fmla="*/ 103256 h 79"/>
                <a:gd name="T90" fmla="*/ 247316 w 71"/>
                <a:gd name="T91" fmla="*/ 103256 h 79"/>
                <a:gd name="T92" fmla="*/ 282647 w 71"/>
                <a:gd name="T93" fmla="*/ 180699 h 79"/>
                <a:gd name="T94" fmla="*/ 261448 w 71"/>
                <a:gd name="T95" fmla="*/ 141977 h 79"/>
                <a:gd name="T96" fmla="*/ 254382 w 71"/>
                <a:gd name="T97" fmla="*/ 116163 h 79"/>
                <a:gd name="T98" fmla="*/ 282647 w 71"/>
                <a:gd name="T99" fmla="*/ 141977 h 79"/>
                <a:gd name="T100" fmla="*/ 303845 w 71"/>
                <a:gd name="T101" fmla="*/ 193606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1" h="79">
                  <a:moveTo>
                    <a:pt x="69" y="26"/>
                  </a:moveTo>
                  <a:cubicBezTo>
                    <a:pt x="69" y="25"/>
                    <a:pt x="69" y="24"/>
                    <a:pt x="69" y="23"/>
                  </a:cubicBezTo>
                  <a:cubicBezTo>
                    <a:pt x="68" y="20"/>
                    <a:pt x="68" y="18"/>
                    <a:pt x="67" y="16"/>
                  </a:cubicBezTo>
                  <a:cubicBezTo>
                    <a:pt x="66" y="13"/>
                    <a:pt x="63" y="11"/>
                    <a:pt x="60" y="11"/>
                  </a:cubicBezTo>
                  <a:cubicBezTo>
                    <a:pt x="58" y="11"/>
                    <a:pt x="57" y="11"/>
                    <a:pt x="55" y="12"/>
                  </a:cubicBezTo>
                  <a:cubicBezTo>
                    <a:pt x="55" y="12"/>
                    <a:pt x="54" y="12"/>
                    <a:pt x="54" y="12"/>
                  </a:cubicBezTo>
                  <a:cubicBezTo>
                    <a:pt x="52" y="10"/>
                    <a:pt x="51" y="9"/>
                    <a:pt x="47" y="8"/>
                  </a:cubicBezTo>
                  <a:cubicBezTo>
                    <a:pt x="47" y="8"/>
                    <a:pt x="47" y="9"/>
                    <a:pt x="46" y="9"/>
                  </a:cubicBezTo>
                  <a:cubicBezTo>
                    <a:pt x="47" y="7"/>
                    <a:pt x="46" y="6"/>
                    <a:pt x="46" y="5"/>
                  </a:cubicBezTo>
                  <a:cubicBezTo>
                    <a:pt x="45" y="3"/>
                    <a:pt x="43" y="3"/>
                    <a:pt x="41" y="3"/>
                  </a:cubicBezTo>
                  <a:cubicBezTo>
                    <a:pt x="39" y="3"/>
                    <a:pt x="38" y="3"/>
                    <a:pt x="36" y="4"/>
                  </a:cubicBezTo>
                  <a:cubicBezTo>
                    <a:pt x="36" y="4"/>
                    <a:pt x="36" y="5"/>
                    <a:pt x="35" y="5"/>
                  </a:cubicBezTo>
                  <a:cubicBezTo>
                    <a:pt x="35" y="5"/>
                    <a:pt x="35" y="5"/>
                    <a:pt x="35" y="6"/>
                  </a:cubicBezTo>
                  <a:cubicBezTo>
                    <a:pt x="34" y="6"/>
                    <a:pt x="34" y="6"/>
                    <a:pt x="34" y="6"/>
                  </a:cubicBezTo>
                  <a:cubicBezTo>
                    <a:pt x="33" y="6"/>
                    <a:pt x="32" y="7"/>
                    <a:pt x="31" y="8"/>
                  </a:cubicBezTo>
                  <a:cubicBezTo>
                    <a:pt x="30" y="9"/>
                    <a:pt x="30" y="11"/>
                    <a:pt x="31" y="13"/>
                  </a:cubicBezTo>
                  <a:cubicBezTo>
                    <a:pt x="31" y="13"/>
                    <a:pt x="31" y="13"/>
                    <a:pt x="31" y="13"/>
                  </a:cubicBezTo>
                  <a:cubicBezTo>
                    <a:pt x="31" y="13"/>
                    <a:pt x="30" y="13"/>
                    <a:pt x="29" y="13"/>
                  </a:cubicBezTo>
                  <a:cubicBezTo>
                    <a:pt x="28" y="13"/>
                    <a:pt x="26" y="14"/>
                    <a:pt x="25" y="15"/>
                  </a:cubicBezTo>
                  <a:cubicBezTo>
                    <a:pt x="24" y="16"/>
                    <a:pt x="23" y="19"/>
                    <a:pt x="23" y="21"/>
                  </a:cubicBezTo>
                  <a:cubicBezTo>
                    <a:pt x="23" y="20"/>
                    <a:pt x="23" y="19"/>
                    <a:pt x="22" y="19"/>
                  </a:cubicBezTo>
                  <a:cubicBezTo>
                    <a:pt x="22" y="18"/>
                    <a:pt x="20" y="17"/>
                    <a:pt x="19" y="17"/>
                  </a:cubicBezTo>
                  <a:cubicBezTo>
                    <a:pt x="19" y="17"/>
                    <a:pt x="19" y="16"/>
                    <a:pt x="20" y="16"/>
                  </a:cubicBezTo>
                  <a:cubicBezTo>
                    <a:pt x="20" y="14"/>
                    <a:pt x="20" y="11"/>
                    <a:pt x="19" y="9"/>
                  </a:cubicBezTo>
                  <a:cubicBezTo>
                    <a:pt x="18" y="8"/>
                    <a:pt x="17" y="7"/>
                    <a:pt x="16" y="7"/>
                  </a:cubicBezTo>
                  <a:cubicBezTo>
                    <a:pt x="16" y="6"/>
                    <a:pt x="16" y="6"/>
                    <a:pt x="15" y="5"/>
                  </a:cubicBezTo>
                  <a:cubicBezTo>
                    <a:pt x="15" y="5"/>
                    <a:pt x="15" y="5"/>
                    <a:pt x="15" y="5"/>
                  </a:cubicBezTo>
                  <a:cubicBezTo>
                    <a:pt x="14" y="3"/>
                    <a:pt x="13" y="2"/>
                    <a:pt x="11" y="1"/>
                  </a:cubicBezTo>
                  <a:cubicBezTo>
                    <a:pt x="10" y="1"/>
                    <a:pt x="9" y="0"/>
                    <a:pt x="8" y="0"/>
                  </a:cubicBezTo>
                  <a:cubicBezTo>
                    <a:pt x="5" y="0"/>
                    <a:pt x="3" y="1"/>
                    <a:pt x="2" y="3"/>
                  </a:cubicBezTo>
                  <a:cubicBezTo>
                    <a:pt x="0" y="5"/>
                    <a:pt x="0" y="8"/>
                    <a:pt x="1" y="10"/>
                  </a:cubicBezTo>
                  <a:cubicBezTo>
                    <a:pt x="1" y="11"/>
                    <a:pt x="2" y="11"/>
                    <a:pt x="2" y="11"/>
                  </a:cubicBezTo>
                  <a:cubicBezTo>
                    <a:pt x="2" y="12"/>
                    <a:pt x="2" y="12"/>
                    <a:pt x="2" y="12"/>
                  </a:cubicBezTo>
                  <a:cubicBezTo>
                    <a:pt x="2" y="13"/>
                    <a:pt x="2" y="15"/>
                    <a:pt x="2" y="16"/>
                  </a:cubicBezTo>
                  <a:cubicBezTo>
                    <a:pt x="3" y="17"/>
                    <a:pt x="4" y="18"/>
                    <a:pt x="5" y="19"/>
                  </a:cubicBezTo>
                  <a:cubicBezTo>
                    <a:pt x="3" y="20"/>
                    <a:pt x="2" y="22"/>
                    <a:pt x="2" y="23"/>
                  </a:cubicBezTo>
                  <a:cubicBezTo>
                    <a:pt x="1" y="26"/>
                    <a:pt x="2" y="28"/>
                    <a:pt x="3" y="29"/>
                  </a:cubicBezTo>
                  <a:cubicBezTo>
                    <a:pt x="4" y="30"/>
                    <a:pt x="5" y="31"/>
                    <a:pt x="6" y="31"/>
                  </a:cubicBezTo>
                  <a:cubicBezTo>
                    <a:pt x="6" y="32"/>
                    <a:pt x="5" y="33"/>
                    <a:pt x="6" y="35"/>
                  </a:cubicBezTo>
                  <a:cubicBezTo>
                    <a:pt x="6" y="37"/>
                    <a:pt x="8" y="39"/>
                    <a:pt x="10" y="40"/>
                  </a:cubicBezTo>
                  <a:cubicBezTo>
                    <a:pt x="11" y="40"/>
                    <a:pt x="11" y="40"/>
                    <a:pt x="11" y="40"/>
                  </a:cubicBezTo>
                  <a:cubicBezTo>
                    <a:pt x="11" y="40"/>
                    <a:pt x="11" y="41"/>
                    <a:pt x="11" y="41"/>
                  </a:cubicBezTo>
                  <a:cubicBezTo>
                    <a:pt x="12" y="42"/>
                    <a:pt x="13" y="42"/>
                    <a:pt x="14" y="43"/>
                  </a:cubicBezTo>
                  <a:cubicBezTo>
                    <a:pt x="13" y="44"/>
                    <a:pt x="13" y="45"/>
                    <a:pt x="13" y="47"/>
                  </a:cubicBezTo>
                  <a:cubicBezTo>
                    <a:pt x="14" y="48"/>
                    <a:pt x="15" y="51"/>
                    <a:pt x="18" y="52"/>
                  </a:cubicBezTo>
                  <a:cubicBezTo>
                    <a:pt x="18" y="52"/>
                    <a:pt x="19" y="52"/>
                    <a:pt x="19" y="52"/>
                  </a:cubicBezTo>
                  <a:cubicBezTo>
                    <a:pt x="20" y="52"/>
                    <a:pt x="22" y="52"/>
                    <a:pt x="23" y="52"/>
                  </a:cubicBezTo>
                  <a:cubicBezTo>
                    <a:pt x="24" y="51"/>
                    <a:pt x="25" y="51"/>
                    <a:pt x="26" y="51"/>
                  </a:cubicBezTo>
                  <a:cubicBezTo>
                    <a:pt x="27" y="51"/>
                    <a:pt x="28" y="51"/>
                    <a:pt x="29" y="52"/>
                  </a:cubicBezTo>
                  <a:cubicBezTo>
                    <a:pt x="30" y="52"/>
                    <a:pt x="31" y="52"/>
                    <a:pt x="33" y="52"/>
                  </a:cubicBezTo>
                  <a:cubicBezTo>
                    <a:pt x="34" y="52"/>
                    <a:pt x="35" y="51"/>
                    <a:pt x="37" y="51"/>
                  </a:cubicBezTo>
                  <a:cubicBezTo>
                    <a:pt x="38" y="51"/>
                    <a:pt x="38" y="51"/>
                    <a:pt x="39" y="51"/>
                  </a:cubicBezTo>
                  <a:cubicBezTo>
                    <a:pt x="39" y="51"/>
                    <a:pt x="39" y="51"/>
                    <a:pt x="39" y="51"/>
                  </a:cubicBezTo>
                  <a:cubicBezTo>
                    <a:pt x="40" y="51"/>
                    <a:pt x="40" y="51"/>
                    <a:pt x="40" y="51"/>
                  </a:cubicBezTo>
                  <a:cubicBezTo>
                    <a:pt x="40" y="52"/>
                    <a:pt x="38" y="52"/>
                    <a:pt x="37" y="53"/>
                  </a:cubicBezTo>
                  <a:cubicBezTo>
                    <a:pt x="35" y="54"/>
                    <a:pt x="33" y="55"/>
                    <a:pt x="31" y="58"/>
                  </a:cubicBezTo>
                  <a:cubicBezTo>
                    <a:pt x="30" y="60"/>
                    <a:pt x="31" y="62"/>
                    <a:pt x="31" y="63"/>
                  </a:cubicBezTo>
                  <a:cubicBezTo>
                    <a:pt x="31" y="64"/>
                    <a:pt x="31" y="64"/>
                    <a:pt x="31" y="65"/>
                  </a:cubicBezTo>
                  <a:cubicBezTo>
                    <a:pt x="31" y="66"/>
                    <a:pt x="31" y="67"/>
                    <a:pt x="31" y="68"/>
                  </a:cubicBezTo>
                  <a:cubicBezTo>
                    <a:pt x="31" y="69"/>
                    <a:pt x="31" y="70"/>
                    <a:pt x="31" y="71"/>
                  </a:cubicBezTo>
                  <a:cubicBezTo>
                    <a:pt x="31" y="73"/>
                    <a:pt x="31" y="75"/>
                    <a:pt x="32" y="76"/>
                  </a:cubicBezTo>
                  <a:cubicBezTo>
                    <a:pt x="33" y="77"/>
                    <a:pt x="35" y="78"/>
                    <a:pt x="37" y="78"/>
                  </a:cubicBezTo>
                  <a:cubicBezTo>
                    <a:pt x="38" y="78"/>
                    <a:pt x="39" y="77"/>
                    <a:pt x="40" y="77"/>
                  </a:cubicBezTo>
                  <a:cubicBezTo>
                    <a:pt x="41" y="77"/>
                    <a:pt x="41" y="77"/>
                    <a:pt x="41" y="77"/>
                  </a:cubicBezTo>
                  <a:cubicBezTo>
                    <a:pt x="41" y="77"/>
                    <a:pt x="41" y="77"/>
                    <a:pt x="41" y="77"/>
                  </a:cubicBezTo>
                  <a:cubicBezTo>
                    <a:pt x="41" y="77"/>
                    <a:pt x="42" y="77"/>
                    <a:pt x="42" y="77"/>
                  </a:cubicBezTo>
                  <a:cubicBezTo>
                    <a:pt x="43" y="78"/>
                    <a:pt x="44" y="79"/>
                    <a:pt x="46" y="79"/>
                  </a:cubicBezTo>
                  <a:cubicBezTo>
                    <a:pt x="47" y="79"/>
                    <a:pt x="47" y="79"/>
                    <a:pt x="47" y="79"/>
                  </a:cubicBezTo>
                  <a:cubicBezTo>
                    <a:pt x="48" y="79"/>
                    <a:pt x="49" y="79"/>
                    <a:pt x="50" y="79"/>
                  </a:cubicBezTo>
                  <a:cubicBezTo>
                    <a:pt x="51" y="79"/>
                    <a:pt x="52" y="79"/>
                    <a:pt x="53" y="79"/>
                  </a:cubicBezTo>
                  <a:cubicBezTo>
                    <a:pt x="53" y="79"/>
                    <a:pt x="53" y="79"/>
                    <a:pt x="53" y="79"/>
                  </a:cubicBezTo>
                  <a:cubicBezTo>
                    <a:pt x="55" y="79"/>
                    <a:pt x="57" y="79"/>
                    <a:pt x="58" y="78"/>
                  </a:cubicBezTo>
                  <a:cubicBezTo>
                    <a:pt x="61" y="76"/>
                    <a:pt x="62" y="72"/>
                    <a:pt x="62" y="70"/>
                  </a:cubicBezTo>
                  <a:cubicBezTo>
                    <a:pt x="62" y="69"/>
                    <a:pt x="62" y="68"/>
                    <a:pt x="62" y="67"/>
                  </a:cubicBezTo>
                  <a:cubicBezTo>
                    <a:pt x="62" y="65"/>
                    <a:pt x="62" y="64"/>
                    <a:pt x="62" y="64"/>
                  </a:cubicBezTo>
                  <a:cubicBezTo>
                    <a:pt x="62" y="63"/>
                    <a:pt x="63" y="63"/>
                    <a:pt x="63" y="62"/>
                  </a:cubicBezTo>
                  <a:cubicBezTo>
                    <a:pt x="64" y="62"/>
                    <a:pt x="65" y="61"/>
                    <a:pt x="65" y="60"/>
                  </a:cubicBezTo>
                  <a:cubicBezTo>
                    <a:pt x="68" y="57"/>
                    <a:pt x="67" y="54"/>
                    <a:pt x="67" y="51"/>
                  </a:cubicBezTo>
                  <a:cubicBezTo>
                    <a:pt x="67" y="51"/>
                    <a:pt x="67" y="50"/>
                    <a:pt x="67" y="50"/>
                  </a:cubicBezTo>
                  <a:cubicBezTo>
                    <a:pt x="66" y="48"/>
                    <a:pt x="66" y="47"/>
                    <a:pt x="66" y="46"/>
                  </a:cubicBezTo>
                  <a:cubicBezTo>
                    <a:pt x="67" y="45"/>
                    <a:pt x="67" y="44"/>
                    <a:pt x="68" y="42"/>
                  </a:cubicBezTo>
                  <a:cubicBezTo>
                    <a:pt x="68" y="41"/>
                    <a:pt x="69" y="40"/>
                    <a:pt x="69" y="39"/>
                  </a:cubicBezTo>
                  <a:cubicBezTo>
                    <a:pt x="71" y="34"/>
                    <a:pt x="70" y="30"/>
                    <a:pt x="69" y="26"/>
                  </a:cubicBezTo>
                  <a:close/>
                  <a:moveTo>
                    <a:pt x="23" y="25"/>
                  </a:moveTo>
                  <a:cubicBezTo>
                    <a:pt x="23" y="26"/>
                    <a:pt x="23" y="26"/>
                    <a:pt x="23" y="27"/>
                  </a:cubicBezTo>
                  <a:cubicBezTo>
                    <a:pt x="23" y="27"/>
                    <a:pt x="23" y="26"/>
                    <a:pt x="23" y="26"/>
                  </a:cubicBezTo>
                  <a:cubicBezTo>
                    <a:pt x="23" y="26"/>
                    <a:pt x="23" y="25"/>
                    <a:pt x="23" y="25"/>
                  </a:cubicBezTo>
                  <a:cubicBezTo>
                    <a:pt x="23" y="25"/>
                    <a:pt x="23" y="25"/>
                    <a:pt x="23" y="25"/>
                  </a:cubicBezTo>
                  <a:close/>
                  <a:moveTo>
                    <a:pt x="35" y="16"/>
                  </a:moveTo>
                  <a:cubicBezTo>
                    <a:pt x="35" y="16"/>
                    <a:pt x="35" y="16"/>
                    <a:pt x="35" y="16"/>
                  </a:cubicBezTo>
                  <a:cubicBezTo>
                    <a:pt x="35" y="16"/>
                    <a:pt x="35" y="17"/>
                    <a:pt x="35" y="17"/>
                  </a:cubicBezTo>
                  <a:cubicBezTo>
                    <a:pt x="35" y="17"/>
                    <a:pt x="35" y="16"/>
                    <a:pt x="35" y="16"/>
                  </a:cubicBezTo>
                  <a:close/>
                  <a:moveTo>
                    <a:pt x="43" y="30"/>
                  </a:moveTo>
                  <a:cubicBezTo>
                    <a:pt x="42" y="29"/>
                    <a:pt x="41" y="29"/>
                    <a:pt x="40" y="28"/>
                  </a:cubicBezTo>
                  <a:cubicBezTo>
                    <a:pt x="40" y="27"/>
                    <a:pt x="40" y="27"/>
                    <a:pt x="39" y="26"/>
                  </a:cubicBezTo>
                  <a:cubicBezTo>
                    <a:pt x="38" y="25"/>
                    <a:pt x="37" y="23"/>
                    <a:pt x="37" y="22"/>
                  </a:cubicBezTo>
                  <a:cubicBezTo>
                    <a:pt x="36" y="21"/>
                    <a:pt x="36" y="21"/>
                    <a:pt x="36" y="20"/>
                  </a:cubicBezTo>
                  <a:cubicBezTo>
                    <a:pt x="36" y="20"/>
                    <a:pt x="36" y="19"/>
                    <a:pt x="36" y="18"/>
                  </a:cubicBezTo>
                  <a:cubicBezTo>
                    <a:pt x="36" y="19"/>
                    <a:pt x="36" y="19"/>
                    <a:pt x="36" y="20"/>
                  </a:cubicBezTo>
                  <a:cubicBezTo>
                    <a:pt x="37" y="21"/>
                    <a:pt x="39" y="22"/>
                    <a:pt x="40" y="22"/>
                  </a:cubicBezTo>
                  <a:cubicBezTo>
                    <a:pt x="40" y="23"/>
                    <a:pt x="40" y="23"/>
                    <a:pt x="40" y="23"/>
                  </a:cubicBezTo>
                  <a:cubicBezTo>
                    <a:pt x="43" y="23"/>
                    <a:pt x="43" y="27"/>
                    <a:pt x="43" y="30"/>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12121"/>
                </a:solidFill>
                <a:effectLst/>
                <a:uLnTx/>
                <a:uFillTx/>
                <a:latin typeface="Honeywell Sans"/>
                <a:ea typeface="+mn-ea"/>
                <a:cs typeface="+mn-cs"/>
              </a:endParaRPr>
            </a:p>
          </p:txBody>
        </p:sp>
        <p:sp>
          <p:nvSpPr>
            <p:cNvPr id="430" name="Shape 1437">
              <a:extLst>
                <a:ext uri="{FF2B5EF4-FFF2-40B4-BE49-F238E27FC236}">
                  <a16:creationId xmlns:a16="http://schemas.microsoft.com/office/drawing/2014/main" id="{07280C8F-13B5-83D1-ED3E-F8A9C0856804}"/>
                </a:ext>
              </a:extLst>
            </p:cNvPr>
            <p:cNvSpPr/>
            <p:nvPr/>
          </p:nvSpPr>
          <p:spPr>
            <a:xfrm>
              <a:off x="7129649" y="3254043"/>
              <a:ext cx="574856" cy="404368"/>
            </a:xfrm>
            <a:custGeom>
              <a:avLst/>
              <a:gdLst/>
              <a:ahLst/>
              <a:cxnLst/>
              <a:rect l="0" t="0" r="0" b="0"/>
              <a:pathLst>
                <a:path w="120000" h="120000" extrusionOk="0">
                  <a:moveTo>
                    <a:pt x="95419" y="71716"/>
                  </a:moveTo>
                  <a:cubicBezTo>
                    <a:pt x="96188" y="71716"/>
                    <a:pt x="96188" y="71716"/>
                    <a:pt x="96188" y="71716"/>
                  </a:cubicBezTo>
                  <a:cubicBezTo>
                    <a:pt x="97724" y="71716"/>
                    <a:pt x="97724" y="71716"/>
                    <a:pt x="97724" y="71716"/>
                  </a:cubicBezTo>
                  <a:cubicBezTo>
                    <a:pt x="100028" y="74100"/>
                    <a:pt x="100028" y="74100"/>
                    <a:pt x="100028" y="74100"/>
                  </a:cubicBezTo>
                  <a:cubicBezTo>
                    <a:pt x="101948" y="77080"/>
                    <a:pt x="101948" y="77080"/>
                    <a:pt x="101948" y="77080"/>
                  </a:cubicBezTo>
                  <a:cubicBezTo>
                    <a:pt x="101948" y="77080"/>
                    <a:pt x="103101" y="77677"/>
                    <a:pt x="103485" y="77677"/>
                  </a:cubicBezTo>
                  <a:cubicBezTo>
                    <a:pt x="103869" y="77677"/>
                    <a:pt x="104253" y="77677"/>
                    <a:pt x="104637" y="77677"/>
                  </a:cubicBezTo>
                  <a:cubicBezTo>
                    <a:pt x="105021" y="77677"/>
                    <a:pt x="106557" y="77677"/>
                    <a:pt x="106557" y="77677"/>
                  </a:cubicBezTo>
                  <a:cubicBezTo>
                    <a:pt x="110398" y="80061"/>
                    <a:pt x="110398" y="80061"/>
                    <a:pt x="110398" y="80061"/>
                  </a:cubicBezTo>
                  <a:cubicBezTo>
                    <a:pt x="112702" y="83042"/>
                    <a:pt x="112702" y="83042"/>
                    <a:pt x="112702" y="83042"/>
                  </a:cubicBezTo>
                  <a:cubicBezTo>
                    <a:pt x="112702" y="85426"/>
                    <a:pt x="112702" y="85426"/>
                    <a:pt x="112702" y="85426"/>
                  </a:cubicBezTo>
                  <a:cubicBezTo>
                    <a:pt x="113470" y="90791"/>
                    <a:pt x="113470" y="90791"/>
                    <a:pt x="113470" y="90791"/>
                  </a:cubicBezTo>
                  <a:cubicBezTo>
                    <a:pt x="114623" y="90791"/>
                    <a:pt x="114623" y="90791"/>
                    <a:pt x="114623" y="90791"/>
                  </a:cubicBezTo>
                  <a:cubicBezTo>
                    <a:pt x="115391" y="90791"/>
                    <a:pt x="115391" y="90791"/>
                    <a:pt x="115391" y="90791"/>
                  </a:cubicBezTo>
                  <a:cubicBezTo>
                    <a:pt x="115391" y="94367"/>
                    <a:pt x="115391" y="94367"/>
                    <a:pt x="115391" y="94367"/>
                  </a:cubicBezTo>
                  <a:cubicBezTo>
                    <a:pt x="116543" y="94367"/>
                    <a:pt x="116543" y="94367"/>
                    <a:pt x="116543" y="94367"/>
                  </a:cubicBezTo>
                  <a:cubicBezTo>
                    <a:pt x="118079" y="96752"/>
                    <a:pt x="118079" y="96752"/>
                    <a:pt x="118079" y="96752"/>
                  </a:cubicBezTo>
                  <a:cubicBezTo>
                    <a:pt x="120000" y="96752"/>
                    <a:pt x="120000" y="96752"/>
                    <a:pt x="120000" y="96752"/>
                  </a:cubicBezTo>
                  <a:cubicBezTo>
                    <a:pt x="118079" y="100924"/>
                    <a:pt x="118079" y="100924"/>
                    <a:pt x="118079" y="100924"/>
                  </a:cubicBezTo>
                  <a:cubicBezTo>
                    <a:pt x="116543" y="102117"/>
                    <a:pt x="116543" y="102117"/>
                    <a:pt x="116543" y="102117"/>
                  </a:cubicBezTo>
                  <a:cubicBezTo>
                    <a:pt x="114623" y="107482"/>
                    <a:pt x="114623" y="107482"/>
                    <a:pt x="114623" y="107482"/>
                  </a:cubicBezTo>
                  <a:cubicBezTo>
                    <a:pt x="112318" y="108674"/>
                    <a:pt x="112318" y="108674"/>
                    <a:pt x="112318" y="108674"/>
                  </a:cubicBezTo>
                  <a:cubicBezTo>
                    <a:pt x="107709" y="108674"/>
                    <a:pt x="107709" y="108674"/>
                    <a:pt x="107709" y="108674"/>
                  </a:cubicBezTo>
                  <a:cubicBezTo>
                    <a:pt x="106941" y="110462"/>
                    <a:pt x="106941" y="110462"/>
                    <a:pt x="106941" y="110462"/>
                  </a:cubicBezTo>
                  <a:cubicBezTo>
                    <a:pt x="103869" y="110462"/>
                    <a:pt x="103869" y="110462"/>
                    <a:pt x="103869" y="110462"/>
                  </a:cubicBezTo>
                  <a:cubicBezTo>
                    <a:pt x="103101" y="114635"/>
                    <a:pt x="103101" y="114635"/>
                    <a:pt x="103101" y="114635"/>
                  </a:cubicBezTo>
                  <a:cubicBezTo>
                    <a:pt x="102717" y="117615"/>
                    <a:pt x="102717" y="117615"/>
                    <a:pt x="102717" y="117615"/>
                  </a:cubicBezTo>
                  <a:cubicBezTo>
                    <a:pt x="101948" y="118808"/>
                    <a:pt x="101948" y="118808"/>
                    <a:pt x="101948" y="118808"/>
                  </a:cubicBezTo>
                  <a:cubicBezTo>
                    <a:pt x="101180" y="120000"/>
                    <a:pt x="101180" y="120000"/>
                    <a:pt x="101180" y="120000"/>
                  </a:cubicBezTo>
                  <a:cubicBezTo>
                    <a:pt x="100028" y="120000"/>
                    <a:pt x="100028" y="120000"/>
                    <a:pt x="100028" y="120000"/>
                  </a:cubicBezTo>
                  <a:cubicBezTo>
                    <a:pt x="98876" y="117019"/>
                    <a:pt x="98876" y="117019"/>
                    <a:pt x="98876" y="117019"/>
                  </a:cubicBezTo>
                  <a:cubicBezTo>
                    <a:pt x="96188" y="115231"/>
                    <a:pt x="96188" y="115231"/>
                    <a:pt x="96188" y="115231"/>
                  </a:cubicBezTo>
                  <a:cubicBezTo>
                    <a:pt x="94651" y="112846"/>
                    <a:pt x="94651" y="112846"/>
                    <a:pt x="94651" y="112846"/>
                  </a:cubicBezTo>
                  <a:cubicBezTo>
                    <a:pt x="94651" y="111654"/>
                    <a:pt x="94651" y="111654"/>
                    <a:pt x="94651" y="111654"/>
                  </a:cubicBezTo>
                  <a:cubicBezTo>
                    <a:pt x="94651" y="109866"/>
                    <a:pt x="94651" y="109866"/>
                    <a:pt x="94651" y="109866"/>
                  </a:cubicBezTo>
                  <a:cubicBezTo>
                    <a:pt x="94651" y="107482"/>
                    <a:pt x="94651" y="107482"/>
                    <a:pt x="94651" y="107482"/>
                  </a:cubicBezTo>
                  <a:cubicBezTo>
                    <a:pt x="94651" y="106289"/>
                    <a:pt x="94651" y="106289"/>
                    <a:pt x="94651" y="106289"/>
                  </a:cubicBezTo>
                  <a:cubicBezTo>
                    <a:pt x="94651" y="101521"/>
                    <a:pt x="94651" y="101521"/>
                    <a:pt x="94651" y="101521"/>
                  </a:cubicBezTo>
                  <a:cubicBezTo>
                    <a:pt x="94651" y="100328"/>
                    <a:pt x="94651" y="100328"/>
                    <a:pt x="94651" y="100328"/>
                  </a:cubicBezTo>
                  <a:cubicBezTo>
                    <a:pt x="94651" y="97348"/>
                    <a:pt x="94651" y="97348"/>
                    <a:pt x="94651" y="97348"/>
                  </a:cubicBezTo>
                  <a:cubicBezTo>
                    <a:pt x="92731" y="93175"/>
                    <a:pt x="92731" y="93175"/>
                    <a:pt x="92731" y="93175"/>
                  </a:cubicBezTo>
                  <a:cubicBezTo>
                    <a:pt x="91579" y="91387"/>
                    <a:pt x="91579" y="91387"/>
                    <a:pt x="91579" y="91387"/>
                  </a:cubicBezTo>
                  <a:cubicBezTo>
                    <a:pt x="91579" y="89598"/>
                    <a:pt x="91579" y="89598"/>
                    <a:pt x="91579" y="89598"/>
                  </a:cubicBezTo>
                  <a:cubicBezTo>
                    <a:pt x="91579" y="88406"/>
                    <a:pt x="91579" y="88406"/>
                    <a:pt x="91579" y="88406"/>
                  </a:cubicBezTo>
                  <a:cubicBezTo>
                    <a:pt x="92731" y="86022"/>
                    <a:pt x="92731" y="86022"/>
                    <a:pt x="92731" y="86022"/>
                  </a:cubicBezTo>
                  <a:cubicBezTo>
                    <a:pt x="94651" y="85426"/>
                    <a:pt x="94651" y="85426"/>
                    <a:pt x="94651" y="85426"/>
                  </a:cubicBezTo>
                  <a:cubicBezTo>
                    <a:pt x="96188" y="83042"/>
                    <a:pt x="96188" y="83042"/>
                    <a:pt x="96188" y="83042"/>
                  </a:cubicBezTo>
                  <a:lnTo>
                    <a:pt x="96188" y="80061"/>
                  </a:lnTo>
                  <a:cubicBezTo>
                    <a:pt x="95419" y="74696"/>
                    <a:pt x="95419" y="74696"/>
                    <a:pt x="95419" y="74696"/>
                  </a:cubicBezTo>
                  <a:cubicBezTo>
                    <a:pt x="95419" y="73504"/>
                    <a:pt x="95419" y="73504"/>
                    <a:pt x="95419" y="73504"/>
                  </a:cubicBezTo>
                  <a:cubicBezTo>
                    <a:pt x="95419" y="71716"/>
                    <a:pt x="95419" y="71716"/>
                    <a:pt x="95419" y="71716"/>
                  </a:cubicBezTo>
                  <a:close/>
                  <a:moveTo>
                    <a:pt x="70375" y="46863"/>
                  </a:moveTo>
                  <a:lnTo>
                    <a:pt x="71729" y="46863"/>
                  </a:lnTo>
                  <a:lnTo>
                    <a:pt x="72631" y="46863"/>
                  </a:lnTo>
                  <a:lnTo>
                    <a:pt x="73533" y="48283"/>
                  </a:lnTo>
                  <a:lnTo>
                    <a:pt x="74435" y="50413"/>
                  </a:lnTo>
                  <a:lnTo>
                    <a:pt x="74435" y="52544"/>
                  </a:lnTo>
                  <a:lnTo>
                    <a:pt x="72631" y="53964"/>
                  </a:lnTo>
                  <a:lnTo>
                    <a:pt x="71729" y="52544"/>
                  </a:lnTo>
                  <a:lnTo>
                    <a:pt x="71729" y="50413"/>
                  </a:lnTo>
                  <a:lnTo>
                    <a:pt x="70375" y="48993"/>
                  </a:lnTo>
                  <a:lnTo>
                    <a:pt x="70375" y="48283"/>
                  </a:lnTo>
                  <a:close/>
                  <a:moveTo>
                    <a:pt x="78947" y="43313"/>
                  </a:moveTo>
                  <a:lnTo>
                    <a:pt x="80300" y="43313"/>
                  </a:lnTo>
                  <a:lnTo>
                    <a:pt x="81654" y="45443"/>
                  </a:lnTo>
                  <a:lnTo>
                    <a:pt x="82556" y="46863"/>
                  </a:lnTo>
                  <a:lnTo>
                    <a:pt x="84361" y="48283"/>
                  </a:lnTo>
                  <a:lnTo>
                    <a:pt x="84361" y="46863"/>
                  </a:lnTo>
                  <a:lnTo>
                    <a:pt x="86616" y="46863"/>
                  </a:lnTo>
                  <a:lnTo>
                    <a:pt x="87969" y="46863"/>
                  </a:lnTo>
                  <a:lnTo>
                    <a:pt x="89774" y="48994"/>
                  </a:lnTo>
                  <a:lnTo>
                    <a:pt x="92932" y="52544"/>
                  </a:lnTo>
                  <a:lnTo>
                    <a:pt x="92932" y="56094"/>
                  </a:lnTo>
                  <a:lnTo>
                    <a:pt x="91578" y="58224"/>
                  </a:lnTo>
                  <a:lnTo>
                    <a:pt x="90225" y="58224"/>
                  </a:lnTo>
                  <a:lnTo>
                    <a:pt x="88872" y="58224"/>
                  </a:lnTo>
                  <a:lnTo>
                    <a:pt x="88872" y="58934"/>
                  </a:lnTo>
                  <a:lnTo>
                    <a:pt x="85714" y="58934"/>
                  </a:lnTo>
                  <a:lnTo>
                    <a:pt x="84361" y="58934"/>
                  </a:lnTo>
                  <a:lnTo>
                    <a:pt x="83909" y="58934"/>
                  </a:lnTo>
                  <a:lnTo>
                    <a:pt x="83007" y="56804"/>
                  </a:lnTo>
                  <a:lnTo>
                    <a:pt x="82556" y="53964"/>
                  </a:lnTo>
                  <a:lnTo>
                    <a:pt x="83007" y="51124"/>
                  </a:lnTo>
                  <a:lnTo>
                    <a:pt x="80751" y="51124"/>
                  </a:lnTo>
                  <a:lnTo>
                    <a:pt x="78947" y="50413"/>
                  </a:lnTo>
                  <a:lnTo>
                    <a:pt x="78947" y="48283"/>
                  </a:lnTo>
                  <a:lnTo>
                    <a:pt x="78947" y="46863"/>
                  </a:lnTo>
                  <a:lnTo>
                    <a:pt x="78947" y="44733"/>
                  </a:lnTo>
                  <a:close/>
                  <a:moveTo>
                    <a:pt x="65864" y="37633"/>
                  </a:moveTo>
                  <a:lnTo>
                    <a:pt x="66766" y="37633"/>
                  </a:lnTo>
                  <a:lnTo>
                    <a:pt x="69473" y="37633"/>
                  </a:lnTo>
                  <a:lnTo>
                    <a:pt x="71728" y="37633"/>
                  </a:lnTo>
                  <a:lnTo>
                    <a:pt x="72179" y="40473"/>
                  </a:lnTo>
                  <a:lnTo>
                    <a:pt x="77142" y="40473"/>
                  </a:lnTo>
                  <a:lnTo>
                    <a:pt x="74886" y="42603"/>
                  </a:lnTo>
                  <a:lnTo>
                    <a:pt x="74435" y="43313"/>
                  </a:lnTo>
                  <a:lnTo>
                    <a:pt x="74435" y="41893"/>
                  </a:lnTo>
                  <a:lnTo>
                    <a:pt x="73082" y="41893"/>
                  </a:lnTo>
                  <a:lnTo>
                    <a:pt x="72179" y="41893"/>
                  </a:lnTo>
                  <a:lnTo>
                    <a:pt x="70826" y="41893"/>
                  </a:lnTo>
                  <a:lnTo>
                    <a:pt x="69924" y="41893"/>
                  </a:lnTo>
                  <a:lnTo>
                    <a:pt x="69022" y="41893"/>
                  </a:lnTo>
                  <a:lnTo>
                    <a:pt x="67668" y="41893"/>
                  </a:lnTo>
                  <a:lnTo>
                    <a:pt x="65864" y="41183"/>
                  </a:lnTo>
                  <a:lnTo>
                    <a:pt x="65864" y="40473"/>
                  </a:lnTo>
                  <a:lnTo>
                    <a:pt x="65864" y="39053"/>
                  </a:lnTo>
                  <a:close/>
                  <a:moveTo>
                    <a:pt x="47819" y="20591"/>
                  </a:moveTo>
                  <a:lnTo>
                    <a:pt x="49623" y="20591"/>
                  </a:lnTo>
                  <a:lnTo>
                    <a:pt x="50526" y="20591"/>
                  </a:lnTo>
                  <a:lnTo>
                    <a:pt x="51428" y="21301"/>
                  </a:lnTo>
                  <a:lnTo>
                    <a:pt x="51879" y="22721"/>
                  </a:lnTo>
                  <a:lnTo>
                    <a:pt x="53232" y="26272"/>
                  </a:lnTo>
                  <a:lnTo>
                    <a:pt x="54586" y="26272"/>
                  </a:lnTo>
                  <a:lnTo>
                    <a:pt x="55488" y="29822"/>
                  </a:lnTo>
                  <a:lnTo>
                    <a:pt x="55488" y="32662"/>
                  </a:lnTo>
                  <a:lnTo>
                    <a:pt x="55488" y="34793"/>
                  </a:lnTo>
                  <a:lnTo>
                    <a:pt x="54135" y="34793"/>
                  </a:lnTo>
                  <a:lnTo>
                    <a:pt x="52781" y="32662"/>
                  </a:lnTo>
                  <a:lnTo>
                    <a:pt x="51879" y="31242"/>
                  </a:lnTo>
                  <a:lnTo>
                    <a:pt x="49623" y="32662"/>
                  </a:lnTo>
                  <a:lnTo>
                    <a:pt x="47819" y="33372"/>
                  </a:lnTo>
                  <a:lnTo>
                    <a:pt x="46466" y="31952"/>
                  </a:lnTo>
                  <a:lnTo>
                    <a:pt x="45563" y="29822"/>
                  </a:lnTo>
                  <a:lnTo>
                    <a:pt x="43308" y="27692"/>
                  </a:lnTo>
                  <a:lnTo>
                    <a:pt x="43308" y="25562"/>
                  </a:lnTo>
                  <a:lnTo>
                    <a:pt x="43308" y="22721"/>
                  </a:lnTo>
                  <a:lnTo>
                    <a:pt x="44661" y="22721"/>
                  </a:lnTo>
                  <a:lnTo>
                    <a:pt x="46014" y="22721"/>
                  </a:lnTo>
                  <a:lnTo>
                    <a:pt x="46014" y="21301"/>
                  </a:lnTo>
                  <a:close/>
                  <a:moveTo>
                    <a:pt x="3157" y="6390"/>
                  </a:moveTo>
                  <a:lnTo>
                    <a:pt x="3157" y="8520"/>
                  </a:lnTo>
                  <a:lnTo>
                    <a:pt x="3157" y="9941"/>
                  </a:lnTo>
                  <a:lnTo>
                    <a:pt x="2255" y="11361"/>
                  </a:lnTo>
                  <a:lnTo>
                    <a:pt x="1804" y="12781"/>
                  </a:lnTo>
                  <a:lnTo>
                    <a:pt x="1804" y="15621"/>
                  </a:lnTo>
                  <a:lnTo>
                    <a:pt x="0" y="14201"/>
                  </a:lnTo>
                  <a:lnTo>
                    <a:pt x="0" y="12781"/>
                  </a:lnTo>
                  <a:lnTo>
                    <a:pt x="0" y="11361"/>
                  </a:lnTo>
                  <a:lnTo>
                    <a:pt x="1804" y="8520"/>
                  </a:lnTo>
                  <a:close/>
                  <a:moveTo>
                    <a:pt x="14887" y="0"/>
                  </a:moveTo>
                  <a:lnTo>
                    <a:pt x="16240" y="0"/>
                  </a:lnTo>
                  <a:lnTo>
                    <a:pt x="19849" y="0"/>
                  </a:lnTo>
                  <a:lnTo>
                    <a:pt x="21202" y="0"/>
                  </a:lnTo>
                  <a:lnTo>
                    <a:pt x="22556" y="3550"/>
                  </a:lnTo>
                  <a:lnTo>
                    <a:pt x="22556" y="4260"/>
                  </a:lnTo>
                  <a:lnTo>
                    <a:pt x="22556" y="6390"/>
                  </a:lnTo>
                  <a:lnTo>
                    <a:pt x="22105" y="8520"/>
                  </a:lnTo>
                  <a:lnTo>
                    <a:pt x="22105" y="9230"/>
                  </a:lnTo>
                  <a:lnTo>
                    <a:pt x="20751" y="11360"/>
                  </a:lnTo>
                  <a:lnTo>
                    <a:pt x="19849" y="11360"/>
                  </a:lnTo>
                  <a:lnTo>
                    <a:pt x="18496" y="11360"/>
                  </a:lnTo>
                  <a:lnTo>
                    <a:pt x="17593" y="11360"/>
                  </a:lnTo>
                  <a:lnTo>
                    <a:pt x="15338" y="9230"/>
                  </a:lnTo>
                  <a:lnTo>
                    <a:pt x="14887" y="9230"/>
                  </a:lnTo>
                  <a:lnTo>
                    <a:pt x="12631" y="6390"/>
                  </a:lnTo>
                  <a:lnTo>
                    <a:pt x="12631" y="2840"/>
                  </a:lnTo>
                  <a:lnTo>
                    <a:pt x="12631" y="1420"/>
                  </a:lnTo>
                  <a:close/>
                </a:path>
              </a:pathLst>
            </a:custGeom>
            <a:solidFill>
              <a:schemeClr val="accent1"/>
            </a:solidFill>
            <a:ln w="3175"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431" name="Shape 1390">
              <a:extLst>
                <a:ext uri="{FF2B5EF4-FFF2-40B4-BE49-F238E27FC236}">
                  <a16:creationId xmlns:a16="http://schemas.microsoft.com/office/drawing/2014/main" id="{3C468F1C-0DE2-50E7-0544-C88C219EA30E}"/>
                </a:ext>
              </a:extLst>
            </p:cNvPr>
            <p:cNvSpPr/>
            <p:nvPr/>
          </p:nvSpPr>
          <p:spPr>
            <a:xfrm>
              <a:off x="9189213" y="4806194"/>
              <a:ext cx="607274" cy="361298"/>
            </a:xfrm>
            <a:custGeom>
              <a:avLst/>
              <a:gdLst/>
              <a:ahLst/>
              <a:cxnLst/>
              <a:rect l="0" t="0" r="0" b="0"/>
              <a:pathLst>
                <a:path w="120000" h="120000" extrusionOk="0">
                  <a:moveTo>
                    <a:pt x="0" y="16853"/>
                  </a:moveTo>
                  <a:cubicBezTo>
                    <a:pt x="0" y="18876"/>
                    <a:pt x="0" y="18876"/>
                    <a:pt x="0" y="18876"/>
                  </a:cubicBezTo>
                  <a:cubicBezTo>
                    <a:pt x="0" y="16853"/>
                    <a:pt x="0" y="16853"/>
                    <a:pt x="0" y="16853"/>
                  </a:cubicBezTo>
                  <a:cubicBezTo>
                    <a:pt x="42650" y="21573"/>
                    <a:pt x="42650" y="21573"/>
                    <a:pt x="42650" y="21573"/>
                  </a:cubicBezTo>
                  <a:cubicBezTo>
                    <a:pt x="40843" y="82921"/>
                    <a:pt x="40843" y="82921"/>
                    <a:pt x="40843" y="82921"/>
                  </a:cubicBezTo>
                  <a:cubicBezTo>
                    <a:pt x="43734" y="88314"/>
                    <a:pt x="43734" y="88314"/>
                    <a:pt x="43734" y="88314"/>
                  </a:cubicBezTo>
                  <a:cubicBezTo>
                    <a:pt x="44819" y="90337"/>
                    <a:pt x="44819" y="90337"/>
                    <a:pt x="44819" y="90337"/>
                  </a:cubicBezTo>
                  <a:cubicBezTo>
                    <a:pt x="45903" y="90337"/>
                    <a:pt x="45903" y="90337"/>
                    <a:pt x="45903" y="90337"/>
                  </a:cubicBezTo>
                  <a:cubicBezTo>
                    <a:pt x="47349" y="89662"/>
                    <a:pt x="47349" y="89662"/>
                    <a:pt x="47349" y="89662"/>
                  </a:cubicBezTo>
                  <a:cubicBezTo>
                    <a:pt x="48433" y="90337"/>
                    <a:pt x="48433" y="90337"/>
                    <a:pt x="48433" y="90337"/>
                  </a:cubicBezTo>
                  <a:cubicBezTo>
                    <a:pt x="49518" y="89662"/>
                    <a:pt x="49518" y="89662"/>
                    <a:pt x="49518" y="89662"/>
                  </a:cubicBezTo>
                  <a:cubicBezTo>
                    <a:pt x="50963" y="91011"/>
                    <a:pt x="50963" y="91011"/>
                    <a:pt x="50963" y="91011"/>
                  </a:cubicBezTo>
                  <a:cubicBezTo>
                    <a:pt x="52048" y="97078"/>
                    <a:pt x="52048" y="97078"/>
                    <a:pt x="52048" y="97078"/>
                  </a:cubicBezTo>
                  <a:cubicBezTo>
                    <a:pt x="55301" y="97078"/>
                    <a:pt x="55301" y="97078"/>
                    <a:pt x="55301" y="97078"/>
                  </a:cubicBezTo>
                  <a:cubicBezTo>
                    <a:pt x="57831" y="99775"/>
                    <a:pt x="57831" y="99775"/>
                    <a:pt x="57831" y="99775"/>
                  </a:cubicBezTo>
                  <a:cubicBezTo>
                    <a:pt x="59999" y="99101"/>
                    <a:pt x="59999" y="99101"/>
                    <a:pt x="59999" y="99101"/>
                  </a:cubicBezTo>
                  <a:cubicBezTo>
                    <a:pt x="60361" y="99101"/>
                    <a:pt x="60361" y="99101"/>
                    <a:pt x="60361" y="99101"/>
                  </a:cubicBezTo>
                  <a:cubicBezTo>
                    <a:pt x="61807" y="101797"/>
                    <a:pt x="61807" y="101797"/>
                    <a:pt x="61807" y="101797"/>
                  </a:cubicBezTo>
                  <a:cubicBezTo>
                    <a:pt x="63253" y="99775"/>
                    <a:pt x="63253" y="99775"/>
                    <a:pt x="63253" y="99775"/>
                  </a:cubicBezTo>
                  <a:cubicBezTo>
                    <a:pt x="66506" y="100449"/>
                    <a:pt x="66506" y="100449"/>
                    <a:pt x="66506" y="100449"/>
                  </a:cubicBezTo>
                  <a:cubicBezTo>
                    <a:pt x="67951" y="105168"/>
                    <a:pt x="67951" y="105168"/>
                    <a:pt x="67951" y="105168"/>
                  </a:cubicBezTo>
                  <a:cubicBezTo>
                    <a:pt x="69036" y="105168"/>
                    <a:pt x="69036" y="105168"/>
                    <a:pt x="69036" y="105168"/>
                  </a:cubicBezTo>
                  <a:cubicBezTo>
                    <a:pt x="69397" y="109213"/>
                    <a:pt x="69397" y="109213"/>
                    <a:pt x="69397" y="109213"/>
                  </a:cubicBezTo>
                  <a:cubicBezTo>
                    <a:pt x="70843" y="109887"/>
                    <a:pt x="70843" y="109887"/>
                    <a:pt x="70843" y="109887"/>
                  </a:cubicBezTo>
                  <a:cubicBezTo>
                    <a:pt x="72289" y="107865"/>
                    <a:pt x="72289" y="107865"/>
                    <a:pt x="72289" y="107865"/>
                  </a:cubicBezTo>
                  <a:cubicBezTo>
                    <a:pt x="73012" y="105842"/>
                    <a:pt x="73012" y="105842"/>
                    <a:pt x="73012" y="105842"/>
                  </a:cubicBezTo>
                  <a:cubicBezTo>
                    <a:pt x="73734" y="105842"/>
                    <a:pt x="73734" y="105842"/>
                    <a:pt x="73734" y="105842"/>
                  </a:cubicBezTo>
                  <a:cubicBezTo>
                    <a:pt x="76265" y="109213"/>
                    <a:pt x="76265" y="109213"/>
                    <a:pt x="76265" y="109213"/>
                  </a:cubicBezTo>
                  <a:cubicBezTo>
                    <a:pt x="76987" y="111910"/>
                    <a:pt x="76987" y="111910"/>
                    <a:pt x="76987" y="111910"/>
                  </a:cubicBezTo>
                  <a:cubicBezTo>
                    <a:pt x="79518" y="109213"/>
                    <a:pt x="79518" y="109213"/>
                    <a:pt x="79518" y="109213"/>
                  </a:cubicBezTo>
                  <a:cubicBezTo>
                    <a:pt x="80240" y="110561"/>
                    <a:pt x="80240" y="110561"/>
                    <a:pt x="80240" y="110561"/>
                  </a:cubicBezTo>
                  <a:cubicBezTo>
                    <a:pt x="80602" y="114606"/>
                    <a:pt x="80602" y="114606"/>
                    <a:pt x="80602" y="114606"/>
                  </a:cubicBezTo>
                  <a:cubicBezTo>
                    <a:pt x="81325" y="113932"/>
                    <a:pt x="81325" y="113932"/>
                    <a:pt x="81325" y="113932"/>
                  </a:cubicBezTo>
                  <a:cubicBezTo>
                    <a:pt x="82409" y="110561"/>
                    <a:pt x="82409" y="110561"/>
                    <a:pt x="82409" y="110561"/>
                  </a:cubicBezTo>
                  <a:cubicBezTo>
                    <a:pt x="84216" y="109887"/>
                    <a:pt x="84216" y="109887"/>
                    <a:pt x="84216" y="109887"/>
                  </a:cubicBezTo>
                  <a:cubicBezTo>
                    <a:pt x="86385" y="111910"/>
                    <a:pt x="86385" y="111910"/>
                    <a:pt x="86385" y="111910"/>
                  </a:cubicBezTo>
                  <a:cubicBezTo>
                    <a:pt x="89638" y="111235"/>
                    <a:pt x="89638" y="111235"/>
                    <a:pt x="89638" y="111235"/>
                  </a:cubicBezTo>
                  <a:cubicBezTo>
                    <a:pt x="91084" y="113932"/>
                    <a:pt x="91084" y="113932"/>
                    <a:pt x="91084" y="113932"/>
                  </a:cubicBezTo>
                  <a:cubicBezTo>
                    <a:pt x="91807" y="115955"/>
                    <a:pt x="91807" y="115955"/>
                    <a:pt x="91807" y="115955"/>
                  </a:cubicBezTo>
                  <a:cubicBezTo>
                    <a:pt x="93614" y="115280"/>
                    <a:pt x="93614" y="115280"/>
                    <a:pt x="93614" y="115280"/>
                  </a:cubicBezTo>
                  <a:cubicBezTo>
                    <a:pt x="95421" y="112584"/>
                    <a:pt x="95421" y="112584"/>
                    <a:pt x="95421" y="112584"/>
                  </a:cubicBezTo>
                  <a:cubicBezTo>
                    <a:pt x="96506" y="110561"/>
                    <a:pt x="96506" y="110561"/>
                    <a:pt x="96506" y="110561"/>
                  </a:cubicBezTo>
                  <a:cubicBezTo>
                    <a:pt x="97951" y="110561"/>
                    <a:pt x="97951" y="110561"/>
                    <a:pt x="97951" y="110561"/>
                  </a:cubicBezTo>
                  <a:cubicBezTo>
                    <a:pt x="99397" y="111910"/>
                    <a:pt x="99397" y="111910"/>
                    <a:pt x="99397" y="111910"/>
                  </a:cubicBezTo>
                  <a:cubicBezTo>
                    <a:pt x="100481" y="111235"/>
                    <a:pt x="100481" y="111235"/>
                    <a:pt x="100481" y="111235"/>
                  </a:cubicBezTo>
                  <a:cubicBezTo>
                    <a:pt x="101927" y="109213"/>
                    <a:pt x="101927" y="109213"/>
                    <a:pt x="101927" y="109213"/>
                  </a:cubicBezTo>
                  <a:cubicBezTo>
                    <a:pt x="104096" y="109887"/>
                    <a:pt x="104096" y="109887"/>
                    <a:pt x="104096" y="109887"/>
                  </a:cubicBezTo>
                  <a:cubicBezTo>
                    <a:pt x="105180" y="110561"/>
                    <a:pt x="105180" y="110561"/>
                    <a:pt x="105180" y="110561"/>
                  </a:cubicBezTo>
                  <a:cubicBezTo>
                    <a:pt x="108433" y="108539"/>
                    <a:pt x="108433" y="108539"/>
                    <a:pt x="108433" y="108539"/>
                  </a:cubicBezTo>
                  <a:cubicBezTo>
                    <a:pt x="110602" y="109887"/>
                    <a:pt x="110602" y="109887"/>
                    <a:pt x="110602" y="109887"/>
                  </a:cubicBezTo>
                  <a:cubicBezTo>
                    <a:pt x="112409" y="113258"/>
                    <a:pt x="112409" y="113258"/>
                    <a:pt x="112409" y="113258"/>
                  </a:cubicBezTo>
                  <a:cubicBezTo>
                    <a:pt x="114939" y="116629"/>
                    <a:pt x="114939" y="116629"/>
                    <a:pt x="114939" y="116629"/>
                  </a:cubicBezTo>
                  <a:cubicBezTo>
                    <a:pt x="117108" y="116629"/>
                    <a:pt x="117108" y="116629"/>
                    <a:pt x="117108" y="116629"/>
                  </a:cubicBezTo>
                  <a:cubicBezTo>
                    <a:pt x="118554" y="118651"/>
                    <a:pt x="118554" y="118651"/>
                    <a:pt x="118554" y="118651"/>
                  </a:cubicBezTo>
                  <a:cubicBezTo>
                    <a:pt x="119638" y="120000"/>
                    <a:pt x="119638" y="120000"/>
                    <a:pt x="119638" y="120000"/>
                  </a:cubicBezTo>
                  <a:cubicBezTo>
                    <a:pt x="119999" y="59325"/>
                    <a:pt x="119999" y="59325"/>
                    <a:pt x="119999" y="59325"/>
                  </a:cubicBezTo>
                  <a:cubicBezTo>
                    <a:pt x="117108" y="24943"/>
                    <a:pt x="117108" y="24943"/>
                    <a:pt x="117108" y="24943"/>
                  </a:cubicBezTo>
                  <a:cubicBezTo>
                    <a:pt x="117108" y="8089"/>
                    <a:pt x="117108" y="8089"/>
                    <a:pt x="117108" y="8089"/>
                  </a:cubicBezTo>
                  <a:cubicBezTo>
                    <a:pt x="117108" y="8089"/>
                    <a:pt x="76265" y="6741"/>
                    <a:pt x="63253" y="6067"/>
                  </a:cubicBezTo>
                  <a:cubicBezTo>
                    <a:pt x="47349" y="4719"/>
                    <a:pt x="1445" y="0"/>
                    <a:pt x="1445" y="0"/>
                  </a:cubicBezTo>
                  <a:cubicBezTo>
                    <a:pt x="1084" y="16853"/>
                    <a:pt x="1084" y="16853"/>
                    <a:pt x="1084" y="16853"/>
                  </a:cubicBezTo>
                  <a:lnTo>
                    <a:pt x="0" y="16853"/>
                  </a:lnTo>
                  <a:close/>
                </a:path>
              </a:pathLst>
            </a:custGeom>
            <a:solidFill>
              <a:srgbClr val="92D050"/>
            </a:solidFill>
            <a:ln w="6350" cap="flat" cmpd="sng">
              <a:solidFill>
                <a:schemeClr val="bg1"/>
              </a:solidFill>
              <a:prstDash val="solid"/>
              <a:miter/>
              <a:headEnd type="none" w="med" len="med"/>
              <a:tailEnd type="none" w="med" len="med"/>
            </a:ln>
          </p:spPr>
          <p:txBody>
            <a:bodyPr lIns="45713" tIns="22850" rIns="45713" bIns="2285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7F7F7F"/>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432" name="TextBox 431">
              <a:extLst>
                <a:ext uri="{FF2B5EF4-FFF2-40B4-BE49-F238E27FC236}">
                  <a16:creationId xmlns:a16="http://schemas.microsoft.com/office/drawing/2014/main" id="{3B4B0A80-7568-BD61-1810-4F3FB604CA4F}"/>
                </a:ext>
              </a:extLst>
            </p:cNvPr>
            <p:cNvSpPr txBox="1"/>
            <p:nvPr/>
          </p:nvSpPr>
          <p:spPr>
            <a:xfrm>
              <a:off x="8206837" y="3504567"/>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WA</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33" name="TextBox 432">
              <a:extLst>
                <a:ext uri="{FF2B5EF4-FFF2-40B4-BE49-F238E27FC236}">
                  <a16:creationId xmlns:a16="http://schemas.microsoft.com/office/drawing/2014/main" id="{3C5BC14D-E26F-5B31-610D-BBBA635172F1}"/>
                </a:ext>
              </a:extLst>
            </p:cNvPr>
            <p:cNvSpPr txBox="1"/>
            <p:nvPr/>
          </p:nvSpPr>
          <p:spPr>
            <a:xfrm>
              <a:off x="8086353" y="3847106"/>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OR</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34" name="TextBox 433">
              <a:extLst>
                <a:ext uri="{FF2B5EF4-FFF2-40B4-BE49-F238E27FC236}">
                  <a16:creationId xmlns:a16="http://schemas.microsoft.com/office/drawing/2014/main" id="{0CB539E9-20F4-9947-AD1B-4D29E95FF648}"/>
                </a:ext>
              </a:extLst>
            </p:cNvPr>
            <p:cNvSpPr txBox="1"/>
            <p:nvPr/>
          </p:nvSpPr>
          <p:spPr>
            <a:xfrm>
              <a:off x="8003984" y="4574165"/>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C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35" name="TextBox 434">
              <a:extLst>
                <a:ext uri="{FF2B5EF4-FFF2-40B4-BE49-F238E27FC236}">
                  <a16:creationId xmlns:a16="http://schemas.microsoft.com/office/drawing/2014/main" id="{B648AF97-21CC-2946-FE1E-73C56A0B1965}"/>
                </a:ext>
              </a:extLst>
            </p:cNvPr>
            <p:cNvSpPr txBox="1"/>
            <p:nvPr/>
          </p:nvSpPr>
          <p:spPr>
            <a:xfrm>
              <a:off x="7011249" y="308537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white"/>
                  </a:solidFill>
                  <a:effectLst/>
                  <a:uLnTx/>
                  <a:uFillTx/>
                  <a:latin typeface="Honeywell Sans"/>
                  <a:ea typeface="+mn-ea"/>
                  <a:cs typeface="+mn-cs"/>
                </a:rPr>
                <a:t>HI</a:t>
              </a:r>
              <a:endParaRPr kumimoji="0" lang="es-MX" sz="900" b="0" i="0" u="none" strike="noStrike" kern="1200" cap="none" spc="0" normalizeH="0" baseline="0" noProof="0">
                <a:ln>
                  <a:noFill/>
                </a:ln>
                <a:solidFill>
                  <a:prstClr val="white"/>
                </a:solidFill>
                <a:effectLst/>
                <a:uLnTx/>
                <a:uFillTx/>
                <a:latin typeface="Honeywell Sans"/>
                <a:ea typeface="+mn-ea"/>
                <a:cs typeface="+mn-cs"/>
              </a:endParaRPr>
            </a:p>
          </p:txBody>
        </p:sp>
        <p:sp>
          <p:nvSpPr>
            <p:cNvPr id="436" name="TextBox 435">
              <a:extLst>
                <a:ext uri="{FF2B5EF4-FFF2-40B4-BE49-F238E27FC236}">
                  <a16:creationId xmlns:a16="http://schemas.microsoft.com/office/drawing/2014/main" id="{6E67CCF0-A7F8-60EF-1555-AE27AEB8C8EB}"/>
                </a:ext>
              </a:extLst>
            </p:cNvPr>
            <p:cNvSpPr txBox="1"/>
            <p:nvPr/>
          </p:nvSpPr>
          <p:spPr>
            <a:xfrm>
              <a:off x="8239258" y="433828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NV</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37" name="TextBox 436">
              <a:extLst>
                <a:ext uri="{FF2B5EF4-FFF2-40B4-BE49-F238E27FC236}">
                  <a16:creationId xmlns:a16="http://schemas.microsoft.com/office/drawing/2014/main" id="{F0945C75-C87A-8844-BB1C-216336445EB1}"/>
                </a:ext>
              </a:extLst>
            </p:cNvPr>
            <p:cNvSpPr txBox="1"/>
            <p:nvPr/>
          </p:nvSpPr>
          <p:spPr>
            <a:xfrm>
              <a:off x="8468310" y="3970796"/>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ID</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38" name="TextBox 437">
              <a:extLst>
                <a:ext uri="{FF2B5EF4-FFF2-40B4-BE49-F238E27FC236}">
                  <a16:creationId xmlns:a16="http://schemas.microsoft.com/office/drawing/2014/main" id="{A92CC99D-4D8D-CDF1-37FD-5144C9932246}"/>
                </a:ext>
              </a:extLst>
            </p:cNvPr>
            <p:cNvSpPr txBox="1"/>
            <p:nvPr/>
          </p:nvSpPr>
          <p:spPr>
            <a:xfrm>
              <a:off x="8505415" y="4892107"/>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AZ</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39" name="TextBox 438">
              <a:extLst>
                <a:ext uri="{FF2B5EF4-FFF2-40B4-BE49-F238E27FC236}">
                  <a16:creationId xmlns:a16="http://schemas.microsoft.com/office/drawing/2014/main" id="{AF8AC159-664F-E53A-FAEA-652B4E7AD8E2}"/>
                </a:ext>
              </a:extLst>
            </p:cNvPr>
            <p:cNvSpPr txBox="1"/>
            <p:nvPr/>
          </p:nvSpPr>
          <p:spPr>
            <a:xfrm>
              <a:off x="8587816" y="4465589"/>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UT</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40" name="TextBox 439">
              <a:extLst>
                <a:ext uri="{FF2B5EF4-FFF2-40B4-BE49-F238E27FC236}">
                  <a16:creationId xmlns:a16="http://schemas.microsoft.com/office/drawing/2014/main" id="{0FA5516E-1E82-DF15-2643-260446103807}"/>
                </a:ext>
              </a:extLst>
            </p:cNvPr>
            <p:cNvSpPr txBox="1"/>
            <p:nvPr/>
          </p:nvSpPr>
          <p:spPr>
            <a:xfrm>
              <a:off x="8897758" y="414318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WY</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1" name="TextBox 440">
              <a:extLst>
                <a:ext uri="{FF2B5EF4-FFF2-40B4-BE49-F238E27FC236}">
                  <a16:creationId xmlns:a16="http://schemas.microsoft.com/office/drawing/2014/main" id="{188CEB9C-3448-A46E-F64C-CCBF28AA95CD}"/>
                </a:ext>
              </a:extLst>
            </p:cNvPr>
            <p:cNvSpPr txBox="1"/>
            <p:nvPr/>
          </p:nvSpPr>
          <p:spPr>
            <a:xfrm>
              <a:off x="8814245" y="3737679"/>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MT</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2" name="TextBox 441">
              <a:extLst>
                <a:ext uri="{FF2B5EF4-FFF2-40B4-BE49-F238E27FC236}">
                  <a16:creationId xmlns:a16="http://schemas.microsoft.com/office/drawing/2014/main" id="{C0F337FF-6894-2AA8-8809-7FD80A565A68}"/>
                </a:ext>
              </a:extLst>
            </p:cNvPr>
            <p:cNvSpPr txBox="1"/>
            <p:nvPr/>
          </p:nvSpPr>
          <p:spPr>
            <a:xfrm>
              <a:off x="9349205" y="3737679"/>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ND</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3" name="TextBox 442">
              <a:extLst>
                <a:ext uri="{FF2B5EF4-FFF2-40B4-BE49-F238E27FC236}">
                  <a16:creationId xmlns:a16="http://schemas.microsoft.com/office/drawing/2014/main" id="{5B5A6816-1E0F-F913-CF66-DEFA7325148B}"/>
                </a:ext>
              </a:extLst>
            </p:cNvPr>
            <p:cNvSpPr txBox="1"/>
            <p:nvPr/>
          </p:nvSpPr>
          <p:spPr>
            <a:xfrm>
              <a:off x="9361385" y="401706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SD</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4" name="TextBox 443">
              <a:extLst>
                <a:ext uri="{FF2B5EF4-FFF2-40B4-BE49-F238E27FC236}">
                  <a16:creationId xmlns:a16="http://schemas.microsoft.com/office/drawing/2014/main" id="{8266E6B7-1B3E-8C2C-EDCD-3D3C489DD358}"/>
                </a:ext>
              </a:extLst>
            </p:cNvPr>
            <p:cNvSpPr txBox="1"/>
            <p:nvPr/>
          </p:nvSpPr>
          <p:spPr>
            <a:xfrm>
              <a:off x="9374702" y="4315653"/>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NE</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5" name="TextBox 444">
              <a:extLst>
                <a:ext uri="{FF2B5EF4-FFF2-40B4-BE49-F238E27FC236}">
                  <a16:creationId xmlns:a16="http://schemas.microsoft.com/office/drawing/2014/main" id="{8CA05D38-994D-696B-0156-86F57C591491}"/>
                </a:ext>
              </a:extLst>
            </p:cNvPr>
            <p:cNvSpPr txBox="1"/>
            <p:nvPr/>
          </p:nvSpPr>
          <p:spPr>
            <a:xfrm>
              <a:off x="8974508" y="453797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CO</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46" name="TextBox 445">
              <a:extLst>
                <a:ext uri="{FF2B5EF4-FFF2-40B4-BE49-F238E27FC236}">
                  <a16:creationId xmlns:a16="http://schemas.microsoft.com/office/drawing/2014/main" id="{6E00EECC-131D-DACD-B8CF-8BE71BFCA044}"/>
                </a:ext>
              </a:extLst>
            </p:cNvPr>
            <p:cNvSpPr txBox="1"/>
            <p:nvPr/>
          </p:nvSpPr>
          <p:spPr>
            <a:xfrm>
              <a:off x="9450999" y="4633690"/>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KS</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7" name="TextBox 446">
              <a:extLst>
                <a:ext uri="{FF2B5EF4-FFF2-40B4-BE49-F238E27FC236}">
                  <a16:creationId xmlns:a16="http://schemas.microsoft.com/office/drawing/2014/main" id="{66E47D15-95D3-CF9F-F755-7C060EBEC825}"/>
                </a:ext>
              </a:extLst>
            </p:cNvPr>
            <p:cNvSpPr txBox="1"/>
            <p:nvPr/>
          </p:nvSpPr>
          <p:spPr>
            <a:xfrm>
              <a:off x="8897758" y="498803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NM</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48" name="TextBox 447">
              <a:extLst>
                <a:ext uri="{FF2B5EF4-FFF2-40B4-BE49-F238E27FC236}">
                  <a16:creationId xmlns:a16="http://schemas.microsoft.com/office/drawing/2014/main" id="{82F2FDE9-0202-917C-FBE5-83A84BB3526C}"/>
                </a:ext>
              </a:extLst>
            </p:cNvPr>
            <p:cNvSpPr txBox="1"/>
            <p:nvPr/>
          </p:nvSpPr>
          <p:spPr>
            <a:xfrm>
              <a:off x="9380578" y="528650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TX</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49" name="TextBox 448">
              <a:extLst>
                <a:ext uri="{FF2B5EF4-FFF2-40B4-BE49-F238E27FC236}">
                  <a16:creationId xmlns:a16="http://schemas.microsoft.com/office/drawing/2014/main" id="{62C2256E-C923-D273-474C-092DA6C5409B}"/>
                </a:ext>
              </a:extLst>
            </p:cNvPr>
            <p:cNvSpPr txBox="1"/>
            <p:nvPr/>
          </p:nvSpPr>
          <p:spPr>
            <a:xfrm>
              <a:off x="9559170" y="4937561"/>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OK</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0" name="TextBox 449">
              <a:extLst>
                <a:ext uri="{FF2B5EF4-FFF2-40B4-BE49-F238E27FC236}">
                  <a16:creationId xmlns:a16="http://schemas.microsoft.com/office/drawing/2014/main" id="{74F25992-D336-880E-3CC8-9A6DF0456119}"/>
                </a:ext>
              </a:extLst>
            </p:cNvPr>
            <p:cNvSpPr txBox="1"/>
            <p:nvPr/>
          </p:nvSpPr>
          <p:spPr>
            <a:xfrm>
              <a:off x="9868813" y="498803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AR</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1" name="TextBox 450">
              <a:extLst>
                <a:ext uri="{FF2B5EF4-FFF2-40B4-BE49-F238E27FC236}">
                  <a16:creationId xmlns:a16="http://schemas.microsoft.com/office/drawing/2014/main" id="{2065FB30-FFC5-0061-AADC-A42B20047681}"/>
                </a:ext>
              </a:extLst>
            </p:cNvPr>
            <p:cNvSpPr txBox="1"/>
            <p:nvPr/>
          </p:nvSpPr>
          <p:spPr>
            <a:xfrm>
              <a:off x="9881513" y="5286503"/>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L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2" name="TextBox 451">
              <a:extLst>
                <a:ext uri="{FF2B5EF4-FFF2-40B4-BE49-F238E27FC236}">
                  <a16:creationId xmlns:a16="http://schemas.microsoft.com/office/drawing/2014/main" id="{331B2E68-7E2F-DB1D-6B0F-FD13AD12B817}"/>
                </a:ext>
              </a:extLst>
            </p:cNvPr>
            <p:cNvSpPr txBox="1"/>
            <p:nvPr/>
          </p:nvSpPr>
          <p:spPr>
            <a:xfrm>
              <a:off x="10090836" y="5170962"/>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MS</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3" name="TextBox 452">
              <a:extLst>
                <a:ext uri="{FF2B5EF4-FFF2-40B4-BE49-F238E27FC236}">
                  <a16:creationId xmlns:a16="http://schemas.microsoft.com/office/drawing/2014/main" id="{AABFD4C3-56B3-45A3-EBDE-6278E16C5802}"/>
                </a:ext>
              </a:extLst>
            </p:cNvPr>
            <p:cNvSpPr txBox="1"/>
            <p:nvPr/>
          </p:nvSpPr>
          <p:spPr>
            <a:xfrm>
              <a:off x="10325469" y="5197169"/>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AL</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4" name="TextBox 453">
              <a:extLst>
                <a:ext uri="{FF2B5EF4-FFF2-40B4-BE49-F238E27FC236}">
                  <a16:creationId xmlns:a16="http://schemas.microsoft.com/office/drawing/2014/main" id="{F2D2A986-6E72-39AB-E71B-4B0B9F64D75C}"/>
                </a:ext>
              </a:extLst>
            </p:cNvPr>
            <p:cNvSpPr txBox="1"/>
            <p:nvPr/>
          </p:nvSpPr>
          <p:spPr>
            <a:xfrm>
              <a:off x="10319371" y="4879536"/>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TN</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5" name="TextBox 454">
              <a:extLst>
                <a:ext uri="{FF2B5EF4-FFF2-40B4-BE49-F238E27FC236}">
                  <a16:creationId xmlns:a16="http://schemas.microsoft.com/office/drawing/2014/main" id="{0905A10C-26F5-FD3E-728A-CDE58AFA46BD}"/>
                </a:ext>
              </a:extLst>
            </p:cNvPr>
            <p:cNvSpPr txBox="1"/>
            <p:nvPr/>
          </p:nvSpPr>
          <p:spPr>
            <a:xfrm>
              <a:off x="10859144" y="4815763"/>
              <a:ext cx="174117" cy="146185"/>
            </a:xfrm>
            <a:prstGeom prst="rect">
              <a:avLst/>
            </a:prstGeom>
            <a:solidFill>
              <a:srgbClr val="FFFF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NC</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6" name="TextBox 455">
              <a:extLst>
                <a:ext uri="{FF2B5EF4-FFF2-40B4-BE49-F238E27FC236}">
                  <a16:creationId xmlns:a16="http://schemas.microsoft.com/office/drawing/2014/main" id="{A43F4D05-9039-2B58-B130-B7615280241A}"/>
                </a:ext>
              </a:extLst>
            </p:cNvPr>
            <p:cNvSpPr txBox="1"/>
            <p:nvPr/>
          </p:nvSpPr>
          <p:spPr>
            <a:xfrm>
              <a:off x="10738821" y="4996296"/>
              <a:ext cx="174117" cy="146185"/>
            </a:xfrm>
            <a:prstGeom prst="rect">
              <a:avLst/>
            </a:prstGeom>
            <a:solidFill>
              <a:srgbClr val="FFFF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SC</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7" name="TextBox 456">
              <a:extLst>
                <a:ext uri="{FF2B5EF4-FFF2-40B4-BE49-F238E27FC236}">
                  <a16:creationId xmlns:a16="http://schemas.microsoft.com/office/drawing/2014/main" id="{CE835838-1242-6939-462D-CFECF5F91053}"/>
                </a:ext>
              </a:extLst>
            </p:cNvPr>
            <p:cNvSpPr txBox="1"/>
            <p:nvPr/>
          </p:nvSpPr>
          <p:spPr>
            <a:xfrm>
              <a:off x="10566865" y="514464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G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8" name="TextBox 457">
              <a:extLst>
                <a:ext uri="{FF2B5EF4-FFF2-40B4-BE49-F238E27FC236}">
                  <a16:creationId xmlns:a16="http://schemas.microsoft.com/office/drawing/2014/main" id="{C4C321CA-E1D2-F57E-8EAA-AF002E930406}"/>
                </a:ext>
              </a:extLst>
            </p:cNvPr>
            <p:cNvSpPr txBox="1"/>
            <p:nvPr/>
          </p:nvSpPr>
          <p:spPr>
            <a:xfrm>
              <a:off x="10782449" y="5622755"/>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FL</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59" name="TextBox 458">
              <a:extLst>
                <a:ext uri="{FF2B5EF4-FFF2-40B4-BE49-F238E27FC236}">
                  <a16:creationId xmlns:a16="http://schemas.microsoft.com/office/drawing/2014/main" id="{D5A925A4-1C9C-BF2A-E460-5871432A63B0}"/>
                </a:ext>
              </a:extLst>
            </p:cNvPr>
            <p:cNvSpPr txBox="1"/>
            <p:nvPr/>
          </p:nvSpPr>
          <p:spPr>
            <a:xfrm>
              <a:off x="9868813" y="4657630"/>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MO</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0" name="TextBox 459">
              <a:extLst>
                <a:ext uri="{FF2B5EF4-FFF2-40B4-BE49-F238E27FC236}">
                  <a16:creationId xmlns:a16="http://schemas.microsoft.com/office/drawing/2014/main" id="{C2ACC324-0FDE-3B10-0EBD-11523370CA1C}"/>
                </a:ext>
              </a:extLst>
            </p:cNvPr>
            <p:cNvSpPr txBox="1"/>
            <p:nvPr/>
          </p:nvSpPr>
          <p:spPr>
            <a:xfrm>
              <a:off x="9780140" y="4294905"/>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IA</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1" name="TextBox 460">
              <a:extLst>
                <a:ext uri="{FF2B5EF4-FFF2-40B4-BE49-F238E27FC236}">
                  <a16:creationId xmlns:a16="http://schemas.microsoft.com/office/drawing/2014/main" id="{1DF8F6DB-8EC8-EB84-6077-77AA020C3C9E}"/>
                </a:ext>
              </a:extLst>
            </p:cNvPr>
            <p:cNvSpPr txBox="1"/>
            <p:nvPr/>
          </p:nvSpPr>
          <p:spPr>
            <a:xfrm>
              <a:off x="9715316" y="3864488"/>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MN</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2" name="TextBox 461">
              <a:extLst>
                <a:ext uri="{FF2B5EF4-FFF2-40B4-BE49-F238E27FC236}">
                  <a16:creationId xmlns:a16="http://schemas.microsoft.com/office/drawing/2014/main" id="{24B3F2AA-36AE-941C-285D-B14E14446944}"/>
                </a:ext>
              </a:extLst>
            </p:cNvPr>
            <p:cNvSpPr txBox="1"/>
            <p:nvPr/>
          </p:nvSpPr>
          <p:spPr>
            <a:xfrm>
              <a:off x="9989328" y="4004234"/>
              <a:ext cx="174117" cy="146185"/>
            </a:xfrm>
            <a:prstGeom prst="rect">
              <a:avLst/>
            </a:prstGeom>
            <a:solidFill>
              <a:srgbClr val="0070C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WI</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3" name="TextBox 462">
              <a:extLst>
                <a:ext uri="{FF2B5EF4-FFF2-40B4-BE49-F238E27FC236}">
                  <a16:creationId xmlns:a16="http://schemas.microsoft.com/office/drawing/2014/main" id="{4D104FCC-0E58-2DF1-F5C2-61725BD548ED}"/>
                </a:ext>
              </a:extLst>
            </p:cNvPr>
            <p:cNvSpPr txBox="1"/>
            <p:nvPr/>
          </p:nvSpPr>
          <p:spPr>
            <a:xfrm>
              <a:off x="10103370" y="4448156"/>
              <a:ext cx="174117" cy="146185"/>
            </a:xfrm>
            <a:prstGeom prst="rect">
              <a:avLst/>
            </a:prstGeom>
            <a:solidFill>
              <a:srgbClr val="C63AB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IL</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4" name="TextBox 463">
              <a:extLst>
                <a:ext uri="{FF2B5EF4-FFF2-40B4-BE49-F238E27FC236}">
                  <a16:creationId xmlns:a16="http://schemas.microsoft.com/office/drawing/2014/main" id="{5D36354D-E684-0760-B628-753F9330EDAE}"/>
                </a:ext>
              </a:extLst>
            </p:cNvPr>
            <p:cNvSpPr txBox="1"/>
            <p:nvPr/>
          </p:nvSpPr>
          <p:spPr>
            <a:xfrm>
              <a:off x="10307269" y="446127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IN</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5" name="TextBox 464">
              <a:extLst>
                <a:ext uri="{FF2B5EF4-FFF2-40B4-BE49-F238E27FC236}">
                  <a16:creationId xmlns:a16="http://schemas.microsoft.com/office/drawing/2014/main" id="{CF099F10-92E3-F39A-6AD3-8FBC5F3DFEE4}"/>
                </a:ext>
              </a:extLst>
            </p:cNvPr>
            <p:cNvSpPr txBox="1"/>
            <p:nvPr/>
          </p:nvSpPr>
          <p:spPr>
            <a:xfrm>
              <a:off x="10371115" y="4183977"/>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MI</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6" name="TextBox 465">
              <a:extLst>
                <a:ext uri="{FF2B5EF4-FFF2-40B4-BE49-F238E27FC236}">
                  <a16:creationId xmlns:a16="http://schemas.microsoft.com/office/drawing/2014/main" id="{B6F46786-EE06-3A9F-CD1F-624E9ACE433F}"/>
                </a:ext>
              </a:extLst>
            </p:cNvPr>
            <p:cNvSpPr txBox="1"/>
            <p:nvPr/>
          </p:nvSpPr>
          <p:spPr>
            <a:xfrm>
              <a:off x="10523515" y="4392496"/>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OH</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67" name="TextBox 466">
              <a:extLst>
                <a:ext uri="{FF2B5EF4-FFF2-40B4-BE49-F238E27FC236}">
                  <a16:creationId xmlns:a16="http://schemas.microsoft.com/office/drawing/2014/main" id="{238982AA-B06C-C7D8-11EF-F94FA3D64CE0}"/>
                </a:ext>
              </a:extLst>
            </p:cNvPr>
            <p:cNvSpPr txBox="1"/>
            <p:nvPr/>
          </p:nvSpPr>
          <p:spPr>
            <a:xfrm>
              <a:off x="10439988" y="4691113"/>
              <a:ext cx="174117" cy="146185"/>
            </a:xfrm>
            <a:prstGeom prst="rect">
              <a:avLst/>
            </a:prstGeom>
            <a:solidFill>
              <a:srgbClr val="C63AB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KY</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68" name="TextBox 467">
              <a:extLst>
                <a:ext uri="{FF2B5EF4-FFF2-40B4-BE49-F238E27FC236}">
                  <a16:creationId xmlns:a16="http://schemas.microsoft.com/office/drawing/2014/main" id="{485205C9-F7C8-A1D0-5648-CA1201186B82}"/>
                </a:ext>
              </a:extLst>
            </p:cNvPr>
            <p:cNvSpPr txBox="1"/>
            <p:nvPr/>
          </p:nvSpPr>
          <p:spPr>
            <a:xfrm>
              <a:off x="10681182" y="4544928"/>
              <a:ext cx="174117" cy="146185"/>
            </a:xfrm>
            <a:prstGeom prst="rect">
              <a:avLst/>
            </a:prstGeom>
            <a:solidFill>
              <a:srgbClr val="FFC0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WV</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69" name="TextBox 468">
              <a:extLst>
                <a:ext uri="{FF2B5EF4-FFF2-40B4-BE49-F238E27FC236}">
                  <a16:creationId xmlns:a16="http://schemas.microsoft.com/office/drawing/2014/main" id="{CAE0AA32-9B47-D3EE-2867-117F1244574A}"/>
                </a:ext>
              </a:extLst>
            </p:cNvPr>
            <p:cNvSpPr txBox="1"/>
            <p:nvPr/>
          </p:nvSpPr>
          <p:spPr>
            <a:xfrm>
              <a:off x="10864303" y="4616937"/>
              <a:ext cx="174117" cy="146185"/>
            </a:xfrm>
            <a:prstGeom prst="rect">
              <a:avLst/>
            </a:prstGeom>
            <a:solidFill>
              <a:srgbClr val="FFC0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V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0" name="TextBox 469">
              <a:extLst>
                <a:ext uri="{FF2B5EF4-FFF2-40B4-BE49-F238E27FC236}">
                  <a16:creationId xmlns:a16="http://schemas.microsoft.com/office/drawing/2014/main" id="{FE412CE5-8C8C-9E28-35EE-3DFABC3C37CC}"/>
                </a:ext>
              </a:extLst>
            </p:cNvPr>
            <p:cNvSpPr txBox="1"/>
            <p:nvPr/>
          </p:nvSpPr>
          <p:spPr>
            <a:xfrm>
              <a:off x="10834554" y="4291527"/>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P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1" name="TextBox 470">
              <a:extLst>
                <a:ext uri="{FF2B5EF4-FFF2-40B4-BE49-F238E27FC236}">
                  <a16:creationId xmlns:a16="http://schemas.microsoft.com/office/drawing/2014/main" id="{FC6760AB-EA8A-BA8D-EEA8-9949AD5D9C5C}"/>
                </a:ext>
              </a:extLst>
            </p:cNvPr>
            <p:cNvSpPr txBox="1"/>
            <p:nvPr/>
          </p:nvSpPr>
          <p:spPr>
            <a:xfrm>
              <a:off x="10929985" y="4432699"/>
              <a:ext cx="98416" cy="62442"/>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Honeywell Sans"/>
                  <a:ea typeface="+mn-ea"/>
                  <a:cs typeface="+mn-cs"/>
                </a:rPr>
                <a:t>MD</a:t>
              </a:r>
              <a:endParaRPr kumimoji="0" lang="es-MX" sz="7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2" name="TextBox 471">
              <a:extLst>
                <a:ext uri="{FF2B5EF4-FFF2-40B4-BE49-F238E27FC236}">
                  <a16:creationId xmlns:a16="http://schemas.microsoft.com/office/drawing/2014/main" id="{F8BB76AD-2720-06F5-F859-331DBAADDC0F}"/>
                </a:ext>
              </a:extLst>
            </p:cNvPr>
            <p:cNvSpPr txBox="1"/>
            <p:nvPr/>
          </p:nvSpPr>
          <p:spPr>
            <a:xfrm>
              <a:off x="10956566" y="4490077"/>
              <a:ext cx="76695" cy="5974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black"/>
                  </a:solidFill>
                  <a:effectLst/>
                  <a:uLnTx/>
                  <a:uFillTx/>
                  <a:latin typeface="Honeywell Sans"/>
                  <a:ea typeface="+mn-ea"/>
                  <a:cs typeface="+mn-cs"/>
                </a:rPr>
                <a:t>DC</a:t>
              </a:r>
              <a:endParaRPr kumimoji="0" lang="es-MX" sz="7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3" name="TextBox 472">
              <a:extLst>
                <a:ext uri="{FF2B5EF4-FFF2-40B4-BE49-F238E27FC236}">
                  <a16:creationId xmlns:a16="http://schemas.microsoft.com/office/drawing/2014/main" id="{2B120446-1B4C-F7A1-059E-0F8F2034F7A7}"/>
                </a:ext>
              </a:extLst>
            </p:cNvPr>
            <p:cNvSpPr txBox="1"/>
            <p:nvPr/>
          </p:nvSpPr>
          <p:spPr>
            <a:xfrm>
              <a:off x="10971859" y="4067567"/>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NY</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4" name="TextBox 473">
              <a:extLst>
                <a:ext uri="{FF2B5EF4-FFF2-40B4-BE49-F238E27FC236}">
                  <a16:creationId xmlns:a16="http://schemas.microsoft.com/office/drawing/2014/main" id="{0DF7A4C3-339D-B009-C1DA-2D3ECB0D8A1C}"/>
                </a:ext>
              </a:extLst>
            </p:cNvPr>
            <p:cNvSpPr txBox="1"/>
            <p:nvPr/>
          </p:nvSpPr>
          <p:spPr>
            <a:xfrm>
              <a:off x="11080472" y="4282193"/>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black"/>
                  </a:solidFill>
                  <a:effectLst/>
                  <a:uLnTx/>
                  <a:uFillTx/>
                  <a:latin typeface="Honeywell Sans"/>
                  <a:ea typeface="+mn-ea"/>
                  <a:cs typeface="+mn-cs"/>
                </a:rPr>
                <a:t>NJ</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5" name="TextBox 474">
              <a:extLst>
                <a:ext uri="{FF2B5EF4-FFF2-40B4-BE49-F238E27FC236}">
                  <a16:creationId xmlns:a16="http://schemas.microsoft.com/office/drawing/2014/main" id="{C8D6FCEF-7570-E230-73CE-37C571C7B49E}"/>
                </a:ext>
              </a:extLst>
            </p:cNvPr>
            <p:cNvSpPr txBox="1"/>
            <p:nvPr/>
          </p:nvSpPr>
          <p:spPr>
            <a:xfrm>
              <a:off x="11115084" y="3872811"/>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VT</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6" name="TextBox 475">
              <a:extLst>
                <a:ext uri="{FF2B5EF4-FFF2-40B4-BE49-F238E27FC236}">
                  <a16:creationId xmlns:a16="http://schemas.microsoft.com/office/drawing/2014/main" id="{54B9C719-DABC-D07D-096A-FFFDDF66AAC8}"/>
                </a:ext>
              </a:extLst>
            </p:cNvPr>
            <p:cNvSpPr txBox="1"/>
            <p:nvPr/>
          </p:nvSpPr>
          <p:spPr>
            <a:xfrm>
              <a:off x="11202143" y="3969762"/>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Honeywell Sans"/>
                  <a:ea typeface="+mn-ea"/>
                  <a:cs typeface="+mn-cs"/>
                </a:rPr>
                <a:t>NH</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7" name="TextBox 476">
              <a:extLst>
                <a:ext uri="{FF2B5EF4-FFF2-40B4-BE49-F238E27FC236}">
                  <a16:creationId xmlns:a16="http://schemas.microsoft.com/office/drawing/2014/main" id="{97CB2AE2-B22C-66BD-E39C-6F6BE2CEF785}"/>
                </a:ext>
              </a:extLst>
            </p:cNvPr>
            <p:cNvSpPr txBox="1"/>
            <p:nvPr/>
          </p:nvSpPr>
          <p:spPr>
            <a:xfrm>
              <a:off x="11272505" y="3753402"/>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Honeywell Sans"/>
                  <a:ea typeface="+mn-ea"/>
                  <a:cs typeface="+mn-cs"/>
                </a:rPr>
                <a:t>ME</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8" name="TextBox 477">
              <a:extLst>
                <a:ext uri="{FF2B5EF4-FFF2-40B4-BE49-F238E27FC236}">
                  <a16:creationId xmlns:a16="http://schemas.microsoft.com/office/drawing/2014/main" id="{A9EFC057-511E-1298-ED10-49D4BA619CAA}"/>
                </a:ext>
              </a:extLst>
            </p:cNvPr>
            <p:cNvSpPr txBox="1"/>
            <p:nvPr/>
          </p:nvSpPr>
          <p:spPr>
            <a:xfrm>
              <a:off x="11170068" y="4075892"/>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Honeywell Sans"/>
                  <a:ea typeface="+mn-ea"/>
                  <a:cs typeface="+mn-cs"/>
                </a:rPr>
                <a:t>MA</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79" name="TextBox 478">
              <a:extLst>
                <a:ext uri="{FF2B5EF4-FFF2-40B4-BE49-F238E27FC236}">
                  <a16:creationId xmlns:a16="http://schemas.microsoft.com/office/drawing/2014/main" id="{492D6253-3DA3-6835-5AA7-075BDDBBCA7E}"/>
                </a:ext>
              </a:extLst>
            </p:cNvPr>
            <p:cNvSpPr txBox="1"/>
            <p:nvPr/>
          </p:nvSpPr>
          <p:spPr>
            <a:xfrm>
              <a:off x="11172505" y="4162921"/>
              <a:ext cx="174117" cy="146185"/>
            </a:xfrm>
            <a:prstGeom prst="rect">
              <a:avLst/>
            </a:prstGeom>
            <a:solidFill>
              <a:srgbClr val="009900"/>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Honeywell Sans"/>
                  <a:ea typeface="+mn-ea"/>
                  <a:cs typeface="+mn-cs"/>
                </a:rPr>
                <a:t>CT</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80" name="TextBox 479">
              <a:extLst>
                <a:ext uri="{FF2B5EF4-FFF2-40B4-BE49-F238E27FC236}">
                  <a16:creationId xmlns:a16="http://schemas.microsoft.com/office/drawing/2014/main" id="{BAC4254D-4D00-28E4-E9C7-76EE0110EB19}"/>
                </a:ext>
              </a:extLst>
            </p:cNvPr>
            <p:cNvSpPr txBox="1"/>
            <p:nvPr/>
          </p:nvSpPr>
          <p:spPr>
            <a:xfrm>
              <a:off x="11287080" y="4094757"/>
              <a:ext cx="45964" cy="457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black"/>
                  </a:solidFill>
                  <a:effectLst/>
                  <a:uLnTx/>
                  <a:uFillTx/>
                  <a:latin typeface="Honeywell Sans"/>
                  <a:ea typeface="+mn-ea"/>
                  <a:cs typeface="+mn-cs"/>
                </a:rPr>
                <a:t>RI</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81" name="TextBox 480">
              <a:extLst>
                <a:ext uri="{FF2B5EF4-FFF2-40B4-BE49-F238E27FC236}">
                  <a16:creationId xmlns:a16="http://schemas.microsoft.com/office/drawing/2014/main" id="{EB1D04C3-669D-CF1A-F693-37A3EE9A9FA9}"/>
                </a:ext>
              </a:extLst>
            </p:cNvPr>
            <p:cNvSpPr txBox="1"/>
            <p:nvPr/>
          </p:nvSpPr>
          <p:spPr>
            <a:xfrm>
              <a:off x="11056231" y="4411377"/>
              <a:ext cx="82519" cy="4989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prstClr val="black"/>
                  </a:solidFill>
                  <a:effectLst/>
                  <a:uLnTx/>
                  <a:uFillTx/>
                  <a:latin typeface="Honeywell Sans"/>
                  <a:ea typeface="+mn-ea"/>
                  <a:cs typeface="+mn-cs"/>
                </a:rPr>
                <a:t>DE</a:t>
              </a:r>
              <a:endParaRPr kumimoji="0" lang="es-MX" sz="800" b="0" i="0" u="none" strike="noStrike" kern="1200" cap="none" spc="0" normalizeH="0" baseline="0" noProof="0">
                <a:ln>
                  <a:noFill/>
                </a:ln>
                <a:solidFill>
                  <a:prstClr val="black"/>
                </a:solidFill>
                <a:effectLst/>
                <a:uLnTx/>
                <a:uFillTx/>
                <a:latin typeface="Honeywell Sans"/>
                <a:ea typeface="+mn-ea"/>
                <a:cs typeface="+mn-cs"/>
              </a:endParaRPr>
            </a:p>
          </p:txBody>
        </p:sp>
        <p:sp>
          <p:nvSpPr>
            <p:cNvPr id="482" name="TextBox 481">
              <a:extLst>
                <a:ext uri="{FF2B5EF4-FFF2-40B4-BE49-F238E27FC236}">
                  <a16:creationId xmlns:a16="http://schemas.microsoft.com/office/drawing/2014/main" id="{B17A42E4-ACD8-2DEC-30D4-3341451F9D30}"/>
                </a:ext>
              </a:extLst>
            </p:cNvPr>
            <p:cNvSpPr txBox="1"/>
            <p:nvPr/>
          </p:nvSpPr>
          <p:spPr>
            <a:xfrm>
              <a:off x="8037037" y="2567398"/>
              <a:ext cx="421324" cy="2080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British Columbia</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3" name="TextBox 482">
              <a:extLst>
                <a:ext uri="{FF2B5EF4-FFF2-40B4-BE49-F238E27FC236}">
                  <a16:creationId xmlns:a16="http://schemas.microsoft.com/office/drawing/2014/main" id="{184487F2-5040-271B-05DB-BD8BF3E23092}"/>
                </a:ext>
              </a:extLst>
            </p:cNvPr>
            <p:cNvSpPr txBox="1"/>
            <p:nvPr/>
          </p:nvSpPr>
          <p:spPr>
            <a:xfrm>
              <a:off x="8601208" y="2941295"/>
              <a:ext cx="421324" cy="2080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Alberta</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4" name="TextBox 483">
              <a:extLst>
                <a:ext uri="{FF2B5EF4-FFF2-40B4-BE49-F238E27FC236}">
                  <a16:creationId xmlns:a16="http://schemas.microsoft.com/office/drawing/2014/main" id="{221A460B-8ADE-7A6C-4A92-8CA46FD40264}"/>
                </a:ext>
              </a:extLst>
            </p:cNvPr>
            <p:cNvSpPr txBox="1"/>
            <p:nvPr/>
          </p:nvSpPr>
          <p:spPr>
            <a:xfrm>
              <a:off x="8905995" y="3418431"/>
              <a:ext cx="497702" cy="11222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50" b="0" i="0" u="none" strike="noStrike" kern="1200" cap="none" spc="0" normalizeH="0" baseline="0" noProof="0">
                  <a:ln>
                    <a:noFill/>
                  </a:ln>
                  <a:solidFill>
                    <a:prstClr val="white"/>
                  </a:solidFill>
                  <a:effectLst/>
                  <a:uLnTx/>
                  <a:uFillTx/>
                  <a:latin typeface="Honeywell Sans"/>
                  <a:ea typeface="+mn-ea"/>
                  <a:cs typeface="+mn-cs"/>
                </a:rPr>
                <a:t>Saskatchewan</a:t>
              </a:r>
              <a:endParaRPr kumimoji="0" lang="es-MX" sz="550" b="0" i="0" u="none" strike="noStrike" kern="1200" cap="none" spc="0" normalizeH="0" baseline="0" noProof="0">
                <a:ln>
                  <a:noFill/>
                </a:ln>
                <a:solidFill>
                  <a:prstClr val="white"/>
                </a:solidFill>
                <a:effectLst/>
                <a:uLnTx/>
                <a:uFillTx/>
                <a:latin typeface="Honeywell Sans"/>
                <a:ea typeface="+mn-ea"/>
                <a:cs typeface="+mn-cs"/>
              </a:endParaRPr>
            </a:p>
          </p:txBody>
        </p:sp>
        <p:sp>
          <p:nvSpPr>
            <p:cNvPr id="485" name="TextBox 484">
              <a:extLst>
                <a:ext uri="{FF2B5EF4-FFF2-40B4-BE49-F238E27FC236}">
                  <a16:creationId xmlns:a16="http://schemas.microsoft.com/office/drawing/2014/main" id="{A24795D2-ABFC-76CF-1641-80855510B968}"/>
                </a:ext>
              </a:extLst>
            </p:cNvPr>
            <p:cNvSpPr txBox="1"/>
            <p:nvPr/>
          </p:nvSpPr>
          <p:spPr>
            <a:xfrm>
              <a:off x="9455002" y="2926727"/>
              <a:ext cx="421324" cy="10770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Manitoba</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6" name="TextBox 485">
              <a:extLst>
                <a:ext uri="{FF2B5EF4-FFF2-40B4-BE49-F238E27FC236}">
                  <a16:creationId xmlns:a16="http://schemas.microsoft.com/office/drawing/2014/main" id="{33027F30-71CC-F60B-16FB-E3B35344DBA2}"/>
                </a:ext>
              </a:extLst>
            </p:cNvPr>
            <p:cNvSpPr txBox="1"/>
            <p:nvPr/>
          </p:nvSpPr>
          <p:spPr>
            <a:xfrm>
              <a:off x="10116675" y="3384215"/>
              <a:ext cx="299899" cy="8987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Ontario</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7" name="TextBox 486">
              <a:extLst>
                <a:ext uri="{FF2B5EF4-FFF2-40B4-BE49-F238E27FC236}">
                  <a16:creationId xmlns:a16="http://schemas.microsoft.com/office/drawing/2014/main" id="{ED3C12B8-93E8-799F-1F25-A5B25DD71C26}"/>
                </a:ext>
              </a:extLst>
            </p:cNvPr>
            <p:cNvSpPr txBox="1"/>
            <p:nvPr/>
          </p:nvSpPr>
          <p:spPr>
            <a:xfrm>
              <a:off x="10757482" y="3145913"/>
              <a:ext cx="421324" cy="9180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Quebec</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8" name="TextBox 487">
              <a:extLst>
                <a:ext uri="{FF2B5EF4-FFF2-40B4-BE49-F238E27FC236}">
                  <a16:creationId xmlns:a16="http://schemas.microsoft.com/office/drawing/2014/main" id="{28604DF8-B19D-F794-EEAB-04CCC33B1F0A}"/>
                </a:ext>
              </a:extLst>
            </p:cNvPr>
            <p:cNvSpPr txBox="1"/>
            <p:nvPr/>
          </p:nvSpPr>
          <p:spPr>
            <a:xfrm>
              <a:off x="11129842" y="2529370"/>
              <a:ext cx="588886" cy="21790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white"/>
                  </a:solidFill>
                  <a:effectLst/>
                  <a:uLnTx/>
                  <a:uFillTx/>
                  <a:latin typeface="Honeywell Sans"/>
                  <a:ea typeface="+mn-ea"/>
                  <a:cs typeface="+mn-cs"/>
                </a:rPr>
                <a:t>Newfoundland and Labrador</a:t>
              </a:r>
              <a:endParaRPr kumimoji="0" lang="es-MX" sz="600" b="0" i="0" u="none" strike="noStrike" kern="1200" cap="none" spc="0" normalizeH="0" baseline="0" noProof="0">
                <a:ln>
                  <a:noFill/>
                </a:ln>
                <a:solidFill>
                  <a:prstClr val="white"/>
                </a:solidFill>
                <a:effectLst/>
                <a:uLnTx/>
                <a:uFillTx/>
                <a:latin typeface="Honeywell Sans"/>
                <a:ea typeface="+mn-ea"/>
                <a:cs typeface="+mn-cs"/>
              </a:endParaRPr>
            </a:p>
          </p:txBody>
        </p:sp>
        <p:sp>
          <p:nvSpPr>
            <p:cNvPr id="489" name="TextBox 488">
              <a:extLst>
                <a:ext uri="{FF2B5EF4-FFF2-40B4-BE49-F238E27FC236}">
                  <a16:creationId xmlns:a16="http://schemas.microsoft.com/office/drawing/2014/main" id="{9D9890D4-B00B-8795-56AF-03C5C31B307B}"/>
                </a:ext>
              </a:extLst>
            </p:cNvPr>
            <p:cNvSpPr txBox="1"/>
            <p:nvPr/>
          </p:nvSpPr>
          <p:spPr>
            <a:xfrm>
              <a:off x="9412751" y="1996467"/>
              <a:ext cx="421324" cy="98648"/>
            </a:xfrm>
            <a:prstGeom prst="rect">
              <a:avLst/>
            </a:prstGeom>
            <a:solidFill>
              <a:srgbClr val="C63AB5"/>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Nunavut</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90" name="TextBox 489">
              <a:extLst>
                <a:ext uri="{FF2B5EF4-FFF2-40B4-BE49-F238E27FC236}">
                  <a16:creationId xmlns:a16="http://schemas.microsoft.com/office/drawing/2014/main" id="{FD92A28E-4426-91BD-292E-237A365A26C5}"/>
                </a:ext>
              </a:extLst>
            </p:cNvPr>
            <p:cNvSpPr txBox="1"/>
            <p:nvPr/>
          </p:nvSpPr>
          <p:spPr>
            <a:xfrm>
              <a:off x="8502662" y="1988214"/>
              <a:ext cx="421324" cy="2080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Northwest Territories</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91" name="TextBox 490">
              <a:extLst>
                <a:ext uri="{FF2B5EF4-FFF2-40B4-BE49-F238E27FC236}">
                  <a16:creationId xmlns:a16="http://schemas.microsoft.com/office/drawing/2014/main" id="{9070B9FE-69D9-D82E-4466-0ECB48175B36}"/>
                </a:ext>
              </a:extLst>
            </p:cNvPr>
            <p:cNvSpPr txBox="1"/>
            <p:nvPr/>
          </p:nvSpPr>
          <p:spPr>
            <a:xfrm>
              <a:off x="7985566" y="1782842"/>
              <a:ext cx="274904" cy="10866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Yukon</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92" name="TextBox 491">
              <a:extLst>
                <a:ext uri="{FF2B5EF4-FFF2-40B4-BE49-F238E27FC236}">
                  <a16:creationId xmlns:a16="http://schemas.microsoft.com/office/drawing/2014/main" id="{D02670A7-E4AC-527B-5D12-EB3145F41976}"/>
                </a:ext>
              </a:extLst>
            </p:cNvPr>
            <p:cNvSpPr txBox="1"/>
            <p:nvPr/>
          </p:nvSpPr>
          <p:spPr>
            <a:xfrm>
              <a:off x="7630639" y="1181914"/>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Honeywell Sans"/>
                  <a:ea typeface="+mn-ea"/>
                  <a:cs typeface="+mn-cs"/>
                </a:rPr>
                <a:t>AK</a:t>
              </a:r>
              <a:endParaRPr kumimoji="0" lang="es-MX" sz="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93" name="Freeform 56">
              <a:extLst>
                <a:ext uri="{FF2B5EF4-FFF2-40B4-BE49-F238E27FC236}">
                  <a16:creationId xmlns:a16="http://schemas.microsoft.com/office/drawing/2014/main" id="{40F0370D-03EE-DCB1-C4BB-FA2227985AEE}"/>
                </a:ext>
              </a:extLst>
            </p:cNvPr>
            <p:cNvSpPr>
              <a:spLocks/>
            </p:cNvSpPr>
            <p:nvPr/>
          </p:nvSpPr>
          <p:spPr bwMode="auto">
            <a:xfrm rot="21097436">
              <a:off x="11690836" y="2530473"/>
              <a:ext cx="424992" cy="479896"/>
            </a:xfrm>
            <a:custGeom>
              <a:avLst/>
              <a:gdLst>
                <a:gd name="T0" fmla="*/ 1255303 w 184"/>
                <a:gd name="T1" fmla="*/ 669753 h 190"/>
                <a:gd name="T2" fmla="*/ 1170198 w 184"/>
                <a:gd name="T3" fmla="*/ 643993 h 190"/>
                <a:gd name="T4" fmla="*/ 1141830 w 184"/>
                <a:gd name="T5" fmla="*/ 689073 h 190"/>
                <a:gd name="T6" fmla="*/ 1113461 w 184"/>
                <a:gd name="T7" fmla="*/ 521634 h 190"/>
                <a:gd name="T8" fmla="*/ 1035448 w 184"/>
                <a:gd name="T9" fmla="*/ 573154 h 190"/>
                <a:gd name="T10" fmla="*/ 1014172 w 184"/>
                <a:gd name="T11" fmla="*/ 624673 h 190"/>
                <a:gd name="T12" fmla="*/ 999987 w 184"/>
                <a:gd name="T13" fmla="*/ 624673 h 190"/>
                <a:gd name="T14" fmla="*/ 1007079 w 184"/>
                <a:gd name="T15" fmla="*/ 540954 h 190"/>
                <a:gd name="T16" fmla="*/ 929066 w 184"/>
                <a:gd name="T17" fmla="*/ 457235 h 190"/>
                <a:gd name="T18" fmla="*/ 907790 w 184"/>
                <a:gd name="T19" fmla="*/ 521634 h 190"/>
                <a:gd name="T20" fmla="*/ 907790 w 184"/>
                <a:gd name="T21" fmla="*/ 547394 h 190"/>
                <a:gd name="T22" fmla="*/ 851053 w 184"/>
                <a:gd name="T23" fmla="*/ 476555 h 190"/>
                <a:gd name="T24" fmla="*/ 822685 w 184"/>
                <a:gd name="T25" fmla="*/ 360636 h 190"/>
                <a:gd name="T26" fmla="*/ 645382 w 184"/>
                <a:gd name="T27" fmla="*/ 379956 h 190"/>
                <a:gd name="T28" fmla="*/ 574461 w 184"/>
                <a:gd name="T29" fmla="*/ 457235 h 190"/>
                <a:gd name="T30" fmla="*/ 517724 w 184"/>
                <a:gd name="T31" fmla="*/ 444355 h 190"/>
                <a:gd name="T32" fmla="*/ 446803 w 184"/>
                <a:gd name="T33" fmla="*/ 470115 h 190"/>
                <a:gd name="T34" fmla="*/ 397158 w 184"/>
                <a:gd name="T35" fmla="*/ 470115 h 190"/>
                <a:gd name="T36" fmla="*/ 411342 w 184"/>
                <a:gd name="T37" fmla="*/ 431475 h 190"/>
                <a:gd name="T38" fmla="*/ 340421 w 184"/>
                <a:gd name="T39" fmla="*/ 360636 h 190"/>
                <a:gd name="T40" fmla="*/ 283684 w 184"/>
                <a:gd name="T41" fmla="*/ 399276 h 190"/>
                <a:gd name="T42" fmla="*/ 241132 w 184"/>
                <a:gd name="T43" fmla="*/ 489435 h 190"/>
                <a:gd name="T44" fmla="*/ 219855 w 184"/>
                <a:gd name="T45" fmla="*/ 367076 h 190"/>
                <a:gd name="T46" fmla="*/ 212763 w 184"/>
                <a:gd name="T47" fmla="*/ 225398 h 190"/>
                <a:gd name="T48" fmla="*/ 219855 w 184"/>
                <a:gd name="T49" fmla="*/ 77279 h 190"/>
                <a:gd name="T50" fmla="*/ 212763 w 184"/>
                <a:gd name="T51" fmla="*/ 6440 h 190"/>
                <a:gd name="T52" fmla="*/ 120566 w 184"/>
                <a:gd name="T53" fmla="*/ 32200 h 190"/>
                <a:gd name="T54" fmla="*/ 85105 w 184"/>
                <a:gd name="T55" fmla="*/ 45080 h 190"/>
                <a:gd name="T56" fmla="*/ 35461 w 184"/>
                <a:gd name="T57" fmla="*/ 115919 h 190"/>
                <a:gd name="T58" fmla="*/ 0 w 184"/>
                <a:gd name="T59" fmla="*/ 225398 h 190"/>
                <a:gd name="T60" fmla="*/ 21276 w 184"/>
                <a:gd name="T61" fmla="*/ 302677 h 190"/>
                <a:gd name="T62" fmla="*/ 14184 w 184"/>
                <a:gd name="T63" fmla="*/ 412156 h 190"/>
                <a:gd name="T64" fmla="*/ 21276 w 184"/>
                <a:gd name="T65" fmla="*/ 508755 h 190"/>
                <a:gd name="T66" fmla="*/ 49645 w 184"/>
                <a:gd name="T67" fmla="*/ 656873 h 190"/>
                <a:gd name="T68" fmla="*/ 106382 w 184"/>
                <a:gd name="T69" fmla="*/ 766352 h 190"/>
                <a:gd name="T70" fmla="*/ 56737 w 184"/>
                <a:gd name="T71" fmla="*/ 792112 h 190"/>
                <a:gd name="T72" fmla="*/ 92197 w 184"/>
                <a:gd name="T73" fmla="*/ 946670 h 190"/>
                <a:gd name="T74" fmla="*/ 78013 w 184"/>
                <a:gd name="T75" fmla="*/ 1036829 h 190"/>
                <a:gd name="T76" fmla="*/ 148934 w 184"/>
                <a:gd name="T77" fmla="*/ 1223587 h 190"/>
                <a:gd name="T78" fmla="*/ 368790 w 184"/>
                <a:gd name="T79" fmla="*/ 1088348 h 190"/>
                <a:gd name="T80" fmla="*/ 588645 w 184"/>
                <a:gd name="T81" fmla="*/ 978870 h 190"/>
                <a:gd name="T82" fmla="*/ 617013 w 184"/>
                <a:gd name="T83" fmla="*/ 946670 h 190"/>
                <a:gd name="T84" fmla="*/ 659566 w 184"/>
                <a:gd name="T85" fmla="*/ 927350 h 190"/>
                <a:gd name="T86" fmla="*/ 709211 w 184"/>
                <a:gd name="T87" fmla="*/ 972430 h 190"/>
                <a:gd name="T88" fmla="*/ 787224 w 184"/>
                <a:gd name="T89" fmla="*/ 940230 h 190"/>
                <a:gd name="T90" fmla="*/ 744671 w 184"/>
                <a:gd name="T91" fmla="*/ 1023949 h 190"/>
                <a:gd name="T92" fmla="*/ 744671 w 184"/>
                <a:gd name="T93" fmla="*/ 1088348 h 190"/>
                <a:gd name="T94" fmla="*/ 843961 w 184"/>
                <a:gd name="T95" fmla="*/ 1069029 h 190"/>
                <a:gd name="T96" fmla="*/ 907790 w 184"/>
                <a:gd name="T97" fmla="*/ 1023949 h 190"/>
                <a:gd name="T98" fmla="*/ 914882 w 184"/>
                <a:gd name="T99" fmla="*/ 946670 h 190"/>
                <a:gd name="T100" fmla="*/ 957435 w 184"/>
                <a:gd name="T101" fmla="*/ 785672 h 190"/>
                <a:gd name="T102" fmla="*/ 1028356 w 184"/>
                <a:gd name="T103" fmla="*/ 882271 h 190"/>
                <a:gd name="T104" fmla="*/ 1134737 w 184"/>
                <a:gd name="T105" fmla="*/ 888711 h 190"/>
                <a:gd name="T106" fmla="*/ 1191474 w 184"/>
                <a:gd name="T107" fmla="*/ 946670 h 190"/>
                <a:gd name="T108" fmla="*/ 1248211 w 184"/>
                <a:gd name="T109" fmla="*/ 901590 h 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84" h="190">
                  <a:moveTo>
                    <a:pt x="181" y="128"/>
                  </a:moveTo>
                  <a:cubicBezTo>
                    <a:pt x="181" y="127"/>
                    <a:pt x="180" y="126"/>
                    <a:pt x="180" y="126"/>
                  </a:cubicBezTo>
                  <a:cubicBezTo>
                    <a:pt x="177" y="119"/>
                    <a:pt x="177" y="114"/>
                    <a:pt x="177" y="106"/>
                  </a:cubicBezTo>
                  <a:cubicBezTo>
                    <a:pt x="177" y="104"/>
                    <a:pt x="177" y="104"/>
                    <a:pt x="177" y="104"/>
                  </a:cubicBezTo>
                  <a:cubicBezTo>
                    <a:pt x="178" y="101"/>
                    <a:pt x="178" y="98"/>
                    <a:pt x="178" y="96"/>
                  </a:cubicBezTo>
                  <a:cubicBezTo>
                    <a:pt x="178" y="95"/>
                    <a:pt x="177" y="92"/>
                    <a:pt x="172" y="92"/>
                  </a:cubicBezTo>
                  <a:cubicBezTo>
                    <a:pt x="172" y="92"/>
                    <a:pt x="168" y="92"/>
                    <a:pt x="167" y="94"/>
                  </a:cubicBezTo>
                  <a:cubicBezTo>
                    <a:pt x="165" y="95"/>
                    <a:pt x="165" y="98"/>
                    <a:pt x="165" y="100"/>
                  </a:cubicBezTo>
                  <a:cubicBezTo>
                    <a:pt x="165" y="100"/>
                    <a:pt x="165" y="100"/>
                    <a:pt x="164" y="101"/>
                  </a:cubicBezTo>
                  <a:cubicBezTo>
                    <a:pt x="164" y="102"/>
                    <a:pt x="164" y="102"/>
                    <a:pt x="164" y="102"/>
                  </a:cubicBezTo>
                  <a:cubicBezTo>
                    <a:pt x="164" y="106"/>
                    <a:pt x="163" y="107"/>
                    <a:pt x="162" y="107"/>
                  </a:cubicBezTo>
                  <a:cubicBezTo>
                    <a:pt x="161" y="107"/>
                    <a:pt x="161" y="107"/>
                    <a:pt x="161" y="107"/>
                  </a:cubicBezTo>
                  <a:cubicBezTo>
                    <a:pt x="159" y="105"/>
                    <a:pt x="159" y="99"/>
                    <a:pt x="159" y="97"/>
                  </a:cubicBezTo>
                  <a:cubicBezTo>
                    <a:pt x="159" y="91"/>
                    <a:pt x="159" y="91"/>
                    <a:pt x="159" y="91"/>
                  </a:cubicBezTo>
                  <a:cubicBezTo>
                    <a:pt x="159" y="91"/>
                    <a:pt x="159" y="90"/>
                    <a:pt x="159" y="90"/>
                  </a:cubicBezTo>
                  <a:cubicBezTo>
                    <a:pt x="160" y="87"/>
                    <a:pt x="160" y="83"/>
                    <a:pt x="157" y="81"/>
                  </a:cubicBezTo>
                  <a:cubicBezTo>
                    <a:pt x="156" y="81"/>
                    <a:pt x="155" y="80"/>
                    <a:pt x="154" y="80"/>
                  </a:cubicBezTo>
                  <a:cubicBezTo>
                    <a:pt x="152" y="80"/>
                    <a:pt x="150" y="81"/>
                    <a:pt x="149" y="82"/>
                  </a:cubicBezTo>
                  <a:cubicBezTo>
                    <a:pt x="147" y="83"/>
                    <a:pt x="147" y="86"/>
                    <a:pt x="146" y="87"/>
                  </a:cubicBezTo>
                  <a:cubicBezTo>
                    <a:pt x="146" y="88"/>
                    <a:pt x="146" y="89"/>
                    <a:pt x="146" y="89"/>
                  </a:cubicBezTo>
                  <a:cubicBezTo>
                    <a:pt x="146" y="90"/>
                    <a:pt x="146" y="90"/>
                    <a:pt x="146" y="90"/>
                  </a:cubicBezTo>
                  <a:cubicBezTo>
                    <a:pt x="146" y="90"/>
                    <a:pt x="145" y="90"/>
                    <a:pt x="145" y="91"/>
                  </a:cubicBezTo>
                  <a:cubicBezTo>
                    <a:pt x="145" y="91"/>
                    <a:pt x="144" y="92"/>
                    <a:pt x="144" y="93"/>
                  </a:cubicBezTo>
                  <a:cubicBezTo>
                    <a:pt x="143" y="94"/>
                    <a:pt x="143" y="96"/>
                    <a:pt x="143" y="97"/>
                  </a:cubicBezTo>
                  <a:cubicBezTo>
                    <a:pt x="143" y="100"/>
                    <a:pt x="144" y="102"/>
                    <a:pt x="145" y="105"/>
                  </a:cubicBezTo>
                  <a:cubicBezTo>
                    <a:pt x="145" y="104"/>
                    <a:pt x="145" y="104"/>
                    <a:pt x="144" y="104"/>
                  </a:cubicBezTo>
                  <a:cubicBezTo>
                    <a:pt x="143" y="102"/>
                    <a:pt x="142" y="100"/>
                    <a:pt x="141" y="98"/>
                  </a:cubicBezTo>
                  <a:cubicBezTo>
                    <a:pt x="141" y="98"/>
                    <a:pt x="141" y="98"/>
                    <a:pt x="141" y="97"/>
                  </a:cubicBezTo>
                  <a:cubicBezTo>
                    <a:pt x="141" y="97"/>
                    <a:pt x="141" y="96"/>
                    <a:pt x="141" y="96"/>
                  </a:cubicBezTo>
                  <a:cubicBezTo>
                    <a:pt x="141" y="95"/>
                    <a:pt x="141" y="94"/>
                    <a:pt x="141" y="94"/>
                  </a:cubicBezTo>
                  <a:cubicBezTo>
                    <a:pt x="141" y="93"/>
                    <a:pt x="140" y="93"/>
                    <a:pt x="140" y="92"/>
                  </a:cubicBezTo>
                  <a:cubicBezTo>
                    <a:pt x="140" y="90"/>
                    <a:pt x="141" y="87"/>
                    <a:pt x="142" y="84"/>
                  </a:cubicBezTo>
                  <a:cubicBezTo>
                    <a:pt x="143" y="83"/>
                    <a:pt x="143" y="83"/>
                    <a:pt x="143" y="83"/>
                  </a:cubicBezTo>
                  <a:cubicBezTo>
                    <a:pt x="145" y="77"/>
                    <a:pt x="147" y="72"/>
                    <a:pt x="145" y="68"/>
                  </a:cubicBezTo>
                  <a:cubicBezTo>
                    <a:pt x="144" y="67"/>
                    <a:pt x="143" y="66"/>
                    <a:pt x="140" y="66"/>
                  </a:cubicBezTo>
                  <a:cubicBezTo>
                    <a:pt x="137" y="66"/>
                    <a:pt x="133" y="68"/>
                    <a:pt x="131" y="71"/>
                  </a:cubicBezTo>
                  <a:cubicBezTo>
                    <a:pt x="130" y="73"/>
                    <a:pt x="130" y="75"/>
                    <a:pt x="130" y="76"/>
                  </a:cubicBezTo>
                  <a:cubicBezTo>
                    <a:pt x="129" y="77"/>
                    <a:pt x="129" y="78"/>
                    <a:pt x="129" y="78"/>
                  </a:cubicBezTo>
                  <a:cubicBezTo>
                    <a:pt x="129" y="79"/>
                    <a:pt x="129" y="79"/>
                    <a:pt x="129" y="79"/>
                  </a:cubicBezTo>
                  <a:cubicBezTo>
                    <a:pt x="129" y="80"/>
                    <a:pt x="128" y="80"/>
                    <a:pt x="128" y="81"/>
                  </a:cubicBezTo>
                  <a:cubicBezTo>
                    <a:pt x="128" y="82"/>
                    <a:pt x="128" y="83"/>
                    <a:pt x="128" y="84"/>
                  </a:cubicBezTo>
                  <a:cubicBezTo>
                    <a:pt x="128" y="84"/>
                    <a:pt x="128" y="84"/>
                    <a:pt x="128" y="84"/>
                  </a:cubicBezTo>
                  <a:cubicBezTo>
                    <a:pt x="128" y="84"/>
                    <a:pt x="128" y="84"/>
                    <a:pt x="128" y="84"/>
                  </a:cubicBezTo>
                  <a:cubicBezTo>
                    <a:pt x="128" y="85"/>
                    <a:pt x="128" y="85"/>
                    <a:pt x="128" y="85"/>
                  </a:cubicBezTo>
                  <a:cubicBezTo>
                    <a:pt x="128" y="84"/>
                    <a:pt x="128" y="83"/>
                    <a:pt x="128" y="83"/>
                  </a:cubicBezTo>
                  <a:cubicBezTo>
                    <a:pt x="127" y="80"/>
                    <a:pt x="127" y="78"/>
                    <a:pt x="125" y="76"/>
                  </a:cubicBezTo>
                  <a:cubicBezTo>
                    <a:pt x="124" y="74"/>
                    <a:pt x="122" y="74"/>
                    <a:pt x="121" y="74"/>
                  </a:cubicBezTo>
                  <a:cubicBezTo>
                    <a:pt x="120" y="74"/>
                    <a:pt x="120" y="74"/>
                    <a:pt x="120" y="74"/>
                  </a:cubicBezTo>
                  <a:cubicBezTo>
                    <a:pt x="117" y="73"/>
                    <a:pt x="117" y="72"/>
                    <a:pt x="116" y="67"/>
                  </a:cubicBezTo>
                  <a:cubicBezTo>
                    <a:pt x="116" y="67"/>
                    <a:pt x="116" y="67"/>
                    <a:pt x="116" y="67"/>
                  </a:cubicBezTo>
                  <a:cubicBezTo>
                    <a:pt x="116" y="65"/>
                    <a:pt x="116" y="64"/>
                    <a:pt x="116" y="63"/>
                  </a:cubicBezTo>
                  <a:cubicBezTo>
                    <a:pt x="116" y="61"/>
                    <a:pt x="117" y="59"/>
                    <a:pt x="116" y="56"/>
                  </a:cubicBezTo>
                  <a:cubicBezTo>
                    <a:pt x="113" y="51"/>
                    <a:pt x="108" y="50"/>
                    <a:pt x="104" y="50"/>
                  </a:cubicBezTo>
                  <a:cubicBezTo>
                    <a:pt x="104" y="50"/>
                    <a:pt x="104" y="50"/>
                    <a:pt x="103" y="50"/>
                  </a:cubicBezTo>
                  <a:cubicBezTo>
                    <a:pt x="98" y="50"/>
                    <a:pt x="95" y="52"/>
                    <a:pt x="93" y="56"/>
                  </a:cubicBezTo>
                  <a:cubicBezTo>
                    <a:pt x="92" y="58"/>
                    <a:pt x="92" y="59"/>
                    <a:pt x="91" y="59"/>
                  </a:cubicBezTo>
                  <a:cubicBezTo>
                    <a:pt x="90" y="59"/>
                    <a:pt x="90" y="59"/>
                    <a:pt x="90" y="60"/>
                  </a:cubicBezTo>
                  <a:cubicBezTo>
                    <a:pt x="88" y="60"/>
                    <a:pt x="86" y="60"/>
                    <a:pt x="84" y="62"/>
                  </a:cubicBezTo>
                  <a:cubicBezTo>
                    <a:pt x="82" y="64"/>
                    <a:pt x="82" y="67"/>
                    <a:pt x="81" y="69"/>
                  </a:cubicBezTo>
                  <a:cubicBezTo>
                    <a:pt x="81" y="70"/>
                    <a:pt x="81" y="71"/>
                    <a:pt x="81" y="71"/>
                  </a:cubicBezTo>
                  <a:cubicBezTo>
                    <a:pt x="80" y="72"/>
                    <a:pt x="80" y="73"/>
                    <a:pt x="80" y="73"/>
                  </a:cubicBezTo>
                  <a:cubicBezTo>
                    <a:pt x="80" y="73"/>
                    <a:pt x="79" y="73"/>
                    <a:pt x="79" y="72"/>
                  </a:cubicBezTo>
                  <a:cubicBezTo>
                    <a:pt x="78" y="71"/>
                    <a:pt x="76" y="70"/>
                    <a:pt x="74" y="69"/>
                  </a:cubicBezTo>
                  <a:cubicBezTo>
                    <a:pt x="73" y="69"/>
                    <a:pt x="73" y="69"/>
                    <a:pt x="73" y="69"/>
                  </a:cubicBezTo>
                  <a:cubicBezTo>
                    <a:pt x="72" y="69"/>
                    <a:pt x="70" y="70"/>
                    <a:pt x="69" y="71"/>
                  </a:cubicBezTo>
                  <a:cubicBezTo>
                    <a:pt x="69" y="71"/>
                    <a:pt x="69" y="71"/>
                    <a:pt x="69" y="71"/>
                  </a:cubicBezTo>
                  <a:cubicBezTo>
                    <a:pt x="68" y="71"/>
                    <a:pt x="67" y="72"/>
                    <a:pt x="67" y="72"/>
                  </a:cubicBezTo>
                  <a:cubicBezTo>
                    <a:pt x="65" y="72"/>
                    <a:pt x="64" y="73"/>
                    <a:pt x="63" y="73"/>
                  </a:cubicBezTo>
                  <a:cubicBezTo>
                    <a:pt x="62" y="74"/>
                    <a:pt x="61" y="74"/>
                    <a:pt x="60" y="74"/>
                  </a:cubicBezTo>
                  <a:cubicBezTo>
                    <a:pt x="60" y="74"/>
                    <a:pt x="59" y="74"/>
                    <a:pt x="59" y="74"/>
                  </a:cubicBezTo>
                  <a:cubicBezTo>
                    <a:pt x="58" y="74"/>
                    <a:pt x="57" y="74"/>
                    <a:pt x="56" y="73"/>
                  </a:cubicBezTo>
                  <a:cubicBezTo>
                    <a:pt x="56" y="73"/>
                    <a:pt x="56" y="73"/>
                    <a:pt x="56" y="73"/>
                  </a:cubicBezTo>
                  <a:cubicBezTo>
                    <a:pt x="56" y="73"/>
                    <a:pt x="56" y="73"/>
                    <a:pt x="56" y="73"/>
                  </a:cubicBezTo>
                  <a:cubicBezTo>
                    <a:pt x="56" y="72"/>
                    <a:pt x="56" y="71"/>
                    <a:pt x="56" y="70"/>
                  </a:cubicBezTo>
                  <a:cubicBezTo>
                    <a:pt x="57" y="70"/>
                    <a:pt x="57" y="69"/>
                    <a:pt x="57" y="69"/>
                  </a:cubicBezTo>
                  <a:cubicBezTo>
                    <a:pt x="57" y="68"/>
                    <a:pt x="57" y="68"/>
                    <a:pt x="58" y="67"/>
                  </a:cubicBezTo>
                  <a:cubicBezTo>
                    <a:pt x="59" y="65"/>
                    <a:pt x="61" y="60"/>
                    <a:pt x="57" y="57"/>
                  </a:cubicBezTo>
                  <a:cubicBezTo>
                    <a:pt x="55" y="56"/>
                    <a:pt x="53" y="56"/>
                    <a:pt x="52" y="56"/>
                  </a:cubicBezTo>
                  <a:cubicBezTo>
                    <a:pt x="50" y="56"/>
                    <a:pt x="50" y="56"/>
                    <a:pt x="50" y="56"/>
                  </a:cubicBezTo>
                  <a:cubicBezTo>
                    <a:pt x="49" y="56"/>
                    <a:pt x="48" y="56"/>
                    <a:pt x="48" y="56"/>
                  </a:cubicBezTo>
                  <a:cubicBezTo>
                    <a:pt x="47" y="56"/>
                    <a:pt x="44" y="56"/>
                    <a:pt x="43" y="58"/>
                  </a:cubicBezTo>
                  <a:cubicBezTo>
                    <a:pt x="42" y="59"/>
                    <a:pt x="42" y="60"/>
                    <a:pt x="42" y="60"/>
                  </a:cubicBezTo>
                  <a:cubicBezTo>
                    <a:pt x="42" y="61"/>
                    <a:pt x="41" y="61"/>
                    <a:pt x="41" y="61"/>
                  </a:cubicBezTo>
                  <a:cubicBezTo>
                    <a:pt x="41" y="61"/>
                    <a:pt x="41" y="61"/>
                    <a:pt x="40" y="62"/>
                  </a:cubicBezTo>
                  <a:cubicBezTo>
                    <a:pt x="38" y="62"/>
                    <a:pt x="35" y="63"/>
                    <a:pt x="35" y="67"/>
                  </a:cubicBezTo>
                  <a:cubicBezTo>
                    <a:pt x="34" y="68"/>
                    <a:pt x="34" y="69"/>
                    <a:pt x="34" y="70"/>
                  </a:cubicBezTo>
                  <a:cubicBezTo>
                    <a:pt x="34" y="72"/>
                    <a:pt x="34" y="74"/>
                    <a:pt x="34" y="76"/>
                  </a:cubicBezTo>
                  <a:cubicBezTo>
                    <a:pt x="34" y="76"/>
                    <a:pt x="34" y="76"/>
                    <a:pt x="34" y="76"/>
                  </a:cubicBezTo>
                  <a:cubicBezTo>
                    <a:pt x="34" y="77"/>
                    <a:pt x="34" y="78"/>
                    <a:pt x="33" y="79"/>
                  </a:cubicBezTo>
                  <a:cubicBezTo>
                    <a:pt x="33" y="78"/>
                    <a:pt x="32" y="76"/>
                    <a:pt x="32" y="74"/>
                  </a:cubicBezTo>
                  <a:cubicBezTo>
                    <a:pt x="31" y="70"/>
                    <a:pt x="31" y="66"/>
                    <a:pt x="31" y="62"/>
                  </a:cubicBezTo>
                  <a:cubicBezTo>
                    <a:pt x="31" y="60"/>
                    <a:pt x="31" y="59"/>
                    <a:pt x="31" y="57"/>
                  </a:cubicBezTo>
                  <a:cubicBezTo>
                    <a:pt x="31" y="56"/>
                    <a:pt x="32" y="54"/>
                    <a:pt x="32" y="53"/>
                  </a:cubicBezTo>
                  <a:cubicBezTo>
                    <a:pt x="32" y="50"/>
                    <a:pt x="32" y="47"/>
                    <a:pt x="32" y="44"/>
                  </a:cubicBezTo>
                  <a:cubicBezTo>
                    <a:pt x="31" y="42"/>
                    <a:pt x="31" y="39"/>
                    <a:pt x="30" y="37"/>
                  </a:cubicBezTo>
                  <a:cubicBezTo>
                    <a:pt x="29" y="37"/>
                    <a:pt x="29" y="36"/>
                    <a:pt x="30" y="35"/>
                  </a:cubicBezTo>
                  <a:cubicBezTo>
                    <a:pt x="33" y="32"/>
                    <a:pt x="33" y="27"/>
                    <a:pt x="32" y="23"/>
                  </a:cubicBezTo>
                  <a:cubicBezTo>
                    <a:pt x="32" y="19"/>
                    <a:pt x="29" y="17"/>
                    <a:pt x="25" y="17"/>
                  </a:cubicBezTo>
                  <a:cubicBezTo>
                    <a:pt x="26" y="16"/>
                    <a:pt x="27" y="16"/>
                    <a:pt x="27" y="16"/>
                  </a:cubicBezTo>
                  <a:cubicBezTo>
                    <a:pt x="29" y="15"/>
                    <a:pt x="31" y="14"/>
                    <a:pt x="31" y="12"/>
                  </a:cubicBezTo>
                  <a:cubicBezTo>
                    <a:pt x="32" y="11"/>
                    <a:pt x="32" y="9"/>
                    <a:pt x="32" y="8"/>
                  </a:cubicBezTo>
                  <a:cubicBezTo>
                    <a:pt x="32" y="8"/>
                    <a:pt x="31" y="7"/>
                    <a:pt x="31" y="7"/>
                  </a:cubicBezTo>
                  <a:cubicBezTo>
                    <a:pt x="31" y="7"/>
                    <a:pt x="32" y="7"/>
                    <a:pt x="32" y="6"/>
                  </a:cubicBezTo>
                  <a:cubicBezTo>
                    <a:pt x="32" y="6"/>
                    <a:pt x="32" y="3"/>
                    <a:pt x="30" y="1"/>
                  </a:cubicBezTo>
                  <a:cubicBezTo>
                    <a:pt x="28" y="0"/>
                    <a:pt x="27" y="0"/>
                    <a:pt x="26" y="0"/>
                  </a:cubicBezTo>
                  <a:cubicBezTo>
                    <a:pt x="23" y="0"/>
                    <a:pt x="21" y="1"/>
                    <a:pt x="19" y="2"/>
                  </a:cubicBezTo>
                  <a:cubicBezTo>
                    <a:pt x="18" y="3"/>
                    <a:pt x="18" y="4"/>
                    <a:pt x="17" y="5"/>
                  </a:cubicBezTo>
                  <a:cubicBezTo>
                    <a:pt x="17" y="5"/>
                    <a:pt x="17" y="5"/>
                    <a:pt x="17" y="5"/>
                  </a:cubicBezTo>
                  <a:cubicBezTo>
                    <a:pt x="17" y="5"/>
                    <a:pt x="17" y="5"/>
                    <a:pt x="17" y="5"/>
                  </a:cubicBezTo>
                  <a:cubicBezTo>
                    <a:pt x="17" y="5"/>
                    <a:pt x="17" y="5"/>
                    <a:pt x="16" y="5"/>
                  </a:cubicBezTo>
                  <a:cubicBezTo>
                    <a:pt x="15" y="5"/>
                    <a:pt x="14" y="5"/>
                    <a:pt x="13" y="6"/>
                  </a:cubicBezTo>
                  <a:cubicBezTo>
                    <a:pt x="13" y="6"/>
                    <a:pt x="12" y="7"/>
                    <a:pt x="12" y="7"/>
                  </a:cubicBezTo>
                  <a:cubicBezTo>
                    <a:pt x="11" y="8"/>
                    <a:pt x="10" y="9"/>
                    <a:pt x="10" y="10"/>
                  </a:cubicBezTo>
                  <a:cubicBezTo>
                    <a:pt x="9" y="11"/>
                    <a:pt x="9" y="11"/>
                    <a:pt x="9" y="11"/>
                  </a:cubicBezTo>
                  <a:cubicBezTo>
                    <a:pt x="8" y="13"/>
                    <a:pt x="7" y="15"/>
                    <a:pt x="6" y="16"/>
                  </a:cubicBezTo>
                  <a:cubicBezTo>
                    <a:pt x="6" y="16"/>
                    <a:pt x="5" y="17"/>
                    <a:pt x="5" y="18"/>
                  </a:cubicBezTo>
                  <a:cubicBezTo>
                    <a:pt x="3" y="19"/>
                    <a:pt x="2" y="20"/>
                    <a:pt x="1" y="21"/>
                  </a:cubicBezTo>
                  <a:cubicBezTo>
                    <a:pt x="0" y="23"/>
                    <a:pt x="0" y="26"/>
                    <a:pt x="0" y="27"/>
                  </a:cubicBezTo>
                  <a:cubicBezTo>
                    <a:pt x="0" y="28"/>
                    <a:pt x="0" y="30"/>
                    <a:pt x="0" y="30"/>
                  </a:cubicBezTo>
                  <a:cubicBezTo>
                    <a:pt x="0" y="32"/>
                    <a:pt x="0" y="34"/>
                    <a:pt x="0" y="35"/>
                  </a:cubicBezTo>
                  <a:cubicBezTo>
                    <a:pt x="0" y="36"/>
                    <a:pt x="0" y="37"/>
                    <a:pt x="0" y="37"/>
                  </a:cubicBezTo>
                  <a:cubicBezTo>
                    <a:pt x="0" y="38"/>
                    <a:pt x="0" y="38"/>
                    <a:pt x="0" y="38"/>
                  </a:cubicBezTo>
                  <a:cubicBezTo>
                    <a:pt x="0" y="39"/>
                    <a:pt x="0" y="41"/>
                    <a:pt x="1" y="43"/>
                  </a:cubicBezTo>
                  <a:cubicBezTo>
                    <a:pt x="2" y="44"/>
                    <a:pt x="3" y="45"/>
                    <a:pt x="3" y="47"/>
                  </a:cubicBezTo>
                  <a:cubicBezTo>
                    <a:pt x="3" y="48"/>
                    <a:pt x="3" y="49"/>
                    <a:pt x="2" y="50"/>
                  </a:cubicBezTo>
                  <a:cubicBezTo>
                    <a:pt x="1" y="52"/>
                    <a:pt x="1" y="54"/>
                    <a:pt x="1" y="56"/>
                  </a:cubicBezTo>
                  <a:cubicBezTo>
                    <a:pt x="0" y="59"/>
                    <a:pt x="1" y="61"/>
                    <a:pt x="1" y="62"/>
                  </a:cubicBezTo>
                  <a:cubicBezTo>
                    <a:pt x="1" y="63"/>
                    <a:pt x="1" y="64"/>
                    <a:pt x="2" y="64"/>
                  </a:cubicBezTo>
                  <a:cubicBezTo>
                    <a:pt x="2" y="66"/>
                    <a:pt x="2" y="68"/>
                    <a:pt x="2" y="70"/>
                  </a:cubicBezTo>
                  <a:cubicBezTo>
                    <a:pt x="2" y="71"/>
                    <a:pt x="2" y="71"/>
                    <a:pt x="2" y="71"/>
                  </a:cubicBezTo>
                  <a:cubicBezTo>
                    <a:pt x="2" y="73"/>
                    <a:pt x="3" y="75"/>
                    <a:pt x="3" y="77"/>
                  </a:cubicBezTo>
                  <a:cubicBezTo>
                    <a:pt x="3" y="77"/>
                    <a:pt x="3" y="78"/>
                    <a:pt x="3" y="79"/>
                  </a:cubicBezTo>
                  <a:cubicBezTo>
                    <a:pt x="4" y="82"/>
                    <a:pt x="4" y="85"/>
                    <a:pt x="4" y="88"/>
                  </a:cubicBezTo>
                  <a:cubicBezTo>
                    <a:pt x="4" y="89"/>
                    <a:pt x="4" y="90"/>
                    <a:pt x="4" y="91"/>
                  </a:cubicBezTo>
                  <a:cubicBezTo>
                    <a:pt x="4" y="94"/>
                    <a:pt x="5" y="97"/>
                    <a:pt x="6" y="100"/>
                  </a:cubicBezTo>
                  <a:cubicBezTo>
                    <a:pt x="6" y="101"/>
                    <a:pt x="7" y="101"/>
                    <a:pt x="7" y="102"/>
                  </a:cubicBezTo>
                  <a:cubicBezTo>
                    <a:pt x="6" y="102"/>
                    <a:pt x="6" y="103"/>
                    <a:pt x="5" y="104"/>
                  </a:cubicBezTo>
                  <a:cubicBezTo>
                    <a:pt x="3" y="107"/>
                    <a:pt x="3" y="113"/>
                    <a:pt x="6" y="116"/>
                  </a:cubicBezTo>
                  <a:cubicBezTo>
                    <a:pt x="8" y="118"/>
                    <a:pt x="11" y="118"/>
                    <a:pt x="13" y="118"/>
                  </a:cubicBezTo>
                  <a:cubicBezTo>
                    <a:pt x="14" y="118"/>
                    <a:pt x="15" y="118"/>
                    <a:pt x="15" y="119"/>
                  </a:cubicBezTo>
                  <a:cubicBezTo>
                    <a:pt x="16" y="119"/>
                    <a:pt x="16" y="120"/>
                    <a:pt x="16" y="121"/>
                  </a:cubicBezTo>
                  <a:cubicBezTo>
                    <a:pt x="16" y="121"/>
                    <a:pt x="16" y="121"/>
                    <a:pt x="15" y="121"/>
                  </a:cubicBezTo>
                  <a:cubicBezTo>
                    <a:pt x="15" y="121"/>
                    <a:pt x="14" y="121"/>
                    <a:pt x="14" y="121"/>
                  </a:cubicBezTo>
                  <a:cubicBezTo>
                    <a:pt x="11" y="121"/>
                    <a:pt x="10" y="122"/>
                    <a:pt x="8" y="123"/>
                  </a:cubicBezTo>
                  <a:cubicBezTo>
                    <a:pt x="4" y="127"/>
                    <a:pt x="4" y="132"/>
                    <a:pt x="4" y="135"/>
                  </a:cubicBezTo>
                  <a:cubicBezTo>
                    <a:pt x="4" y="135"/>
                    <a:pt x="4" y="135"/>
                    <a:pt x="4" y="136"/>
                  </a:cubicBezTo>
                  <a:cubicBezTo>
                    <a:pt x="4" y="137"/>
                    <a:pt x="4" y="138"/>
                    <a:pt x="4" y="140"/>
                  </a:cubicBezTo>
                  <a:cubicBezTo>
                    <a:pt x="5" y="143"/>
                    <a:pt x="10" y="147"/>
                    <a:pt x="13" y="147"/>
                  </a:cubicBezTo>
                  <a:cubicBezTo>
                    <a:pt x="13" y="147"/>
                    <a:pt x="14" y="147"/>
                    <a:pt x="14" y="147"/>
                  </a:cubicBezTo>
                  <a:cubicBezTo>
                    <a:pt x="14" y="147"/>
                    <a:pt x="14" y="147"/>
                    <a:pt x="15" y="147"/>
                  </a:cubicBezTo>
                  <a:cubicBezTo>
                    <a:pt x="15" y="147"/>
                    <a:pt x="15" y="148"/>
                    <a:pt x="15" y="148"/>
                  </a:cubicBezTo>
                  <a:cubicBezTo>
                    <a:pt x="15" y="152"/>
                    <a:pt x="13" y="157"/>
                    <a:pt x="11" y="161"/>
                  </a:cubicBezTo>
                  <a:cubicBezTo>
                    <a:pt x="10" y="162"/>
                    <a:pt x="9" y="163"/>
                    <a:pt x="9" y="164"/>
                  </a:cubicBezTo>
                  <a:cubicBezTo>
                    <a:pt x="6" y="170"/>
                    <a:pt x="5" y="179"/>
                    <a:pt x="9" y="185"/>
                  </a:cubicBezTo>
                  <a:cubicBezTo>
                    <a:pt x="10" y="187"/>
                    <a:pt x="13" y="190"/>
                    <a:pt x="19" y="190"/>
                  </a:cubicBezTo>
                  <a:cubicBezTo>
                    <a:pt x="19" y="190"/>
                    <a:pt x="20" y="190"/>
                    <a:pt x="21" y="190"/>
                  </a:cubicBezTo>
                  <a:cubicBezTo>
                    <a:pt x="26" y="190"/>
                    <a:pt x="29" y="186"/>
                    <a:pt x="32" y="182"/>
                  </a:cubicBezTo>
                  <a:cubicBezTo>
                    <a:pt x="32" y="182"/>
                    <a:pt x="33" y="181"/>
                    <a:pt x="33" y="181"/>
                  </a:cubicBezTo>
                  <a:cubicBezTo>
                    <a:pt x="36" y="177"/>
                    <a:pt x="39" y="175"/>
                    <a:pt x="43" y="173"/>
                  </a:cubicBezTo>
                  <a:cubicBezTo>
                    <a:pt x="46" y="172"/>
                    <a:pt x="48" y="171"/>
                    <a:pt x="52" y="169"/>
                  </a:cubicBezTo>
                  <a:cubicBezTo>
                    <a:pt x="54" y="169"/>
                    <a:pt x="57" y="168"/>
                    <a:pt x="59" y="167"/>
                  </a:cubicBezTo>
                  <a:cubicBezTo>
                    <a:pt x="62" y="166"/>
                    <a:pt x="65" y="165"/>
                    <a:pt x="68" y="164"/>
                  </a:cubicBezTo>
                  <a:cubicBezTo>
                    <a:pt x="73" y="163"/>
                    <a:pt x="78" y="161"/>
                    <a:pt x="81" y="156"/>
                  </a:cubicBezTo>
                  <a:cubicBezTo>
                    <a:pt x="82" y="155"/>
                    <a:pt x="82" y="153"/>
                    <a:pt x="83" y="152"/>
                  </a:cubicBezTo>
                  <a:cubicBezTo>
                    <a:pt x="83" y="152"/>
                    <a:pt x="83" y="151"/>
                    <a:pt x="84" y="151"/>
                  </a:cubicBezTo>
                  <a:cubicBezTo>
                    <a:pt x="84" y="150"/>
                    <a:pt x="84" y="150"/>
                    <a:pt x="84" y="150"/>
                  </a:cubicBezTo>
                  <a:cubicBezTo>
                    <a:pt x="85" y="148"/>
                    <a:pt x="85" y="148"/>
                    <a:pt x="86" y="148"/>
                  </a:cubicBezTo>
                  <a:cubicBezTo>
                    <a:pt x="86" y="147"/>
                    <a:pt x="87" y="147"/>
                    <a:pt x="87" y="147"/>
                  </a:cubicBezTo>
                  <a:cubicBezTo>
                    <a:pt x="88" y="147"/>
                    <a:pt x="89" y="147"/>
                    <a:pt x="89" y="146"/>
                  </a:cubicBezTo>
                  <a:cubicBezTo>
                    <a:pt x="91" y="145"/>
                    <a:pt x="92" y="144"/>
                    <a:pt x="92" y="144"/>
                  </a:cubicBezTo>
                  <a:cubicBezTo>
                    <a:pt x="92" y="143"/>
                    <a:pt x="93" y="143"/>
                    <a:pt x="93" y="143"/>
                  </a:cubicBezTo>
                  <a:cubicBezTo>
                    <a:pt x="93" y="143"/>
                    <a:pt x="93" y="144"/>
                    <a:pt x="93" y="144"/>
                  </a:cubicBezTo>
                  <a:cubicBezTo>
                    <a:pt x="93" y="145"/>
                    <a:pt x="93" y="145"/>
                    <a:pt x="93" y="145"/>
                  </a:cubicBezTo>
                  <a:cubicBezTo>
                    <a:pt x="93" y="146"/>
                    <a:pt x="93" y="149"/>
                    <a:pt x="96" y="150"/>
                  </a:cubicBezTo>
                  <a:cubicBezTo>
                    <a:pt x="96" y="151"/>
                    <a:pt x="97" y="151"/>
                    <a:pt x="98" y="151"/>
                  </a:cubicBezTo>
                  <a:cubicBezTo>
                    <a:pt x="99" y="151"/>
                    <a:pt x="99" y="151"/>
                    <a:pt x="100" y="151"/>
                  </a:cubicBezTo>
                  <a:cubicBezTo>
                    <a:pt x="100" y="151"/>
                    <a:pt x="100" y="151"/>
                    <a:pt x="100" y="151"/>
                  </a:cubicBezTo>
                  <a:cubicBezTo>
                    <a:pt x="104" y="151"/>
                    <a:pt x="108" y="149"/>
                    <a:pt x="110" y="146"/>
                  </a:cubicBezTo>
                  <a:cubicBezTo>
                    <a:pt x="110" y="145"/>
                    <a:pt x="110" y="145"/>
                    <a:pt x="110" y="145"/>
                  </a:cubicBezTo>
                  <a:cubicBezTo>
                    <a:pt x="111" y="146"/>
                    <a:pt x="111" y="146"/>
                    <a:pt x="111" y="146"/>
                  </a:cubicBezTo>
                  <a:cubicBezTo>
                    <a:pt x="112" y="147"/>
                    <a:pt x="113" y="147"/>
                    <a:pt x="113" y="147"/>
                  </a:cubicBezTo>
                  <a:cubicBezTo>
                    <a:pt x="113" y="148"/>
                    <a:pt x="113" y="149"/>
                    <a:pt x="111" y="151"/>
                  </a:cubicBezTo>
                  <a:cubicBezTo>
                    <a:pt x="110" y="153"/>
                    <a:pt x="109" y="155"/>
                    <a:pt x="107" y="157"/>
                  </a:cubicBezTo>
                  <a:cubicBezTo>
                    <a:pt x="107" y="158"/>
                    <a:pt x="106" y="158"/>
                    <a:pt x="105" y="159"/>
                  </a:cubicBezTo>
                  <a:cubicBezTo>
                    <a:pt x="104" y="162"/>
                    <a:pt x="104" y="163"/>
                    <a:pt x="104" y="165"/>
                  </a:cubicBezTo>
                  <a:cubicBezTo>
                    <a:pt x="105" y="166"/>
                    <a:pt x="105" y="166"/>
                    <a:pt x="105" y="166"/>
                  </a:cubicBezTo>
                  <a:cubicBezTo>
                    <a:pt x="105" y="166"/>
                    <a:pt x="105" y="166"/>
                    <a:pt x="105" y="167"/>
                  </a:cubicBezTo>
                  <a:cubicBezTo>
                    <a:pt x="105" y="167"/>
                    <a:pt x="105" y="168"/>
                    <a:pt x="105" y="169"/>
                  </a:cubicBezTo>
                  <a:cubicBezTo>
                    <a:pt x="105" y="171"/>
                    <a:pt x="107" y="172"/>
                    <a:pt x="110" y="172"/>
                  </a:cubicBezTo>
                  <a:cubicBezTo>
                    <a:pt x="112" y="172"/>
                    <a:pt x="114" y="172"/>
                    <a:pt x="115" y="171"/>
                  </a:cubicBezTo>
                  <a:cubicBezTo>
                    <a:pt x="116" y="170"/>
                    <a:pt x="117" y="169"/>
                    <a:pt x="118" y="168"/>
                  </a:cubicBezTo>
                  <a:cubicBezTo>
                    <a:pt x="118" y="167"/>
                    <a:pt x="119" y="167"/>
                    <a:pt x="119" y="166"/>
                  </a:cubicBezTo>
                  <a:cubicBezTo>
                    <a:pt x="120" y="166"/>
                    <a:pt x="121" y="166"/>
                    <a:pt x="121" y="166"/>
                  </a:cubicBezTo>
                  <a:cubicBezTo>
                    <a:pt x="123" y="166"/>
                    <a:pt x="125" y="165"/>
                    <a:pt x="126" y="164"/>
                  </a:cubicBezTo>
                  <a:cubicBezTo>
                    <a:pt x="127" y="162"/>
                    <a:pt x="128" y="161"/>
                    <a:pt x="128" y="160"/>
                  </a:cubicBezTo>
                  <a:cubicBezTo>
                    <a:pt x="128" y="159"/>
                    <a:pt x="128" y="159"/>
                    <a:pt x="128" y="159"/>
                  </a:cubicBezTo>
                  <a:cubicBezTo>
                    <a:pt x="128" y="158"/>
                    <a:pt x="129" y="157"/>
                    <a:pt x="129" y="156"/>
                  </a:cubicBezTo>
                  <a:cubicBezTo>
                    <a:pt x="129" y="155"/>
                    <a:pt x="129" y="155"/>
                    <a:pt x="129" y="155"/>
                  </a:cubicBezTo>
                  <a:cubicBezTo>
                    <a:pt x="129" y="154"/>
                    <a:pt x="129" y="153"/>
                    <a:pt x="130" y="152"/>
                  </a:cubicBezTo>
                  <a:cubicBezTo>
                    <a:pt x="130" y="150"/>
                    <a:pt x="129" y="149"/>
                    <a:pt x="129" y="147"/>
                  </a:cubicBezTo>
                  <a:cubicBezTo>
                    <a:pt x="129" y="147"/>
                    <a:pt x="128" y="147"/>
                    <a:pt x="128" y="146"/>
                  </a:cubicBezTo>
                  <a:cubicBezTo>
                    <a:pt x="127" y="142"/>
                    <a:pt x="127" y="138"/>
                    <a:pt x="129" y="135"/>
                  </a:cubicBezTo>
                  <a:cubicBezTo>
                    <a:pt x="130" y="134"/>
                    <a:pt x="131" y="133"/>
                    <a:pt x="131" y="132"/>
                  </a:cubicBezTo>
                  <a:cubicBezTo>
                    <a:pt x="133" y="130"/>
                    <a:pt x="135" y="127"/>
                    <a:pt x="135" y="122"/>
                  </a:cubicBezTo>
                  <a:cubicBezTo>
                    <a:pt x="135" y="121"/>
                    <a:pt x="135" y="120"/>
                    <a:pt x="135" y="118"/>
                  </a:cubicBezTo>
                  <a:cubicBezTo>
                    <a:pt x="134" y="117"/>
                    <a:pt x="134" y="116"/>
                    <a:pt x="134" y="115"/>
                  </a:cubicBezTo>
                  <a:cubicBezTo>
                    <a:pt x="134" y="115"/>
                    <a:pt x="134" y="115"/>
                    <a:pt x="134" y="115"/>
                  </a:cubicBezTo>
                  <a:cubicBezTo>
                    <a:pt x="142" y="116"/>
                    <a:pt x="145" y="130"/>
                    <a:pt x="145" y="137"/>
                  </a:cubicBezTo>
                  <a:cubicBezTo>
                    <a:pt x="145" y="141"/>
                    <a:pt x="147" y="148"/>
                    <a:pt x="152" y="148"/>
                  </a:cubicBezTo>
                  <a:cubicBezTo>
                    <a:pt x="154" y="148"/>
                    <a:pt x="156" y="146"/>
                    <a:pt x="158" y="143"/>
                  </a:cubicBezTo>
                  <a:cubicBezTo>
                    <a:pt x="159" y="141"/>
                    <a:pt x="159" y="140"/>
                    <a:pt x="160" y="138"/>
                  </a:cubicBezTo>
                  <a:cubicBezTo>
                    <a:pt x="160" y="138"/>
                    <a:pt x="160" y="138"/>
                    <a:pt x="160" y="138"/>
                  </a:cubicBezTo>
                  <a:cubicBezTo>
                    <a:pt x="160" y="139"/>
                    <a:pt x="161" y="140"/>
                    <a:pt x="161" y="140"/>
                  </a:cubicBezTo>
                  <a:cubicBezTo>
                    <a:pt x="162" y="140"/>
                    <a:pt x="162" y="141"/>
                    <a:pt x="162" y="141"/>
                  </a:cubicBezTo>
                  <a:cubicBezTo>
                    <a:pt x="162" y="142"/>
                    <a:pt x="162" y="142"/>
                    <a:pt x="162" y="143"/>
                  </a:cubicBezTo>
                  <a:cubicBezTo>
                    <a:pt x="163" y="145"/>
                    <a:pt x="166" y="147"/>
                    <a:pt x="168" y="147"/>
                  </a:cubicBezTo>
                  <a:cubicBezTo>
                    <a:pt x="170" y="147"/>
                    <a:pt x="172" y="147"/>
                    <a:pt x="172" y="145"/>
                  </a:cubicBezTo>
                  <a:cubicBezTo>
                    <a:pt x="173" y="144"/>
                    <a:pt x="173" y="143"/>
                    <a:pt x="173" y="142"/>
                  </a:cubicBezTo>
                  <a:cubicBezTo>
                    <a:pt x="174" y="141"/>
                    <a:pt x="174" y="141"/>
                    <a:pt x="174" y="140"/>
                  </a:cubicBezTo>
                  <a:cubicBezTo>
                    <a:pt x="175" y="140"/>
                    <a:pt x="176" y="140"/>
                    <a:pt x="176" y="140"/>
                  </a:cubicBezTo>
                  <a:cubicBezTo>
                    <a:pt x="178" y="139"/>
                    <a:pt x="180" y="138"/>
                    <a:pt x="181" y="137"/>
                  </a:cubicBezTo>
                  <a:cubicBezTo>
                    <a:pt x="184" y="133"/>
                    <a:pt x="182" y="130"/>
                    <a:pt x="181" y="128"/>
                  </a:cubicBezTo>
                  <a:close/>
                </a:path>
              </a:pathLst>
            </a:custGeom>
            <a:solidFill>
              <a:srgbClr val="C63AB5"/>
            </a:solidFill>
            <a:ln w="3175" cap="rnd">
              <a:solidFill>
                <a:schemeClr val="bg1"/>
              </a:solidFill>
              <a:prstDash val="solid"/>
              <a:round/>
              <a:headEnd/>
              <a:tailEnd/>
            </a:ln>
          </p:spPr>
          <p:txBody>
            <a:bodyPr lIns="45711" tIns="22856" rIns="45711" bIns="22856"/>
            <a:lstStyle/>
            <a:p>
              <a:pPr marL="0" marR="0" lvl="0" indent="0" algn="l" defTabSz="913607"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oneywell Sans"/>
                <a:ea typeface="+mn-ea"/>
                <a:cs typeface="+mn-cs"/>
              </a:endParaRPr>
            </a:p>
          </p:txBody>
        </p:sp>
      </p:grpSp>
      <p:grpSp>
        <p:nvGrpSpPr>
          <p:cNvPr id="655" name="Group 654">
            <a:extLst>
              <a:ext uri="{FF2B5EF4-FFF2-40B4-BE49-F238E27FC236}">
                <a16:creationId xmlns:a16="http://schemas.microsoft.com/office/drawing/2014/main" id="{4988A6E6-2032-76A3-CE81-E48204C6977B}"/>
              </a:ext>
            </a:extLst>
          </p:cNvPr>
          <p:cNvGrpSpPr/>
          <p:nvPr/>
        </p:nvGrpSpPr>
        <p:grpSpPr>
          <a:xfrm>
            <a:off x="231597" y="214825"/>
            <a:ext cx="3494086" cy="861774"/>
            <a:chOff x="476445" y="5462559"/>
            <a:chExt cx="3494086" cy="861774"/>
          </a:xfrm>
        </p:grpSpPr>
        <p:sp>
          <p:nvSpPr>
            <p:cNvPr id="5" name="TextBox 4">
              <a:extLst>
                <a:ext uri="{FF2B5EF4-FFF2-40B4-BE49-F238E27FC236}">
                  <a16:creationId xmlns:a16="http://schemas.microsoft.com/office/drawing/2014/main" id="{5AE5D436-FC39-9816-E5D7-7645889A6A13}"/>
                </a:ext>
              </a:extLst>
            </p:cNvPr>
            <p:cNvSpPr txBox="1"/>
            <p:nvPr/>
          </p:nvSpPr>
          <p:spPr>
            <a:xfrm>
              <a:off x="1217009" y="5462559"/>
              <a:ext cx="275352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Rod Kenn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r Director, C&amp;PS – BGA Aftermark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Phoenix, A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1 602-228-728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Rod.Kennan@honeywell.com</a:t>
              </a:r>
            </a:p>
          </p:txBody>
        </p:sp>
        <p:pic>
          <p:nvPicPr>
            <p:cNvPr id="6" name="Picture 5">
              <a:extLst>
                <a:ext uri="{FF2B5EF4-FFF2-40B4-BE49-F238E27FC236}">
                  <a16:creationId xmlns:a16="http://schemas.microsoft.com/office/drawing/2014/main" id="{4A067C81-765A-66A9-F9AB-56DF83A7E705}"/>
                </a:ext>
              </a:extLst>
            </p:cNvPr>
            <p:cNvPicPr>
              <a:picLocks noChangeAspect="1"/>
            </p:cNvPicPr>
            <p:nvPr/>
          </p:nvPicPr>
          <p:blipFill>
            <a:blip r:embed="rId7"/>
            <a:stretch>
              <a:fillRect/>
            </a:stretch>
          </p:blipFill>
          <p:spPr>
            <a:xfrm>
              <a:off x="476445" y="5500844"/>
              <a:ext cx="696944" cy="75608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pic>
        <p:nvPicPr>
          <p:cNvPr id="3" name="Picture 2" descr="A qr code with text&#10;&#10;Description automatically generated">
            <a:extLst>
              <a:ext uri="{FF2B5EF4-FFF2-40B4-BE49-F238E27FC236}">
                <a16:creationId xmlns:a16="http://schemas.microsoft.com/office/drawing/2014/main" id="{0D624D48-9402-4880-1E8E-3143BC49E03C}"/>
              </a:ext>
            </a:extLst>
          </p:cNvPr>
          <p:cNvPicPr>
            <a:picLocks noChangeAspect="1"/>
          </p:cNvPicPr>
          <p:nvPr/>
        </p:nvPicPr>
        <p:blipFill>
          <a:blip r:embed="rId8"/>
          <a:stretch>
            <a:fillRect/>
          </a:stretch>
        </p:blipFill>
        <p:spPr>
          <a:xfrm>
            <a:off x="9956653" y="5656392"/>
            <a:ext cx="2047875" cy="1047750"/>
          </a:xfrm>
          <a:prstGeom prst="rect">
            <a:avLst/>
          </a:prstGeom>
        </p:spPr>
      </p:pic>
      <p:pic>
        <p:nvPicPr>
          <p:cNvPr id="19" name="Picture 18">
            <a:extLst>
              <a:ext uri="{FF2B5EF4-FFF2-40B4-BE49-F238E27FC236}">
                <a16:creationId xmlns:a16="http://schemas.microsoft.com/office/drawing/2014/main" id="{4711E28E-52E1-E907-6A2A-13F38BD72EA6}"/>
              </a:ext>
            </a:extLst>
          </p:cNvPr>
          <p:cNvPicPr>
            <a:picLocks noChangeAspect="1"/>
          </p:cNvPicPr>
          <p:nvPr/>
        </p:nvPicPr>
        <p:blipFill rotWithShape="1">
          <a:blip r:embed="rId9"/>
          <a:srcRect l="23617" t="9680" r="22934" b="32492"/>
          <a:stretch/>
        </p:blipFill>
        <p:spPr>
          <a:xfrm>
            <a:off x="1075109" y="2320499"/>
            <a:ext cx="729446" cy="78920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icture 19">
            <a:extLst>
              <a:ext uri="{FF2B5EF4-FFF2-40B4-BE49-F238E27FC236}">
                <a16:creationId xmlns:a16="http://schemas.microsoft.com/office/drawing/2014/main" id="{9973CF7B-2D49-92AE-C6DB-E051ACD74254}"/>
              </a:ext>
            </a:extLst>
          </p:cNvPr>
          <p:cNvPicPr>
            <a:picLocks noChangeAspect="1"/>
          </p:cNvPicPr>
          <p:nvPr/>
        </p:nvPicPr>
        <p:blipFill>
          <a:blip r:embed="rId10"/>
          <a:stretch>
            <a:fillRect/>
          </a:stretch>
        </p:blipFill>
        <p:spPr>
          <a:xfrm>
            <a:off x="4576211" y="4920512"/>
            <a:ext cx="767242" cy="79366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TextBox 20">
            <a:extLst>
              <a:ext uri="{FF2B5EF4-FFF2-40B4-BE49-F238E27FC236}">
                <a16:creationId xmlns:a16="http://schemas.microsoft.com/office/drawing/2014/main" id="{0C832809-EA27-D8D3-73EF-5A1E53150073}"/>
              </a:ext>
            </a:extLst>
          </p:cNvPr>
          <p:cNvSpPr txBox="1"/>
          <p:nvPr/>
        </p:nvSpPr>
        <p:spPr>
          <a:xfrm>
            <a:off x="5269607" y="4914483"/>
            <a:ext cx="2157464"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Danielle Riche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r. Customer Suppor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Phoenix, A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602) 989-04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Danielle.Richeti@Honeywell.com</a:t>
            </a:r>
            <a:endParaRPr kumimoji="0" lang="cs-CZ"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p:txBody>
      </p:sp>
      <p:sp>
        <p:nvSpPr>
          <p:cNvPr id="22" name="Arrow: Chevron 21">
            <a:extLst>
              <a:ext uri="{FF2B5EF4-FFF2-40B4-BE49-F238E27FC236}">
                <a16:creationId xmlns:a16="http://schemas.microsoft.com/office/drawing/2014/main" id="{2F6298D8-8856-0219-EDDD-C076DB51100C}"/>
              </a:ext>
            </a:extLst>
          </p:cNvPr>
          <p:cNvSpPr/>
          <p:nvPr/>
        </p:nvSpPr>
        <p:spPr>
          <a:xfrm>
            <a:off x="7342456" y="5027801"/>
            <a:ext cx="322887" cy="704879"/>
          </a:xfrm>
          <a:prstGeom prst="chevron">
            <a:avLst>
              <a:gd name="adj" fmla="val 76165"/>
            </a:avLst>
          </a:prstGeom>
          <a:solidFill>
            <a:srgbClr val="FFFF00"/>
          </a:solid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Box 22">
            <a:extLst>
              <a:ext uri="{FF2B5EF4-FFF2-40B4-BE49-F238E27FC236}">
                <a16:creationId xmlns:a16="http://schemas.microsoft.com/office/drawing/2014/main" id="{31914C4F-C6A7-9A67-DEB7-61978AFF861F}"/>
              </a:ext>
            </a:extLst>
          </p:cNvPr>
          <p:cNvSpPr txBox="1"/>
          <p:nvPr/>
        </p:nvSpPr>
        <p:spPr>
          <a:xfrm>
            <a:off x="1763349" y="2358699"/>
            <a:ext cx="227581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Honeywell Sans Web" panose="02010503040101060203" pitchFamily="2" charset="0"/>
                <a:ea typeface="+mn-ea"/>
                <a:cs typeface="+mn-cs"/>
              </a:rPr>
              <a:t>Brian Ba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prstClr val="black"/>
                </a:solidFill>
                <a:effectLst/>
                <a:uLnTx/>
                <a:uFillTx/>
                <a:latin typeface="Honeywell Sans Web" panose="02010503040101060203" pitchFamily="2" charset="0"/>
                <a:ea typeface="+mn-ea"/>
                <a:cs typeface="+mn-cs"/>
              </a:rPr>
              <a:t>Phoenix, A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Honeywell Sans Web" panose="02010503040101060203" pitchFamily="2" charset="0"/>
                <a:ea typeface="+mn-ea"/>
                <a:cs typeface="+mn-cs"/>
              </a:rPr>
              <a:t>Mobile:  623 670 23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Honeywell Sans Web" panose="02010503040101060203" pitchFamily="2" charset="0"/>
                <a:ea typeface="+mn-ea"/>
                <a:cs typeface="+mn-cs"/>
              </a:rPr>
              <a:t>Brian.Baker3@Honeywell.com </a:t>
            </a:r>
          </a:p>
        </p:txBody>
      </p:sp>
      <p:sp>
        <p:nvSpPr>
          <p:cNvPr id="24" name="Arrow: Chevron 23">
            <a:extLst>
              <a:ext uri="{FF2B5EF4-FFF2-40B4-BE49-F238E27FC236}">
                <a16:creationId xmlns:a16="http://schemas.microsoft.com/office/drawing/2014/main" id="{84BFF99C-0A58-A123-80A2-5DF30066A954}"/>
              </a:ext>
            </a:extLst>
          </p:cNvPr>
          <p:cNvSpPr/>
          <p:nvPr/>
        </p:nvSpPr>
        <p:spPr>
          <a:xfrm>
            <a:off x="3646517" y="2366902"/>
            <a:ext cx="232131" cy="704879"/>
          </a:xfrm>
          <a:prstGeom prst="chevron">
            <a:avLst>
              <a:gd name="adj" fmla="val 76165"/>
            </a:avLst>
          </a:prstGeom>
          <a:solidFill>
            <a:srgbClr val="0070C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056E225C-FFAD-132B-B2E4-C845C7846EC1}"/>
              </a:ext>
            </a:extLst>
          </p:cNvPr>
          <p:cNvSpPr txBox="1"/>
          <p:nvPr/>
        </p:nvSpPr>
        <p:spPr>
          <a:xfrm>
            <a:off x="8503940" y="3018700"/>
            <a:ext cx="226224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Israel Lizarrag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exicali, Mexi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602-541-02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Israel.Lizarraga@Honeywell.com</a:t>
            </a:r>
            <a:endPar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p:txBody>
      </p:sp>
      <p:pic>
        <p:nvPicPr>
          <p:cNvPr id="26" name="Picture 25">
            <a:extLst>
              <a:ext uri="{FF2B5EF4-FFF2-40B4-BE49-F238E27FC236}">
                <a16:creationId xmlns:a16="http://schemas.microsoft.com/office/drawing/2014/main" id="{377E32F4-CEC0-1AB9-6AF3-188AA797ABF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7814769" y="3015185"/>
            <a:ext cx="703106" cy="76919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7" name="TextBox 26">
            <a:extLst>
              <a:ext uri="{FF2B5EF4-FFF2-40B4-BE49-F238E27FC236}">
                <a16:creationId xmlns:a16="http://schemas.microsoft.com/office/drawing/2014/main" id="{CEF521DA-D614-77EB-3F3C-93275FE0ED30}"/>
              </a:ext>
            </a:extLst>
          </p:cNvPr>
          <p:cNvSpPr txBox="1"/>
          <p:nvPr/>
        </p:nvSpPr>
        <p:spPr>
          <a:xfrm>
            <a:off x="8810097" y="2056150"/>
            <a:ext cx="220381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Kasey Brenn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Urbana, O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937-869-988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Kasey.Brennan@Honeywell.com </a:t>
            </a:r>
          </a:p>
        </p:txBody>
      </p:sp>
      <p:sp>
        <p:nvSpPr>
          <p:cNvPr id="28" name="Arrow: Chevron 27">
            <a:extLst>
              <a:ext uri="{FF2B5EF4-FFF2-40B4-BE49-F238E27FC236}">
                <a16:creationId xmlns:a16="http://schemas.microsoft.com/office/drawing/2014/main" id="{0FD3442C-56F7-9484-773D-8A0BB9595E2E}"/>
              </a:ext>
            </a:extLst>
          </p:cNvPr>
          <p:cNvSpPr/>
          <p:nvPr/>
        </p:nvSpPr>
        <p:spPr>
          <a:xfrm flipH="1">
            <a:off x="7639934" y="2094416"/>
            <a:ext cx="268988" cy="704879"/>
          </a:xfrm>
          <a:prstGeom prst="chevron">
            <a:avLst>
              <a:gd name="adj" fmla="val 76165"/>
            </a:avLst>
          </a:prstGeom>
          <a:solidFill>
            <a:srgbClr val="009900"/>
          </a:solidFill>
          <a:ln w="3810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pic>
        <p:nvPicPr>
          <p:cNvPr id="29" name="Picture 28">
            <a:extLst>
              <a:ext uri="{FF2B5EF4-FFF2-40B4-BE49-F238E27FC236}">
                <a16:creationId xmlns:a16="http://schemas.microsoft.com/office/drawing/2014/main" id="{9BFB3C29-CC3F-77AD-FDF4-77A3E75E9A76}"/>
              </a:ext>
            </a:extLst>
          </p:cNvPr>
          <p:cNvPicPr>
            <a:picLocks noChangeAspect="1"/>
          </p:cNvPicPr>
          <p:nvPr/>
        </p:nvPicPr>
        <p:blipFill rotWithShape="1">
          <a:blip r:embed="rId12"/>
          <a:srcRect l="7954" r="17869" b="21316"/>
          <a:stretch/>
        </p:blipFill>
        <p:spPr>
          <a:xfrm>
            <a:off x="8033367" y="2066454"/>
            <a:ext cx="703106" cy="74582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0" name="TextBox 29">
            <a:extLst>
              <a:ext uri="{FF2B5EF4-FFF2-40B4-BE49-F238E27FC236}">
                <a16:creationId xmlns:a16="http://schemas.microsoft.com/office/drawing/2014/main" id="{2A446C2A-FEE9-ED83-DBD5-A62DCCB06CFB}"/>
              </a:ext>
            </a:extLst>
          </p:cNvPr>
          <p:cNvSpPr txBox="1"/>
          <p:nvPr/>
        </p:nvSpPr>
        <p:spPr>
          <a:xfrm>
            <a:off x="9749297" y="4999192"/>
            <a:ext cx="174117" cy="146185"/>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white"/>
                </a:solidFill>
                <a:effectLst/>
                <a:uLnTx/>
                <a:uFillTx/>
                <a:latin typeface="Arial"/>
                <a:ea typeface="+mn-ea"/>
                <a:cs typeface="+mn-cs"/>
              </a:rPr>
              <a:t>HI</a:t>
            </a:r>
            <a:endParaRPr kumimoji="0" lang="es-MX" sz="900" b="0" i="0" u="none" strike="noStrike" kern="1200" cap="none" spc="0" normalizeH="0" baseline="0" noProof="0">
              <a:ln>
                <a:noFill/>
              </a:ln>
              <a:solidFill>
                <a:prstClr val="white"/>
              </a:solidFill>
              <a:effectLst/>
              <a:uLnTx/>
              <a:uFillTx/>
              <a:latin typeface="Arial"/>
              <a:ea typeface="+mn-ea"/>
              <a:cs typeface="+mn-cs"/>
            </a:endParaRPr>
          </a:p>
        </p:txBody>
      </p:sp>
      <p:sp>
        <p:nvSpPr>
          <p:cNvPr id="31" name="Arrow: Chevron 30">
            <a:extLst>
              <a:ext uri="{FF2B5EF4-FFF2-40B4-BE49-F238E27FC236}">
                <a16:creationId xmlns:a16="http://schemas.microsoft.com/office/drawing/2014/main" id="{9F1699BD-FD99-257F-F32E-FD007844FE03}"/>
              </a:ext>
            </a:extLst>
          </p:cNvPr>
          <p:cNvSpPr/>
          <p:nvPr/>
        </p:nvSpPr>
        <p:spPr>
          <a:xfrm flipH="1">
            <a:off x="7499283" y="3072871"/>
            <a:ext cx="253896" cy="704879"/>
          </a:xfrm>
          <a:prstGeom prst="chevron">
            <a:avLst>
              <a:gd name="adj" fmla="val 76165"/>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34" name="Arrow: Chevron 33">
            <a:extLst>
              <a:ext uri="{FF2B5EF4-FFF2-40B4-BE49-F238E27FC236}">
                <a16:creationId xmlns:a16="http://schemas.microsoft.com/office/drawing/2014/main" id="{2A901831-D031-6EAA-F9D3-E9CA276E947B}"/>
              </a:ext>
            </a:extLst>
          </p:cNvPr>
          <p:cNvSpPr/>
          <p:nvPr/>
        </p:nvSpPr>
        <p:spPr>
          <a:xfrm flipH="1">
            <a:off x="9053754" y="3911157"/>
            <a:ext cx="269386" cy="704879"/>
          </a:xfrm>
          <a:prstGeom prst="chevron">
            <a:avLst>
              <a:gd name="adj" fmla="val 76165"/>
            </a:avLst>
          </a:prstGeom>
          <a:solidFill>
            <a:srgbClr val="00B0F0"/>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35" name="TextBox 34">
            <a:extLst>
              <a:ext uri="{FF2B5EF4-FFF2-40B4-BE49-F238E27FC236}">
                <a16:creationId xmlns:a16="http://schemas.microsoft.com/office/drawing/2014/main" id="{C0035A94-9680-88D0-CF0D-5BBB14578AF3}"/>
              </a:ext>
            </a:extLst>
          </p:cNvPr>
          <p:cNvSpPr txBox="1"/>
          <p:nvPr/>
        </p:nvSpPr>
        <p:spPr>
          <a:xfrm>
            <a:off x="10234715" y="3839799"/>
            <a:ext cx="202548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Jazmin Me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exicali, Mexic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Mobile:  760-317-61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Jazmin.Meza@honeywell.com</a:t>
            </a:r>
          </a:p>
        </p:txBody>
      </p:sp>
      <p:pic>
        <p:nvPicPr>
          <p:cNvPr id="37" name="Picture 36" descr="A close-up of a person smiling&#10;&#10;Description automatically generated">
            <a:extLst>
              <a:ext uri="{FF2B5EF4-FFF2-40B4-BE49-F238E27FC236}">
                <a16:creationId xmlns:a16="http://schemas.microsoft.com/office/drawing/2014/main" id="{7C0C7712-6975-8B6E-FAC7-E9A1D87494C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9432307" y="3809074"/>
            <a:ext cx="750150" cy="853032"/>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653" name="Group 652">
            <a:extLst>
              <a:ext uri="{FF2B5EF4-FFF2-40B4-BE49-F238E27FC236}">
                <a16:creationId xmlns:a16="http://schemas.microsoft.com/office/drawing/2014/main" id="{4BF1A876-5F39-61DE-0C03-9DEC889D3C6C}"/>
              </a:ext>
            </a:extLst>
          </p:cNvPr>
          <p:cNvGrpSpPr/>
          <p:nvPr/>
        </p:nvGrpSpPr>
        <p:grpSpPr>
          <a:xfrm>
            <a:off x="7045086" y="3886570"/>
            <a:ext cx="2475803" cy="2902460"/>
            <a:chOff x="6215020" y="800147"/>
            <a:chExt cx="4281530" cy="5248228"/>
          </a:xfrm>
        </p:grpSpPr>
        <p:grpSp>
          <p:nvGrpSpPr>
            <p:cNvPr id="320" name="Group 319">
              <a:extLst>
                <a:ext uri="{FF2B5EF4-FFF2-40B4-BE49-F238E27FC236}">
                  <a16:creationId xmlns:a16="http://schemas.microsoft.com/office/drawing/2014/main" id="{0C3A699E-DD5E-51E6-4DC5-080007C20D64}"/>
                </a:ext>
              </a:extLst>
            </p:cNvPr>
            <p:cNvGrpSpPr/>
            <p:nvPr/>
          </p:nvGrpSpPr>
          <p:grpSpPr>
            <a:xfrm>
              <a:off x="6215020" y="800147"/>
              <a:ext cx="2947530" cy="2101215"/>
              <a:chOff x="6705600" y="596900"/>
              <a:chExt cx="3322359" cy="2236774"/>
            </a:xfrm>
            <a:solidFill>
              <a:srgbClr val="FFFF00"/>
            </a:solidFill>
          </p:grpSpPr>
          <p:sp>
            <p:nvSpPr>
              <p:cNvPr id="321" name="Freeform 2543">
                <a:extLst>
                  <a:ext uri="{FF2B5EF4-FFF2-40B4-BE49-F238E27FC236}">
                    <a16:creationId xmlns:a16="http://schemas.microsoft.com/office/drawing/2014/main" id="{DB721468-5B43-C09C-32B4-476F73BC4E1B}"/>
                  </a:ext>
                </a:extLst>
              </p:cNvPr>
              <p:cNvSpPr>
                <a:spLocks noChangeAspect="1"/>
              </p:cNvSpPr>
              <p:nvPr/>
            </p:nvSpPr>
            <p:spPr bwMode="auto">
              <a:xfrm>
                <a:off x="8444553" y="1921888"/>
                <a:ext cx="207398" cy="191236"/>
              </a:xfrm>
              <a:custGeom>
                <a:avLst/>
                <a:gdLst>
                  <a:gd name="T0" fmla="*/ 2147483646 w 42"/>
                  <a:gd name="T1" fmla="*/ 2147483646 h 47"/>
                  <a:gd name="T2" fmla="*/ 2147483646 w 42"/>
                  <a:gd name="T3" fmla="*/ 2147483646 h 47"/>
                  <a:gd name="T4" fmla="*/ 2147483646 w 42"/>
                  <a:gd name="T5" fmla="*/ 2147483646 h 47"/>
                  <a:gd name="T6" fmla="*/ 2147483646 w 42"/>
                  <a:gd name="T7" fmla="*/ 2147483646 h 47"/>
                  <a:gd name="T8" fmla="*/ 2147483646 w 42"/>
                  <a:gd name="T9" fmla="*/ 2147483646 h 47"/>
                  <a:gd name="T10" fmla="*/ 2147483646 w 42"/>
                  <a:gd name="T11" fmla="*/ 2147483646 h 47"/>
                  <a:gd name="T12" fmla="*/ 2147483646 w 42"/>
                  <a:gd name="T13" fmla="*/ 2147483646 h 47"/>
                  <a:gd name="T14" fmla="*/ 2147483646 w 42"/>
                  <a:gd name="T15" fmla="*/ 2147483646 h 47"/>
                  <a:gd name="T16" fmla="*/ 2147483646 w 42"/>
                  <a:gd name="T17" fmla="*/ 2147483646 h 47"/>
                  <a:gd name="T18" fmla="*/ 2147483646 w 42"/>
                  <a:gd name="T19" fmla="*/ 2147483646 h 47"/>
                  <a:gd name="T20" fmla="*/ 2147483646 w 42"/>
                  <a:gd name="T21" fmla="*/ 0 h 47"/>
                  <a:gd name="T22" fmla="*/ 2147483646 w 42"/>
                  <a:gd name="T23" fmla="*/ 0 h 47"/>
                  <a:gd name="T24" fmla="*/ 2147483646 w 42"/>
                  <a:gd name="T25" fmla="*/ 2147483646 h 47"/>
                  <a:gd name="T26" fmla="*/ 0 w 42"/>
                  <a:gd name="T27" fmla="*/ 2147483646 h 47"/>
                  <a:gd name="T28" fmla="*/ 2147483646 w 42"/>
                  <a:gd name="T29" fmla="*/ 2147483646 h 47"/>
                  <a:gd name="T30" fmla="*/ 2147483646 w 42"/>
                  <a:gd name="T31" fmla="*/ 2147483646 h 47"/>
                  <a:gd name="T32" fmla="*/ 0 w 42"/>
                  <a:gd name="T33" fmla="*/ 2147483646 h 47"/>
                  <a:gd name="T34" fmla="*/ 2147483646 w 42"/>
                  <a:gd name="T35" fmla="*/ 2147483646 h 47"/>
                  <a:gd name="T36" fmla="*/ 2147483646 w 42"/>
                  <a:gd name="T37" fmla="*/ 2147483646 h 47"/>
                  <a:gd name="T38" fmla="*/ 2147483646 w 42"/>
                  <a:gd name="T39" fmla="*/ 2147483646 h 47"/>
                  <a:gd name="T40" fmla="*/ 2147483646 w 42"/>
                  <a:gd name="T41" fmla="*/ 2147483646 h 47"/>
                  <a:gd name="T42" fmla="*/ 2147483646 w 42"/>
                  <a:gd name="T43" fmla="*/ 2147483646 h 47"/>
                  <a:gd name="T44" fmla="*/ 2147483646 w 42"/>
                  <a:gd name="T45" fmla="*/ 2147483646 h 47"/>
                  <a:gd name="T46" fmla="*/ 2147483646 w 42"/>
                  <a:gd name="T47" fmla="*/ 2147483646 h 47"/>
                  <a:gd name="T48" fmla="*/ 2147483646 w 42"/>
                  <a:gd name="T49" fmla="*/ 2147483646 h 47"/>
                  <a:gd name="T50" fmla="*/ 2147483646 w 42"/>
                  <a:gd name="T51" fmla="*/ 2147483646 h 47"/>
                  <a:gd name="T52" fmla="*/ 2147483646 w 42"/>
                  <a:gd name="T53" fmla="*/ 2147483646 h 47"/>
                  <a:gd name="T54" fmla="*/ 2147483646 w 42"/>
                  <a:gd name="T55" fmla="*/ 2147483646 h 47"/>
                  <a:gd name="T56" fmla="*/ 2147483646 w 42"/>
                  <a:gd name="T57" fmla="*/ 2147483646 h 47"/>
                  <a:gd name="T58" fmla="*/ 2147483646 w 42"/>
                  <a:gd name="T59" fmla="*/ 2147483646 h 47"/>
                  <a:gd name="T60" fmla="*/ 2147483646 w 42"/>
                  <a:gd name="T61" fmla="*/ 2147483646 h 47"/>
                  <a:gd name="T62" fmla="*/ 2147483646 w 42"/>
                  <a:gd name="T63" fmla="*/ 2147483646 h 47"/>
                  <a:gd name="T64" fmla="*/ 2147483646 w 42"/>
                  <a:gd name="T65" fmla="*/ 2147483646 h 47"/>
                  <a:gd name="T66" fmla="*/ 2147483646 w 42"/>
                  <a:gd name="T67" fmla="*/ 2147483646 h 47"/>
                  <a:gd name="T68" fmla="*/ 2147483646 w 42"/>
                  <a:gd name="T69" fmla="*/ 2147483646 h 47"/>
                  <a:gd name="T70" fmla="*/ 2147483646 w 42"/>
                  <a:gd name="T71" fmla="*/ 2147483646 h 47"/>
                  <a:gd name="T72" fmla="*/ 2147483646 w 42"/>
                  <a:gd name="T73" fmla="*/ 2147483646 h 47"/>
                  <a:gd name="T74" fmla="*/ 2147483646 w 42"/>
                  <a:gd name="T75" fmla="*/ 2147483646 h 47"/>
                  <a:gd name="T76" fmla="*/ 2147483646 w 42"/>
                  <a:gd name="T77" fmla="*/ 2147483646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2" name="Freeform 2542">
                <a:extLst>
                  <a:ext uri="{FF2B5EF4-FFF2-40B4-BE49-F238E27FC236}">
                    <a16:creationId xmlns:a16="http://schemas.microsoft.com/office/drawing/2014/main" id="{18B9AAF7-30B9-17D9-9BBC-433DA396CF83}"/>
                  </a:ext>
                </a:extLst>
              </p:cNvPr>
              <p:cNvSpPr>
                <a:spLocks noChangeAspect="1"/>
              </p:cNvSpPr>
              <p:nvPr/>
            </p:nvSpPr>
            <p:spPr bwMode="auto">
              <a:xfrm>
                <a:off x="8628021" y="2014090"/>
                <a:ext cx="335028" cy="150257"/>
              </a:xfrm>
              <a:custGeom>
                <a:avLst/>
                <a:gdLst>
                  <a:gd name="T0" fmla="*/ 2147483646 w 70"/>
                  <a:gd name="T1" fmla="*/ 2147483646 h 36"/>
                  <a:gd name="T2" fmla="*/ 2147483646 w 70"/>
                  <a:gd name="T3" fmla="*/ 2147483646 h 36"/>
                  <a:gd name="T4" fmla="*/ 2147483646 w 70"/>
                  <a:gd name="T5" fmla="*/ 2147483646 h 36"/>
                  <a:gd name="T6" fmla="*/ 2147483646 w 70"/>
                  <a:gd name="T7" fmla="*/ 2147483646 h 36"/>
                  <a:gd name="T8" fmla="*/ 2147483646 w 70"/>
                  <a:gd name="T9" fmla="*/ 2147483646 h 36"/>
                  <a:gd name="T10" fmla="*/ 2147483646 w 70"/>
                  <a:gd name="T11" fmla="*/ 2147483646 h 36"/>
                  <a:gd name="T12" fmla="*/ 2147483646 w 70"/>
                  <a:gd name="T13" fmla="*/ 2147483646 h 36"/>
                  <a:gd name="T14" fmla="*/ 2147483646 w 70"/>
                  <a:gd name="T15" fmla="*/ 2147483646 h 36"/>
                  <a:gd name="T16" fmla="*/ 2147483646 w 70"/>
                  <a:gd name="T17" fmla="*/ 2147483646 h 36"/>
                  <a:gd name="T18" fmla="*/ 2147483646 w 70"/>
                  <a:gd name="T19" fmla="*/ 2147483646 h 36"/>
                  <a:gd name="T20" fmla="*/ 2147483646 w 70"/>
                  <a:gd name="T21" fmla="*/ 2147483646 h 36"/>
                  <a:gd name="T22" fmla="*/ 2147483646 w 70"/>
                  <a:gd name="T23" fmla="*/ 2147483646 h 36"/>
                  <a:gd name="T24" fmla="*/ 2147483646 w 70"/>
                  <a:gd name="T25" fmla="*/ 2147483646 h 36"/>
                  <a:gd name="T26" fmla="*/ 2147483646 w 70"/>
                  <a:gd name="T27" fmla="*/ 2147483646 h 36"/>
                  <a:gd name="T28" fmla="*/ 2147483646 w 70"/>
                  <a:gd name="T29" fmla="*/ 2147483646 h 36"/>
                  <a:gd name="T30" fmla="*/ 2147483646 w 70"/>
                  <a:gd name="T31" fmla="*/ 2147483646 h 36"/>
                  <a:gd name="T32" fmla="*/ 2147483646 w 70"/>
                  <a:gd name="T33" fmla="*/ 2147483646 h 36"/>
                  <a:gd name="T34" fmla="*/ 2147483646 w 70"/>
                  <a:gd name="T35" fmla="*/ 2147483646 h 36"/>
                  <a:gd name="T36" fmla="*/ 2147483646 w 70"/>
                  <a:gd name="T37" fmla="*/ 2147483646 h 36"/>
                  <a:gd name="T38" fmla="*/ 2147483646 w 70"/>
                  <a:gd name="T39" fmla="*/ 2147483646 h 36"/>
                  <a:gd name="T40" fmla="*/ 0 w 70"/>
                  <a:gd name="T41" fmla="*/ 2147483646 h 36"/>
                  <a:gd name="T42" fmla="*/ 2147483646 w 70"/>
                  <a:gd name="T43" fmla="*/ 2147483646 h 36"/>
                  <a:gd name="T44" fmla="*/ 2147483646 w 70"/>
                  <a:gd name="T45" fmla="*/ 2147483646 h 36"/>
                  <a:gd name="T46" fmla="*/ 2147483646 w 70"/>
                  <a:gd name="T47" fmla="*/ 2147483646 h 36"/>
                  <a:gd name="T48" fmla="*/ 2147483646 w 70"/>
                  <a:gd name="T49" fmla="*/ 2147483646 h 36"/>
                  <a:gd name="T50" fmla="*/ 2147483646 w 70"/>
                  <a:gd name="T51" fmla="*/ 2147483646 h 36"/>
                  <a:gd name="T52" fmla="*/ 2147483646 w 70"/>
                  <a:gd name="T53" fmla="*/ 2147483646 h 36"/>
                  <a:gd name="T54" fmla="*/ 2147483646 w 70"/>
                  <a:gd name="T55" fmla="*/ 2147483646 h 36"/>
                  <a:gd name="T56" fmla="*/ 2147483646 w 70"/>
                  <a:gd name="T57" fmla="*/ 2147483646 h 36"/>
                  <a:gd name="T58" fmla="*/ 2147483646 w 70"/>
                  <a:gd name="T59" fmla="*/ 2147483646 h 36"/>
                  <a:gd name="T60" fmla="*/ 2147483646 w 70"/>
                  <a:gd name="T61" fmla="*/ 2147483646 h 36"/>
                  <a:gd name="T62" fmla="*/ 2147483646 w 70"/>
                  <a:gd name="T63" fmla="*/ 2147483646 h 36"/>
                  <a:gd name="T64" fmla="*/ 2147483646 w 70"/>
                  <a:gd name="T65" fmla="*/ 2147483646 h 36"/>
                  <a:gd name="T66" fmla="*/ 2147483646 w 70"/>
                  <a:gd name="T67" fmla="*/ 2147483646 h 36"/>
                  <a:gd name="T68" fmla="*/ 2147483646 w 70"/>
                  <a:gd name="T69" fmla="*/ 2147483646 h 36"/>
                  <a:gd name="T70" fmla="*/ 2147483646 w 70"/>
                  <a:gd name="T71" fmla="*/ 2147483646 h 36"/>
                  <a:gd name="T72" fmla="*/ 2147483646 w 70"/>
                  <a:gd name="T73" fmla="*/ 2147483646 h 36"/>
                  <a:gd name="T74" fmla="*/ 2147483646 w 70"/>
                  <a:gd name="T75" fmla="*/ 2147483646 h 36"/>
                  <a:gd name="T76" fmla="*/ 2147483646 w 70"/>
                  <a:gd name="T77" fmla="*/ 2147483646 h 36"/>
                  <a:gd name="T78" fmla="*/ 2147483646 w 70"/>
                  <a:gd name="T79" fmla="*/ 2147483646 h 36"/>
                  <a:gd name="T80" fmla="*/ 2147483646 w 70"/>
                  <a:gd name="T81" fmla="*/ 2147483646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3" name="Freeform 2535">
                <a:extLst>
                  <a:ext uri="{FF2B5EF4-FFF2-40B4-BE49-F238E27FC236}">
                    <a16:creationId xmlns:a16="http://schemas.microsoft.com/office/drawing/2014/main" id="{2564B0EE-C86A-F652-FD44-573710038FEE}"/>
                  </a:ext>
                </a:extLst>
              </p:cNvPr>
              <p:cNvSpPr>
                <a:spLocks noChangeAspect="1"/>
              </p:cNvSpPr>
              <p:nvPr/>
            </p:nvSpPr>
            <p:spPr bwMode="auto">
              <a:xfrm>
                <a:off x="9306056" y="1399404"/>
                <a:ext cx="231329" cy="122937"/>
              </a:xfrm>
              <a:custGeom>
                <a:avLst/>
                <a:gdLst>
                  <a:gd name="T0" fmla="*/ 2147483646 w 47"/>
                  <a:gd name="T1" fmla="*/ 2147483646 h 30"/>
                  <a:gd name="T2" fmla="*/ 2147483646 w 47"/>
                  <a:gd name="T3" fmla="*/ 2147483646 h 30"/>
                  <a:gd name="T4" fmla="*/ 2147483646 w 47"/>
                  <a:gd name="T5" fmla="*/ 2147483646 h 30"/>
                  <a:gd name="T6" fmla="*/ 2147483646 w 47"/>
                  <a:gd name="T7" fmla="*/ 2147483646 h 30"/>
                  <a:gd name="T8" fmla="*/ 2147483646 w 47"/>
                  <a:gd name="T9" fmla="*/ 2147483646 h 30"/>
                  <a:gd name="T10" fmla="*/ 2147483646 w 47"/>
                  <a:gd name="T11" fmla="*/ 2147483646 h 30"/>
                  <a:gd name="T12" fmla="*/ 2147483646 w 47"/>
                  <a:gd name="T13" fmla="*/ 2147483646 h 30"/>
                  <a:gd name="T14" fmla="*/ 2147483646 w 47"/>
                  <a:gd name="T15" fmla="*/ 2147483646 h 30"/>
                  <a:gd name="T16" fmla="*/ 2147483646 w 47"/>
                  <a:gd name="T17" fmla="*/ 2147483646 h 30"/>
                  <a:gd name="T18" fmla="*/ 2147483646 w 47"/>
                  <a:gd name="T19" fmla="*/ 2147483646 h 30"/>
                  <a:gd name="T20" fmla="*/ 2147483646 w 47"/>
                  <a:gd name="T21" fmla="*/ 0 h 30"/>
                  <a:gd name="T22" fmla="*/ 2147483646 w 47"/>
                  <a:gd name="T23" fmla="*/ 2147483646 h 30"/>
                  <a:gd name="T24" fmla="*/ 2147483646 w 47"/>
                  <a:gd name="T25" fmla="*/ 2147483646 h 30"/>
                  <a:gd name="T26" fmla="*/ 2147483646 w 47"/>
                  <a:gd name="T27" fmla="*/ 2147483646 h 30"/>
                  <a:gd name="T28" fmla="*/ 2147483646 w 47"/>
                  <a:gd name="T29" fmla="*/ 2147483646 h 30"/>
                  <a:gd name="T30" fmla="*/ 0 w 47"/>
                  <a:gd name="T31" fmla="*/ 2147483646 h 30"/>
                  <a:gd name="T32" fmla="*/ 2147483646 w 47"/>
                  <a:gd name="T33" fmla="*/ 2147483646 h 30"/>
                  <a:gd name="T34" fmla="*/ 2147483646 w 47"/>
                  <a:gd name="T35" fmla="*/ 2147483646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4" name="Freeform 2536">
                <a:extLst>
                  <a:ext uri="{FF2B5EF4-FFF2-40B4-BE49-F238E27FC236}">
                    <a16:creationId xmlns:a16="http://schemas.microsoft.com/office/drawing/2014/main" id="{DEB7507F-A140-9CEA-E8DE-E57029C40FE0}"/>
                  </a:ext>
                </a:extLst>
              </p:cNvPr>
              <p:cNvSpPr>
                <a:spLocks noChangeAspect="1"/>
              </p:cNvSpPr>
              <p:nvPr/>
            </p:nvSpPr>
            <p:spPr bwMode="auto">
              <a:xfrm>
                <a:off x="6705600" y="596900"/>
                <a:ext cx="1730979" cy="1123509"/>
              </a:xfrm>
              <a:custGeom>
                <a:avLst/>
                <a:gdLst>
                  <a:gd name="T0" fmla="*/ 599 w 361"/>
                  <a:gd name="T1" fmla="*/ 371 h 274"/>
                  <a:gd name="T2" fmla="*/ 608 w 361"/>
                  <a:gd name="T3" fmla="*/ 351 h 274"/>
                  <a:gd name="T4" fmla="*/ 628 w 361"/>
                  <a:gd name="T5" fmla="*/ 309 h 274"/>
                  <a:gd name="T6" fmla="*/ 572 w 361"/>
                  <a:gd name="T7" fmla="*/ 301 h 274"/>
                  <a:gd name="T8" fmla="*/ 536 w 361"/>
                  <a:gd name="T9" fmla="*/ 353 h 274"/>
                  <a:gd name="T10" fmla="*/ 527 w 361"/>
                  <a:gd name="T11" fmla="*/ 369 h 274"/>
                  <a:gd name="T12" fmla="*/ 505 w 361"/>
                  <a:gd name="T13" fmla="*/ 373 h 274"/>
                  <a:gd name="T14" fmla="*/ 491 w 361"/>
                  <a:gd name="T15" fmla="*/ 372 h 274"/>
                  <a:gd name="T16" fmla="*/ 428 w 361"/>
                  <a:gd name="T17" fmla="*/ 367 h 274"/>
                  <a:gd name="T18" fmla="*/ 388 w 361"/>
                  <a:gd name="T19" fmla="*/ 294 h 274"/>
                  <a:gd name="T20" fmla="*/ 396 w 361"/>
                  <a:gd name="T21" fmla="*/ 292 h 274"/>
                  <a:gd name="T22" fmla="*/ 391 w 361"/>
                  <a:gd name="T23" fmla="*/ 220 h 274"/>
                  <a:gd name="T24" fmla="*/ 406 w 361"/>
                  <a:gd name="T25" fmla="*/ 185 h 274"/>
                  <a:gd name="T26" fmla="*/ 363 w 361"/>
                  <a:gd name="T27" fmla="*/ 154 h 274"/>
                  <a:gd name="T28" fmla="*/ 338 w 361"/>
                  <a:gd name="T29" fmla="*/ 89 h 274"/>
                  <a:gd name="T30" fmla="*/ 301 w 361"/>
                  <a:gd name="T31" fmla="*/ 79 h 274"/>
                  <a:gd name="T32" fmla="*/ 274 w 361"/>
                  <a:gd name="T33" fmla="*/ 89 h 274"/>
                  <a:gd name="T34" fmla="*/ 234 w 361"/>
                  <a:gd name="T35" fmla="*/ 36 h 274"/>
                  <a:gd name="T36" fmla="*/ 129 w 361"/>
                  <a:gd name="T37" fmla="*/ 35 h 274"/>
                  <a:gd name="T38" fmla="*/ 8 w 361"/>
                  <a:gd name="T39" fmla="*/ 0 h 274"/>
                  <a:gd name="T40" fmla="*/ 10 w 361"/>
                  <a:gd name="T41" fmla="*/ 31 h 274"/>
                  <a:gd name="T42" fmla="*/ 17 w 361"/>
                  <a:gd name="T43" fmla="*/ 66 h 274"/>
                  <a:gd name="T44" fmla="*/ 46 w 361"/>
                  <a:gd name="T45" fmla="*/ 110 h 274"/>
                  <a:gd name="T46" fmla="*/ 52 w 361"/>
                  <a:gd name="T47" fmla="*/ 131 h 274"/>
                  <a:gd name="T48" fmla="*/ 28 w 361"/>
                  <a:gd name="T49" fmla="*/ 130 h 274"/>
                  <a:gd name="T50" fmla="*/ 66 w 361"/>
                  <a:gd name="T51" fmla="*/ 154 h 274"/>
                  <a:gd name="T52" fmla="*/ 79 w 361"/>
                  <a:gd name="T53" fmla="*/ 201 h 274"/>
                  <a:gd name="T54" fmla="*/ 105 w 361"/>
                  <a:gd name="T55" fmla="*/ 227 h 274"/>
                  <a:gd name="T56" fmla="*/ 137 w 361"/>
                  <a:gd name="T57" fmla="*/ 249 h 274"/>
                  <a:gd name="T58" fmla="*/ 120 w 361"/>
                  <a:gd name="T59" fmla="*/ 227 h 274"/>
                  <a:gd name="T60" fmla="*/ 106 w 361"/>
                  <a:gd name="T61" fmla="*/ 172 h 274"/>
                  <a:gd name="T62" fmla="*/ 78 w 361"/>
                  <a:gd name="T63" fmla="*/ 131 h 274"/>
                  <a:gd name="T64" fmla="*/ 59 w 361"/>
                  <a:gd name="T65" fmla="*/ 86 h 274"/>
                  <a:gd name="T66" fmla="*/ 44 w 361"/>
                  <a:gd name="T67" fmla="*/ 26 h 274"/>
                  <a:gd name="T68" fmla="*/ 77 w 361"/>
                  <a:gd name="T69" fmla="*/ 37 h 274"/>
                  <a:gd name="T70" fmla="*/ 88 w 361"/>
                  <a:gd name="T71" fmla="*/ 96 h 274"/>
                  <a:gd name="T72" fmla="*/ 123 w 361"/>
                  <a:gd name="T73" fmla="*/ 136 h 274"/>
                  <a:gd name="T74" fmla="*/ 137 w 361"/>
                  <a:gd name="T75" fmla="*/ 157 h 274"/>
                  <a:gd name="T76" fmla="*/ 144 w 361"/>
                  <a:gd name="T77" fmla="*/ 174 h 274"/>
                  <a:gd name="T78" fmla="*/ 171 w 361"/>
                  <a:gd name="T79" fmla="*/ 199 h 274"/>
                  <a:gd name="T80" fmla="*/ 200 w 361"/>
                  <a:gd name="T81" fmla="*/ 249 h 274"/>
                  <a:gd name="T82" fmla="*/ 214 w 361"/>
                  <a:gd name="T83" fmla="*/ 313 h 274"/>
                  <a:gd name="T84" fmla="*/ 221 w 361"/>
                  <a:gd name="T85" fmla="*/ 345 h 274"/>
                  <a:gd name="T86" fmla="*/ 286 w 361"/>
                  <a:gd name="T87" fmla="*/ 385 h 274"/>
                  <a:gd name="T88" fmla="*/ 364 w 361"/>
                  <a:gd name="T89" fmla="*/ 425 h 274"/>
                  <a:gd name="T90" fmla="*/ 436 w 361"/>
                  <a:gd name="T91" fmla="*/ 432 h 274"/>
                  <a:gd name="T92" fmla="*/ 464 w 361"/>
                  <a:gd name="T93" fmla="*/ 438 h 274"/>
                  <a:gd name="T94" fmla="*/ 499 w 361"/>
                  <a:gd name="T95" fmla="*/ 459 h 274"/>
                  <a:gd name="T96" fmla="*/ 534 w 361"/>
                  <a:gd name="T97" fmla="*/ 421 h 274"/>
                  <a:gd name="T98" fmla="*/ 528 w 361"/>
                  <a:gd name="T99" fmla="*/ 395 h 274"/>
                  <a:gd name="T100" fmla="*/ 582 w 361"/>
                  <a:gd name="T101" fmla="*/ 382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B0F0"/>
              </a:solid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325" name="Freeform 2537">
                <a:extLst>
                  <a:ext uri="{FF2B5EF4-FFF2-40B4-BE49-F238E27FC236}">
                    <a16:creationId xmlns:a16="http://schemas.microsoft.com/office/drawing/2014/main" id="{E6D6C736-19C0-8E12-34B8-57B81BCD3802}"/>
                  </a:ext>
                </a:extLst>
              </p:cNvPr>
              <p:cNvSpPr>
                <a:spLocks noChangeAspect="1"/>
              </p:cNvSpPr>
              <p:nvPr/>
            </p:nvSpPr>
            <p:spPr bwMode="auto">
              <a:xfrm>
                <a:off x="8269062" y="1488194"/>
                <a:ext cx="79769" cy="146843"/>
              </a:xfrm>
              <a:custGeom>
                <a:avLst/>
                <a:gdLst>
                  <a:gd name="T0" fmla="*/ 2147483646 w 17"/>
                  <a:gd name="T1" fmla="*/ 2147483646 h 36"/>
                  <a:gd name="T2" fmla="*/ 2147483646 w 17"/>
                  <a:gd name="T3" fmla="*/ 2147483646 h 36"/>
                  <a:gd name="T4" fmla="*/ 2147483646 w 17"/>
                  <a:gd name="T5" fmla="*/ 2147483646 h 36"/>
                  <a:gd name="T6" fmla="*/ 2147483646 w 17"/>
                  <a:gd name="T7" fmla="*/ 2147483646 h 36"/>
                  <a:gd name="T8" fmla="*/ 2147483646 w 17"/>
                  <a:gd name="T9" fmla="*/ 2147483646 h 36"/>
                  <a:gd name="T10" fmla="*/ 2147483646 w 17"/>
                  <a:gd name="T11" fmla="*/ 2147483646 h 36"/>
                  <a:gd name="T12" fmla="*/ 2147483646 w 17"/>
                  <a:gd name="T13" fmla="*/ 2147483646 h 36"/>
                  <a:gd name="T14" fmla="*/ 2147483646 w 17"/>
                  <a:gd name="T15" fmla="*/ 0 h 36"/>
                  <a:gd name="T16" fmla="*/ 2147483646 w 17"/>
                  <a:gd name="T17" fmla="*/ 2147483646 h 36"/>
                  <a:gd name="T18" fmla="*/ 2147483646 w 17"/>
                  <a:gd name="T19" fmla="*/ 2147483646 h 36"/>
                  <a:gd name="T20" fmla="*/ 2147483646 w 17"/>
                  <a:gd name="T21" fmla="*/ 2147483646 h 36"/>
                  <a:gd name="T22" fmla="*/ 2147483646 w 17"/>
                  <a:gd name="T23" fmla="*/ 2147483646 h 36"/>
                  <a:gd name="T24" fmla="*/ 2147483646 w 17"/>
                  <a:gd name="T25" fmla="*/ 2147483646 h 36"/>
                  <a:gd name="T26" fmla="*/ 0 w 17"/>
                  <a:gd name="T27" fmla="*/ 2147483646 h 36"/>
                  <a:gd name="T28" fmla="*/ 2147483646 w 17"/>
                  <a:gd name="T29" fmla="*/ 2147483646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6" name="Freeform 2538">
                <a:extLst>
                  <a:ext uri="{FF2B5EF4-FFF2-40B4-BE49-F238E27FC236}">
                    <a16:creationId xmlns:a16="http://schemas.microsoft.com/office/drawing/2014/main" id="{B6D9FA36-7C44-85DA-24FA-0965B28DD627}"/>
                  </a:ext>
                </a:extLst>
              </p:cNvPr>
              <p:cNvSpPr>
                <a:spLocks noChangeAspect="1"/>
              </p:cNvSpPr>
              <p:nvPr/>
            </p:nvSpPr>
            <p:spPr bwMode="auto">
              <a:xfrm>
                <a:off x="8077617" y="1529171"/>
                <a:ext cx="251270" cy="235631"/>
              </a:xfrm>
              <a:custGeom>
                <a:avLst/>
                <a:gdLst>
                  <a:gd name="T0" fmla="*/ 2147483646 w 53"/>
                  <a:gd name="T1" fmla="*/ 2147483646 h 58"/>
                  <a:gd name="T2" fmla="*/ 2147483646 w 53"/>
                  <a:gd name="T3" fmla="*/ 2147483646 h 58"/>
                  <a:gd name="T4" fmla="*/ 2147483646 w 53"/>
                  <a:gd name="T5" fmla="*/ 2147483646 h 58"/>
                  <a:gd name="T6" fmla="*/ 2147483646 w 53"/>
                  <a:gd name="T7" fmla="*/ 2147483646 h 58"/>
                  <a:gd name="T8" fmla="*/ 2147483646 w 53"/>
                  <a:gd name="T9" fmla="*/ 2147483646 h 58"/>
                  <a:gd name="T10" fmla="*/ 2147483646 w 53"/>
                  <a:gd name="T11" fmla="*/ 2147483646 h 58"/>
                  <a:gd name="T12" fmla="*/ 2147483646 w 53"/>
                  <a:gd name="T13" fmla="*/ 2147483646 h 58"/>
                  <a:gd name="T14" fmla="*/ 2147483646 w 53"/>
                  <a:gd name="T15" fmla="*/ 2147483646 h 58"/>
                  <a:gd name="T16" fmla="*/ 2147483646 w 53"/>
                  <a:gd name="T17" fmla="*/ 2147483646 h 58"/>
                  <a:gd name="T18" fmla="*/ 2147483646 w 53"/>
                  <a:gd name="T19" fmla="*/ 0 h 58"/>
                  <a:gd name="T20" fmla="*/ 2147483646 w 53"/>
                  <a:gd name="T21" fmla="*/ 2147483646 h 58"/>
                  <a:gd name="T22" fmla="*/ 2147483646 w 53"/>
                  <a:gd name="T23" fmla="*/ 2147483646 h 58"/>
                  <a:gd name="T24" fmla="*/ 2147483646 w 53"/>
                  <a:gd name="T25" fmla="*/ 2147483646 h 58"/>
                  <a:gd name="T26" fmla="*/ 2147483646 w 53"/>
                  <a:gd name="T27" fmla="*/ 2147483646 h 58"/>
                  <a:gd name="T28" fmla="*/ 2147483646 w 53"/>
                  <a:gd name="T29" fmla="*/ 2147483646 h 58"/>
                  <a:gd name="T30" fmla="*/ 2147483646 w 53"/>
                  <a:gd name="T31" fmla="*/ 2147483646 h 58"/>
                  <a:gd name="T32" fmla="*/ 2147483646 w 53"/>
                  <a:gd name="T33" fmla="*/ 2147483646 h 58"/>
                  <a:gd name="T34" fmla="*/ 2147483646 w 53"/>
                  <a:gd name="T35" fmla="*/ 2147483646 h 58"/>
                  <a:gd name="T36" fmla="*/ 2147483646 w 53"/>
                  <a:gd name="T37" fmla="*/ 2147483646 h 58"/>
                  <a:gd name="T38" fmla="*/ 2147483646 w 53"/>
                  <a:gd name="T39" fmla="*/ 2147483646 h 58"/>
                  <a:gd name="T40" fmla="*/ 0 w 53"/>
                  <a:gd name="T41" fmla="*/ 2147483646 h 58"/>
                  <a:gd name="T42" fmla="*/ 2147483646 w 53"/>
                  <a:gd name="T43" fmla="*/ 2147483646 h 58"/>
                  <a:gd name="T44" fmla="*/ 2147483646 w 53"/>
                  <a:gd name="T45" fmla="*/ 2147483646 h 58"/>
                  <a:gd name="T46" fmla="*/ 2147483646 w 53"/>
                  <a:gd name="T47" fmla="*/ 2147483646 h 58"/>
                  <a:gd name="T48" fmla="*/ 2147483646 w 53"/>
                  <a:gd name="T49" fmla="*/ 2147483646 h 58"/>
                  <a:gd name="T50" fmla="*/ 2147483646 w 53"/>
                  <a:gd name="T51" fmla="*/ 2147483646 h 58"/>
                  <a:gd name="T52" fmla="*/ 2147483646 w 53"/>
                  <a:gd name="T53" fmla="*/ 2147483646 h 58"/>
                  <a:gd name="T54" fmla="*/ 2147483646 w 53"/>
                  <a:gd name="T55" fmla="*/ 2147483646 h 58"/>
                  <a:gd name="T56" fmla="*/ 2147483646 w 53"/>
                  <a:gd name="T57" fmla="*/ 2147483646 h 58"/>
                  <a:gd name="T58" fmla="*/ 2147483646 w 53"/>
                  <a:gd name="T59" fmla="*/ 214748364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7" name="Freeform 2539">
                <a:extLst>
                  <a:ext uri="{FF2B5EF4-FFF2-40B4-BE49-F238E27FC236}">
                    <a16:creationId xmlns:a16="http://schemas.microsoft.com/office/drawing/2014/main" id="{EA79667C-198B-3582-8F55-8E6578C3B1D1}"/>
                  </a:ext>
                </a:extLst>
              </p:cNvPr>
              <p:cNvSpPr>
                <a:spLocks noChangeAspect="1"/>
              </p:cNvSpPr>
              <p:nvPr/>
            </p:nvSpPr>
            <p:spPr bwMode="auto">
              <a:xfrm>
                <a:off x="8197270" y="1720409"/>
                <a:ext cx="155548" cy="88788"/>
              </a:xfrm>
              <a:custGeom>
                <a:avLst/>
                <a:gdLst>
                  <a:gd name="T0" fmla="*/ 2147483646 w 33"/>
                  <a:gd name="T1" fmla="*/ 2147483646 h 22"/>
                  <a:gd name="T2" fmla="*/ 2147483646 w 33"/>
                  <a:gd name="T3" fmla="*/ 2147483646 h 22"/>
                  <a:gd name="T4" fmla="*/ 2147483646 w 33"/>
                  <a:gd name="T5" fmla="*/ 2147483646 h 22"/>
                  <a:gd name="T6" fmla="*/ 2147483646 w 33"/>
                  <a:gd name="T7" fmla="*/ 2147483646 h 22"/>
                  <a:gd name="T8" fmla="*/ 2147483646 w 33"/>
                  <a:gd name="T9" fmla="*/ 2147483646 h 22"/>
                  <a:gd name="T10" fmla="*/ 2147483646 w 33"/>
                  <a:gd name="T11" fmla="*/ 2147483646 h 22"/>
                  <a:gd name="T12" fmla="*/ 2147483646 w 33"/>
                  <a:gd name="T13" fmla="*/ 2147483646 h 22"/>
                  <a:gd name="T14" fmla="*/ 2147483646 w 33"/>
                  <a:gd name="T15" fmla="*/ 0 h 22"/>
                  <a:gd name="T16" fmla="*/ 2147483646 w 33"/>
                  <a:gd name="T17" fmla="*/ 0 h 22"/>
                  <a:gd name="T18" fmla="*/ 2147483646 w 33"/>
                  <a:gd name="T19" fmla="*/ 2147483646 h 22"/>
                  <a:gd name="T20" fmla="*/ 2147483646 w 33"/>
                  <a:gd name="T21" fmla="*/ 2147483646 h 22"/>
                  <a:gd name="T22" fmla="*/ 2147483646 w 33"/>
                  <a:gd name="T23" fmla="*/ 2147483646 h 22"/>
                  <a:gd name="T24" fmla="*/ 0 w 33"/>
                  <a:gd name="T25" fmla="*/ 2147483646 h 22"/>
                  <a:gd name="T26" fmla="*/ 2147483646 w 33"/>
                  <a:gd name="T27" fmla="*/ 2147483646 h 22"/>
                  <a:gd name="T28" fmla="*/ 2147483646 w 33"/>
                  <a:gd name="T29" fmla="*/ 2147483646 h 22"/>
                  <a:gd name="T30" fmla="*/ 2147483646 w 33"/>
                  <a:gd name="T31" fmla="*/ 2147483646 h 22"/>
                  <a:gd name="T32" fmla="*/ 2147483646 w 33"/>
                  <a:gd name="T33" fmla="*/ 2147483646 h 22"/>
                  <a:gd name="T34" fmla="*/ 2147483646 w 33"/>
                  <a:gd name="T35" fmla="*/ 2147483646 h 22"/>
                  <a:gd name="T36" fmla="*/ 2147483646 w 33"/>
                  <a:gd name="T37" fmla="*/ 2147483646 h 22"/>
                  <a:gd name="T38" fmla="*/ 2147483646 w 33"/>
                  <a:gd name="T39" fmla="*/ 2147483646 h 22"/>
                  <a:gd name="T40" fmla="*/ 2147483646 w 33"/>
                  <a:gd name="T41" fmla="*/ 2147483646 h 22"/>
                  <a:gd name="T42" fmla="*/ 2147483646 w 33"/>
                  <a:gd name="T43" fmla="*/ 2147483646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8" name="Freeform 2540">
                <a:extLst>
                  <a:ext uri="{FF2B5EF4-FFF2-40B4-BE49-F238E27FC236}">
                    <a16:creationId xmlns:a16="http://schemas.microsoft.com/office/drawing/2014/main" id="{28852A84-C4F3-D5EC-13DC-B7C92E994F57}"/>
                  </a:ext>
                </a:extLst>
              </p:cNvPr>
              <p:cNvSpPr>
                <a:spLocks noChangeAspect="1"/>
              </p:cNvSpPr>
              <p:nvPr/>
            </p:nvSpPr>
            <p:spPr bwMode="auto">
              <a:xfrm>
                <a:off x="8269064" y="1638449"/>
                <a:ext cx="358959" cy="180992"/>
              </a:xfrm>
              <a:custGeom>
                <a:avLst/>
                <a:gdLst>
                  <a:gd name="T0" fmla="*/ 2147483646 w 75"/>
                  <a:gd name="T1" fmla="*/ 2147483646 h 44"/>
                  <a:gd name="T2" fmla="*/ 2147483646 w 75"/>
                  <a:gd name="T3" fmla="*/ 2147483646 h 44"/>
                  <a:gd name="T4" fmla="*/ 2147483646 w 75"/>
                  <a:gd name="T5" fmla="*/ 2147483646 h 44"/>
                  <a:gd name="T6" fmla="*/ 2147483646 w 75"/>
                  <a:gd name="T7" fmla="*/ 2147483646 h 44"/>
                  <a:gd name="T8" fmla="*/ 2147483646 w 75"/>
                  <a:gd name="T9" fmla="*/ 2147483646 h 44"/>
                  <a:gd name="T10" fmla="*/ 2147483646 w 75"/>
                  <a:gd name="T11" fmla="*/ 2147483646 h 44"/>
                  <a:gd name="T12" fmla="*/ 2147483646 w 75"/>
                  <a:gd name="T13" fmla="*/ 2147483646 h 44"/>
                  <a:gd name="T14" fmla="*/ 0 w 75"/>
                  <a:gd name="T15" fmla="*/ 2147483646 h 44"/>
                  <a:gd name="T16" fmla="*/ 0 w 75"/>
                  <a:gd name="T17" fmla="*/ 2147483646 h 44"/>
                  <a:gd name="T18" fmla="*/ 2147483646 w 75"/>
                  <a:gd name="T19" fmla="*/ 2147483646 h 44"/>
                  <a:gd name="T20" fmla="*/ 2147483646 w 75"/>
                  <a:gd name="T21" fmla="*/ 2147483646 h 44"/>
                  <a:gd name="T22" fmla="*/ 2147483646 w 75"/>
                  <a:gd name="T23" fmla="*/ 2147483646 h 44"/>
                  <a:gd name="T24" fmla="*/ 2147483646 w 75"/>
                  <a:gd name="T25" fmla="*/ 0 h 44"/>
                  <a:gd name="T26" fmla="*/ 2147483646 w 75"/>
                  <a:gd name="T27" fmla="*/ 2147483646 h 44"/>
                  <a:gd name="T28" fmla="*/ 2147483646 w 75"/>
                  <a:gd name="T29" fmla="*/ 2147483646 h 44"/>
                  <a:gd name="T30" fmla="*/ 2147483646 w 75"/>
                  <a:gd name="T31" fmla="*/ 2147483646 h 44"/>
                  <a:gd name="T32" fmla="*/ 2147483646 w 75"/>
                  <a:gd name="T33" fmla="*/ 0 h 44"/>
                  <a:gd name="T34" fmla="*/ 2147483646 w 75"/>
                  <a:gd name="T35" fmla="*/ 0 h 44"/>
                  <a:gd name="T36" fmla="*/ 2147483646 w 75"/>
                  <a:gd name="T37" fmla="*/ 2147483646 h 44"/>
                  <a:gd name="T38" fmla="*/ 2147483646 w 75"/>
                  <a:gd name="T39" fmla="*/ 2147483646 h 44"/>
                  <a:gd name="T40" fmla="*/ 2147483646 w 75"/>
                  <a:gd name="T41" fmla="*/ 2147483646 h 44"/>
                  <a:gd name="T42" fmla="*/ 2147483646 w 75"/>
                  <a:gd name="T43" fmla="*/ 2147483646 h 44"/>
                  <a:gd name="T44" fmla="*/ 2147483646 w 75"/>
                  <a:gd name="T45" fmla="*/ 2147483646 h 44"/>
                  <a:gd name="T46" fmla="*/ 2147483646 w 75"/>
                  <a:gd name="T47" fmla="*/ 2147483646 h 44"/>
                  <a:gd name="T48" fmla="*/ 2147483646 w 75"/>
                  <a:gd name="T49" fmla="*/ 2147483646 h 44"/>
                  <a:gd name="T50" fmla="*/ 2147483646 w 75"/>
                  <a:gd name="T51" fmla="*/ 2147483646 h 44"/>
                  <a:gd name="T52" fmla="*/ 2147483646 w 75"/>
                  <a:gd name="T53" fmla="*/ 2147483646 h 44"/>
                  <a:gd name="T54" fmla="*/ 2147483646 w 75"/>
                  <a:gd name="T55" fmla="*/ 2147483646 h 44"/>
                  <a:gd name="T56" fmla="*/ 2147483646 w 75"/>
                  <a:gd name="T57" fmla="*/ 2147483646 h 44"/>
                  <a:gd name="T58" fmla="*/ 2147483646 w 75"/>
                  <a:gd name="T59" fmla="*/ 2147483646 h 44"/>
                  <a:gd name="T60" fmla="*/ 2147483646 w 75"/>
                  <a:gd name="T61" fmla="*/ 2147483646 h 44"/>
                  <a:gd name="T62" fmla="*/ 2147483646 w 75"/>
                  <a:gd name="T63" fmla="*/ 2147483646 h 44"/>
                  <a:gd name="T64" fmla="*/ 2147483646 w 75"/>
                  <a:gd name="T65" fmla="*/ 2147483646 h 44"/>
                  <a:gd name="T66" fmla="*/ 2147483646 w 75"/>
                  <a:gd name="T67" fmla="*/ 2147483646 h 44"/>
                  <a:gd name="T68" fmla="*/ 2147483646 w 75"/>
                  <a:gd name="T69" fmla="*/ 2147483646 h 44"/>
                  <a:gd name="T70" fmla="*/ 2147483646 w 75"/>
                  <a:gd name="T71" fmla="*/ 2147483646 h 44"/>
                  <a:gd name="T72" fmla="*/ 2147483646 w 75"/>
                  <a:gd name="T73" fmla="*/ 2147483646 h 44"/>
                  <a:gd name="T74" fmla="*/ 2147483646 w 75"/>
                  <a:gd name="T75" fmla="*/ 2147483646 h 44"/>
                  <a:gd name="T76" fmla="*/ 2147483646 w 75"/>
                  <a:gd name="T77" fmla="*/ 2147483646 h 44"/>
                  <a:gd name="T78" fmla="*/ 2147483646 w 75"/>
                  <a:gd name="T79" fmla="*/ 2147483646 h 44"/>
                  <a:gd name="T80" fmla="*/ 2147483646 w 75"/>
                  <a:gd name="T81" fmla="*/ 2147483646 h 44"/>
                  <a:gd name="T82" fmla="*/ 2147483646 w 75"/>
                  <a:gd name="T83" fmla="*/ 2147483646 h 44"/>
                  <a:gd name="T84" fmla="*/ 2147483646 w 75"/>
                  <a:gd name="T85" fmla="*/ 2147483646 h 44"/>
                  <a:gd name="T86" fmla="*/ 2147483646 w 75"/>
                  <a:gd name="T87" fmla="*/ 2147483646 h 44"/>
                  <a:gd name="T88" fmla="*/ 2147483646 w 75"/>
                  <a:gd name="T89" fmla="*/ 2147483646 h 44"/>
                  <a:gd name="T90" fmla="*/ 2147483646 w 75"/>
                  <a:gd name="T91" fmla="*/ 2147483646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9" name="Freeform 2541">
                <a:extLst>
                  <a:ext uri="{FF2B5EF4-FFF2-40B4-BE49-F238E27FC236}">
                    <a16:creationId xmlns:a16="http://schemas.microsoft.com/office/drawing/2014/main" id="{D65BF412-051F-6F8D-1884-1B8D29B4064C}"/>
                  </a:ext>
                </a:extLst>
              </p:cNvPr>
              <p:cNvSpPr>
                <a:spLocks noChangeAspect="1"/>
              </p:cNvSpPr>
              <p:nvPr/>
            </p:nvSpPr>
            <p:spPr bwMode="auto">
              <a:xfrm>
                <a:off x="8340856" y="1696503"/>
                <a:ext cx="279190" cy="256118"/>
              </a:xfrm>
              <a:custGeom>
                <a:avLst/>
                <a:gdLst>
                  <a:gd name="T0" fmla="*/ 2147483646 w 58"/>
                  <a:gd name="T1" fmla="*/ 2147483646 h 63"/>
                  <a:gd name="T2" fmla="*/ 2147483646 w 58"/>
                  <a:gd name="T3" fmla="*/ 2147483646 h 63"/>
                  <a:gd name="T4" fmla="*/ 2147483646 w 58"/>
                  <a:gd name="T5" fmla="*/ 2147483646 h 63"/>
                  <a:gd name="T6" fmla="*/ 2147483646 w 58"/>
                  <a:gd name="T7" fmla="*/ 2147483646 h 63"/>
                  <a:gd name="T8" fmla="*/ 2147483646 w 58"/>
                  <a:gd name="T9" fmla="*/ 2147483646 h 63"/>
                  <a:gd name="T10" fmla="*/ 2147483646 w 58"/>
                  <a:gd name="T11" fmla="*/ 2147483646 h 63"/>
                  <a:gd name="T12" fmla="*/ 2147483646 w 58"/>
                  <a:gd name="T13" fmla="*/ 2147483646 h 63"/>
                  <a:gd name="T14" fmla="*/ 2147483646 w 58"/>
                  <a:gd name="T15" fmla="*/ 2147483646 h 63"/>
                  <a:gd name="T16" fmla="*/ 2147483646 w 58"/>
                  <a:gd name="T17" fmla="*/ 2147483646 h 63"/>
                  <a:gd name="T18" fmla="*/ 2147483646 w 58"/>
                  <a:gd name="T19" fmla="*/ 2147483646 h 63"/>
                  <a:gd name="T20" fmla="*/ 2147483646 w 58"/>
                  <a:gd name="T21" fmla="*/ 2147483646 h 63"/>
                  <a:gd name="T22" fmla="*/ 2147483646 w 58"/>
                  <a:gd name="T23" fmla="*/ 2147483646 h 63"/>
                  <a:gd name="T24" fmla="*/ 2147483646 w 58"/>
                  <a:gd name="T25" fmla="*/ 2147483646 h 63"/>
                  <a:gd name="T26" fmla="*/ 2147483646 w 58"/>
                  <a:gd name="T27" fmla="*/ 2147483646 h 63"/>
                  <a:gd name="T28" fmla="*/ 2147483646 w 58"/>
                  <a:gd name="T29" fmla="*/ 2147483646 h 63"/>
                  <a:gd name="T30" fmla="*/ 2147483646 w 58"/>
                  <a:gd name="T31" fmla="*/ 2147483646 h 63"/>
                  <a:gd name="T32" fmla="*/ 2147483646 w 58"/>
                  <a:gd name="T33" fmla="*/ 2147483646 h 63"/>
                  <a:gd name="T34" fmla="*/ 2147483646 w 58"/>
                  <a:gd name="T35" fmla="*/ 2147483646 h 63"/>
                  <a:gd name="T36" fmla="*/ 2147483646 w 58"/>
                  <a:gd name="T37" fmla="*/ 2147483646 h 63"/>
                  <a:gd name="T38" fmla="*/ 2147483646 w 58"/>
                  <a:gd name="T39" fmla="*/ 2147483646 h 63"/>
                  <a:gd name="T40" fmla="*/ 2147483646 w 58"/>
                  <a:gd name="T41" fmla="*/ 2147483646 h 63"/>
                  <a:gd name="T42" fmla="*/ 2147483646 w 58"/>
                  <a:gd name="T43" fmla="*/ 2147483646 h 63"/>
                  <a:gd name="T44" fmla="*/ 2147483646 w 58"/>
                  <a:gd name="T45" fmla="*/ 2147483646 h 63"/>
                  <a:gd name="T46" fmla="*/ 2147483646 w 58"/>
                  <a:gd name="T47" fmla="*/ 2147483646 h 63"/>
                  <a:gd name="T48" fmla="*/ 2147483646 w 58"/>
                  <a:gd name="T49" fmla="*/ 2147483646 h 63"/>
                  <a:gd name="T50" fmla="*/ 2147483646 w 58"/>
                  <a:gd name="T51" fmla="*/ 2147483646 h 63"/>
                  <a:gd name="T52" fmla="*/ 2147483646 w 58"/>
                  <a:gd name="T53" fmla="*/ 2147483646 h 63"/>
                  <a:gd name="T54" fmla="*/ 2147483646 w 58"/>
                  <a:gd name="T55" fmla="*/ 2147483646 h 63"/>
                  <a:gd name="T56" fmla="*/ 2147483646 w 58"/>
                  <a:gd name="T57" fmla="*/ 2147483646 h 63"/>
                  <a:gd name="T58" fmla="*/ 2147483646 w 58"/>
                  <a:gd name="T59" fmla="*/ 2147483646 h 63"/>
                  <a:gd name="T60" fmla="*/ 2147483646 w 58"/>
                  <a:gd name="T61" fmla="*/ 2147483646 h 63"/>
                  <a:gd name="T62" fmla="*/ 2147483646 w 58"/>
                  <a:gd name="T63" fmla="*/ 2147483646 h 63"/>
                  <a:gd name="T64" fmla="*/ 2147483646 w 58"/>
                  <a:gd name="T65" fmla="*/ 2147483646 h 63"/>
                  <a:gd name="T66" fmla="*/ 2147483646 w 58"/>
                  <a:gd name="T67" fmla="*/ 2147483646 h 63"/>
                  <a:gd name="T68" fmla="*/ 2147483646 w 58"/>
                  <a:gd name="T69" fmla="*/ 2147483646 h 63"/>
                  <a:gd name="T70" fmla="*/ 2147483646 w 58"/>
                  <a:gd name="T71" fmla="*/ 2147483646 h 63"/>
                  <a:gd name="T72" fmla="*/ 2147483646 w 58"/>
                  <a:gd name="T73" fmla="*/ 2147483646 h 63"/>
                  <a:gd name="T74" fmla="*/ 2147483646 w 58"/>
                  <a:gd name="T75" fmla="*/ 2147483646 h 63"/>
                  <a:gd name="T76" fmla="*/ 2147483646 w 58"/>
                  <a:gd name="T77" fmla="*/ 2147483646 h 63"/>
                  <a:gd name="T78" fmla="*/ 2147483646 w 58"/>
                  <a:gd name="T79" fmla="*/ 2147483646 h 63"/>
                  <a:gd name="T80" fmla="*/ 2147483646 w 58"/>
                  <a:gd name="T81" fmla="*/ 2147483646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0" name="Freeform 2544">
                <a:extLst>
                  <a:ext uri="{FF2B5EF4-FFF2-40B4-BE49-F238E27FC236}">
                    <a16:creationId xmlns:a16="http://schemas.microsoft.com/office/drawing/2014/main" id="{7DA1FF49-0A11-5A04-6A1E-01561D42C37D}"/>
                  </a:ext>
                </a:extLst>
              </p:cNvPr>
              <p:cNvSpPr>
                <a:spLocks noChangeAspect="1"/>
              </p:cNvSpPr>
              <p:nvPr/>
            </p:nvSpPr>
            <p:spPr bwMode="auto">
              <a:xfrm>
                <a:off x="8859350" y="1846762"/>
                <a:ext cx="729881" cy="986912"/>
              </a:xfrm>
              <a:custGeom>
                <a:avLst/>
                <a:gdLst>
                  <a:gd name="T0" fmla="*/ 2147483646 w 152"/>
                  <a:gd name="T1" fmla="*/ 2147483646 h 241"/>
                  <a:gd name="T2" fmla="*/ 2147483646 w 152"/>
                  <a:gd name="T3" fmla="*/ 2147483646 h 241"/>
                  <a:gd name="T4" fmla="*/ 2147483646 w 152"/>
                  <a:gd name="T5" fmla="*/ 2147483646 h 241"/>
                  <a:gd name="T6" fmla="*/ 2147483646 w 152"/>
                  <a:gd name="T7" fmla="*/ 2147483646 h 241"/>
                  <a:gd name="T8" fmla="*/ 2147483646 w 152"/>
                  <a:gd name="T9" fmla="*/ 2147483646 h 241"/>
                  <a:gd name="T10" fmla="*/ 2147483646 w 152"/>
                  <a:gd name="T11" fmla="*/ 2147483646 h 241"/>
                  <a:gd name="T12" fmla="*/ 2147483646 w 152"/>
                  <a:gd name="T13" fmla="*/ 2147483646 h 241"/>
                  <a:gd name="T14" fmla="*/ 2147483646 w 152"/>
                  <a:gd name="T15" fmla="*/ 2147483646 h 241"/>
                  <a:gd name="T16" fmla="*/ 2147483646 w 152"/>
                  <a:gd name="T17" fmla="*/ 2147483646 h 241"/>
                  <a:gd name="T18" fmla="*/ 2147483646 w 152"/>
                  <a:gd name="T19" fmla="*/ 2147483646 h 241"/>
                  <a:gd name="T20" fmla="*/ 2147483646 w 152"/>
                  <a:gd name="T21" fmla="*/ 2147483646 h 241"/>
                  <a:gd name="T22" fmla="*/ 2147483646 w 152"/>
                  <a:gd name="T23" fmla="*/ 2147483646 h 241"/>
                  <a:gd name="T24" fmla="*/ 2147483646 w 152"/>
                  <a:gd name="T25" fmla="*/ 2147483646 h 241"/>
                  <a:gd name="T26" fmla="*/ 2147483646 w 152"/>
                  <a:gd name="T27" fmla="*/ 2147483646 h 241"/>
                  <a:gd name="T28" fmla="*/ 2147483646 w 152"/>
                  <a:gd name="T29" fmla="*/ 2147483646 h 241"/>
                  <a:gd name="T30" fmla="*/ 2147483646 w 152"/>
                  <a:gd name="T31" fmla="*/ 2147483646 h 241"/>
                  <a:gd name="T32" fmla="*/ 2147483646 w 152"/>
                  <a:gd name="T33" fmla="*/ 2147483646 h 241"/>
                  <a:gd name="T34" fmla="*/ 2147483646 w 152"/>
                  <a:gd name="T35" fmla="*/ 2147483646 h 241"/>
                  <a:gd name="T36" fmla="*/ 2147483646 w 152"/>
                  <a:gd name="T37" fmla="*/ 2147483646 h 241"/>
                  <a:gd name="T38" fmla="*/ 2147483646 w 152"/>
                  <a:gd name="T39" fmla="*/ 2147483646 h 241"/>
                  <a:gd name="T40" fmla="*/ 2147483646 w 152"/>
                  <a:gd name="T41" fmla="*/ 2147483646 h 241"/>
                  <a:gd name="T42" fmla="*/ 2147483646 w 152"/>
                  <a:gd name="T43" fmla="*/ 2147483646 h 241"/>
                  <a:gd name="T44" fmla="*/ 2147483646 w 152"/>
                  <a:gd name="T45" fmla="*/ 2147483646 h 241"/>
                  <a:gd name="T46" fmla="*/ 2147483646 w 152"/>
                  <a:gd name="T47" fmla="*/ 2147483646 h 241"/>
                  <a:gd name="T48" fmla="*/ 2147483646 w 152"/>
                  <a:gd name="T49" fmla="*/ 2147483646 h 241"/>
                  <a:gd name="T50" fmla="*/ 2147483646 w 152"/>
                  <a:gd name="T51" fmla="*/ 2147483646 h 241"/>
                  <a:gd name="T52" fmla="*/ 2147483646 w 152"/>
                  <a:gd name="T53" fmla="*/ 2147483646 h 241"/>
                  <a:gd name="T54" fmla="*/ 2147483646 w 152"/>
                  <a:gd name="T55" fmla="*/ 2147483646 h 241"/>
                  <a:gd name="T56" fmla="*/ 2147483646 w 152"/>
                  <a:gd name="T57" fmla="*/ 2147483646 h 241"/>
                  <a:gd name="T58" fmla="*/ 2147483646 w 152"/>
                  <a:gd name="T59" fmla="*/ 2147483646 h 241"/>
                  <a:gd name="T60" fmla="*/ 2147483646 w 152"/>
                  <a:gd name="T61" fmla="*/ 2147483646 h 241"/>
                  <a:gd name="T62" fmla="*/ 2147483646 w 152"/>
                  <a:gd name="T63" fmla="*/ 2147483646 h 241"/>
                  <a:gd name="T64" fmla="*/ 2147483646 w 152"/>
                  <a:gd name="T65" fmla="*/ 2147483646 h 241"/>
                  <a:gd name="T66" fmla="*/ 2147483646 w 152"/>
                  <a:gd name="T67" fmla="*/ 2147483646 h 241"/>
                  <a:gd name="T68" fmla="*/ 2147483646 w 152"/>
                  <a:gd name="T69" fmla="*/ 2147483646 h 241"/>
                  <a:gd name="T70" fmla="*/ 2147483646 w 152"/>
                  <a:gd name="T71" fmla="*/ 2147483646 h 241"/>
                  <a:gd name="T72" fmla="*/ 2147483646 w 152"/>
                  <a:gd name="T73" fmla="*/ 2147483646 h 241"/>
                  <a:gd name="T74" fmla="*/ 2147483646 w 152"/>
                  <a:gd name="T75" fmla="*/ 2147483646 h 241"/>
                  <a:gd name="T76" fmla="*/ 2147483646 w 152"/>
                  <a:gd name="T77" fmla="*/ 2147483646 h 241"/>
                  <a:gd name="T78" fmla="*/ 2147483646 w 152"/>
                  <a:gd name="T79" fmla="*/ 2147483646 h 241"/>
                  <a:gd name="T80" fmla="*/ 2147483646 w 152"/>
                  <a:gd name="T81" fmla="*/ 2147483646 h 241"/>
                  <a:gd name="T82" fmla="*/ 2147483646 w 152"/>
                  <a:gd name="T83" fmla="*/ 2147483646 h 241"/>
                  <a:gd name="T84" fmla="*/ 2147483646 w 152"/>
                  <a:gd name="T85" fmla="*/ 2147483646 h 241"/>
                  <a:gd name="T86" fmla="*/ 2147483646 w 152"/>
                  <a:gd name="T87" fmla="*/ 2147483646 h 241"/>
                  <a:gd name="T88" fmla="*/ 2147483646 w 152"/>
                  <a:gd name="T89" fmla="*/ 214748364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1" name="Freeform 2545">
                <a:extLst>
                  <a:ext uri="{FF2B5EF4-FFF2-40B4-BE49-F238E27FC236}">
                    <a16:creationId xmlns:a16="http://schemas.microsoft.com/office/drawing/2014/main" id="{C1959AAD-3F49-8F48-E095-9C6235F4965A}"/>
                  </a:ext>
                </a:extLst>
              </p:cNvPr>
              <p:cNvSpPr>
                <a:spLocks noChangeAspect="1"/>
              </p:cNvSpPr>
              <p:nvPr/>
            </p:nvSpPr>
            <p:spPr bwMode="auto">
              <a:xfrm>
                <a:off x="9202355" y="1867252"/>
                <a:ext cx="825604" cy="676155"/>
              </a:xfrm>
              <a:custGeom>
                <a:avLst/>
                <a:gdLst>
                  <a:gd name="T0" fmla="*/ 2147483646 w 173"/>
                  <a:gd name="T1" fmla="*/ 2147483646 h 165"/>
                  <a:gd name="T2" fmla="*/ 2147483646 w 173"/>
                  <a:gd name="T3" fmla="*/ 2147483646 h 165"/>
                  <a:gd name="T4" fmla="*/ 2147483646 w 173"/>
                  <a:gd name="T5" fmla="*/ 2147483646 h 165"/>
                  <a:gd name="T6" fmla="*/ 2147483646 w 173"/>
                  <a:gd name="T7" fmla="*/ 2147483646 h 165"/>
                  <a:gd name="T8" fmla="*/ 2147483646 w 173"/>
                  <a:gd name="T9" fmla="*/ 2147483646 h 165"/>
                  <a:gd name="T10" fmla="*/ 2147483646 w 173"/>
                  <a:gd name="T11" fmla="*/ 2147483646 h 165"/>
                  <a:gd name="T12" fmla="*/ 2147483646 w 173"/>
                  <a:gd name="T13" fmla="*/ 2147483646 h 165"/>
                  <a:gd name="T14" fmla="*/ 2147483646 w 173"/>
                  <a:gd name="T15" fmla="*/ 2147483646 h 165"/>
                  <a:gd name="T16" fmla="*/ 2147483646 w 173"/>
                  <a:gd name="T17" fmla="*/ 2147483646 h 165"/>
                  <a:gd name="T18" fmla="*/ 2147483646 w 173"/>
                  <a:gd name="T19" fmla="*/ 2147483646 h 165"/>
                  <a:gd name="T20" fmla="*/ 2147483646 w 173"/>
                  <a:gd name="T21" fmla="*/ 2147483646 h 165"/>
                  <a:gd name="T22" fmla="*/ 2147483646 w 173"/>
                  <a:gd name="T23" fmla="*/ 2147483646 h 165"/>
                  <a:gd name="T24" fmla="*/ 2147483646 w 173"/>
                  <a:gd name="T25" fmla="*/ 2147483646 h 165"/>
                  <a:gd name="T26" fmla="*/ 2147483646 w 173"/>
                  <a:gd name="T27" fmla="*/ 2147483646 h 165"/>
                  <a:gd name="T28" fmla="*/ 2147483646 w 173"/>
                  <a:gd name="T29" fmla="*/ 2147483646 h 165"/>
                  <a:gd name="T30" fmla="*/ 2147483646 w 173"/>
                  <a:gd name="T31" fmla="*/ 2147483646 h 165"/>
                  <a:gd name="T32" fmla="*/ 2147483646 w 173"/>
                  <a:gd name="T33" fmla="*/ 2147483646 h 165"/>
                  <a:gd name="T34" fmla="*/ 2147483646 w 173"/>
                  <a:gd name="T35" fmla="*/ 2147483646 h 165"/>
                  <a:gd name="T36" fmla="*/ 2147483646 w 173"/>
                  <a:gd name="T37" fmla="*/ 2147483646 h 165"/>
                  <a:gd name="T38" fmla="*/ 2147483646 w 173"/>
                  <a:gd name="T39" fmla="*/ 2147483646 h 165"/>
                  <a:gd name="T40" fmla="*/ 2147483646 w 173"/>
                  <a:gd name="T41" fmla="*/ 2147483646 h 165"/>
                  <a:gd name="T42" fmla="*/ 2147483646 w 173"/>
                  <a:gd name="T43" fmla="*/ 2147483646 h 165"/>
                  <a:gd name="T44" fmla="*/ 2147483646 w 173"/>
                  <a:gd name="T45" fmla="*/ 2147483646 h 165"/>
                  <a:gd name="T46" fmla="*/ 2147483646 w 173"/>
                  <a:gd name="T47" fmla="*/ 2147483646 h 165"/>
                  <a:gd name="T48" fmla="*/ 2147483646 w 173"/>
                  <a:gd name="T49" fmla="*/ 2147483646 h 165"/>
                  <a:gd name="T50" fmla="*/ 2147483646 w 173"/>
                  <a:gd name="T51" fmla="*/ 2147483646 h 165"/>
                  <a:gd name="T52" fmla="*/ 2147483646 w 173"/>
                  <a:gd name="T53" fmla="*/ 2147483646 h 165"/>
                  <a:gd name="T54" fmla="*/ 2147483646 w 173"/>
                  <a:gd name="T55" fmla="*/ 2147483646 h 165"/>
                  <a:gd name="T56" fmla="*/ 2147483646 w 173"/>
                  <a:gd name="T57" fmla="*/ 2147483646 h 165"/>
                  <a:gd name="T58" fmla="*/ 2147483646 w 173"/>
                  <a:gd name="T59" fmla="*/ 2147483646 h 165"/>
                  <a:gd name="T60" fmla="*/ 2147483646 w 173"/>
                  <a:gd name="T61" fmla="*/ 2147483646 h 165"/>
                  <a:gd name="T62" fmla="*/ 2147483646 w 173"/>
                  <a:gd name="T63" fmla="*/ 2147483646 h 165"/>
                  <a:gd name="T64" fmla="*/ 2147483646 w 173"/>
                  <a:gd name="T65" fmla="*/ 2147483646 h 165"/>
                  <a:gd name="T66" fmla="*/ 2147483646 w 173"/>
                  <a:gd name="T67" fmla="*/ 2147483646 h 165"/>
                  <a:gd name="T68" fmla="*/ 2147483646 w 173"/>
                  <a:gd name="T69" fmla="*/ 2147483646 h 165"/>
                  <a:gd name="T70" fmla="*/ 2147483646 w 173"/>
                  <a:gd name="T71" fmla="*/ 2147483646 h 165"/>
                  <a:gd name="T72" fmla="*/ 2147483646 w 173"/>
                  <a:gd name="T73" fmla="*/ 2147483646 h 165"/>
                  <a:gd name="T74" fmla="*/ 2147483646 w 173"/>
                  <a:gd name="T75" fmla="*/ 2147483646 h 165"/>
                  <a:gd name="T76" fmla="*/ 2147483646 w 173"/>
                  <a:gd name="T77" fmla="*/ 2147483646 h 165"/>
                  <a:gd name="T78" fmla="*/ 2147483646 w 173"/>
                  <a:gd name="T79" fmla="*/ 2147483646 h 165"/>
                  <a:gd name="T80" fmla="*/ 2147483646 w 173"/>
                  <a:gd name="T81" fmla="*/ 2147483646 h 165"/>
                  <a:gd name="T82" fmla="*/ 2147483646 w 173"/>
                  <a:gd name="T83" fmla="*/ 2147483646 h 165"/>
                  <a:gd name="T84" fmla="*/ 2147483646 w 173"/>
                  <a:gd name="T85" fmla="*/ 2147483646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2" name="Freeform 3157">
                <a:extLst>
                  <a:ext uri="{FF2B5EF4-FFF2-40B4-BE49-F238E27FC236}">
                    <a16:creationId xmlns:a16="http://schemas.microsoft.com/office/drawing/2014/main" id="{BC5DD408-B56E-E0CD-5675-D2C299B63E58}"/>
                  </a:ext>
                </a:extLst>
              </p:cNvPr>
              <p:cNvSpPr>
                <a:spLocks noChangeAspect="1"/>
              </p:cNvSpPr>
              <p:nvPr/>
            </p:nvSpPr>
            <p:spPr bwMode="auto">
              <a:xfrm>
                <a:off x="9234264" y="1447213"/>
                <a:ext cx="23931" cy="13660"/>
              </a:xfrm>
              <a:custGeom>
                <a:avLst/>
                <a:gdLst>
                  <a:gd name="T0" fmla="*/ 7 w 5"/>
                  <a:gd name="T1" fmla="*/ 2 h 4"/>
                  <a:gd name="T2" fmla="*/ 8 w 5"/>
                  <a:gd name="T3" fmla="*/ 4 h 4"/>
                  <a:gd name="T4" fmla="*/ 2 w 5"/>
                  <a:gd name="T5" fmla="*/ 3 h 4"/>
                  <a:gd name="T6" fmla="*/ 1 w 5"/>
                  <a:gd name="T7" fmla="*/ 0 h 4"/>
                  <a:gd name="T8" fmla="*/ 7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333" name="Freeform 3189">
                <a:extLst>
                  <a:ext uri="{FF2B5EF4-FFF2-40B4-BE49-F238E27FC236}">
                    <a16:creationId xmlns:a16="http://schemas.microsoft.com/office/drawing/2014/main" id="{61EC6823-1FD9-EF52-3135-14A6DA1A20C4}"/>
                  </a:ext>
                </a:extLst>
              </p:cNvPr>
              <p:cNvSpPr>
                <a:spLocks noChangeAspect="1"/>
              </p:cNvSpPr>
              <p:nvPr/>
            </p:nvSpPr>
            <p:spPr bwMode="auto">
              <a:xfrm>
                <a:off x="9082702" y="1167189"/>
                <a:ext cx="15954" cy="17076"/>
              </a:xfrm>
              <a:custGeom>
                <a:avLst/>
                <a:gdLst>
                  <a:gd name="T0" fmla="*/ 3 w 4"/>
                  <a:gd name="T1" fmla="*/ 5 h 4"/>
                  <a:gd name="T2" fmla="*/ 4 w 4"/>
                  <a:gd name="T3" fmla="*/ 8 h 4"/>
                  <a:gd name="T4" fmla="*/ 1 w 4"/>
                  <a:gd name="T5" fmla="*/ 6 h 4"/>
                  <a:gd name="T6" fmla="*/ 0 w 4"/>
                  <a:gd name="T7" fmla="*/ 1 h 4"/>
                  <a:gd name="T8" fmla="*/ 3 w 4"/>
                  <a:gd name="T9" fmla="*/ 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334" name="Freeform 3190">
                <a:extLst>
                  <a:ext uri="{FF2B5EF4-FFF2-40B4-BE49-F238E27FC236}">
                    <a16:creationId xmlns:a16="http://schemas.microsoft.com/office/drawing/2014/main" id="{987397B5-662E-F961-6A4B-D633C6B5E812}"/>
                  </a:ext>
                </a:extLst>
              </p:cNvPr>
              <p:cNvSpPr>
                <a:spLocks noChangeAspect="1"/>
              </p:cNvSpPr>
              <p:nvPr/>
            </p:nvSpPr>
            <p:spPr bwMode="auto">
              <a:xfrm>
                <a:off x="9098655" y="1105723"/>
                <a:ext cx="31907" cy="23906"/>
              </a:xfrm>
              <a:custGeom>
                <a:avLst/>
                <a:gdLst>
                  <a:gd name="T0" fmla="*/ 2147483646 w 6"/>
                  <a:gd name="T1" fmla="*/ 2147483646 h 6"/>
                  <a:gd name="T2" fmla="*/ 2147483646 w 6"/>
                  <a:gd name="T3" fmla="*/ 2147483646 h 6"/>
                  <a:gd name="T4" fmla="*/ 2147483646 w 6"/>
                  <a:gd name="T5" fmla="*/ 2147483646 h 6"/>
                  <a:gd name="T6" fmla="*/ 2147483646 w 6"/>
                  <a:gd name="T7" fmla="*/ 0 h 6"/>
                  <a:gd name="T8" fmla="*/ 2147483646 w 6"/>
                  <a:gd name="T9" fmla="*/ 214748364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5" name="Freeform 3191">
                <a:extLst>
                  <a:ext uri="{FF2B5EF4-FFF2-40B4-BE49-F238E27FC236}">
                    <a16:creationId xmlns:a16="http://schemas.microsoft.com/office/drawing/2014/main" id="{C0D1A7A2-68FD-643B-E922-03BE6447785B}"/>
                  </a:ext>
                </a:extLst>
              </p:cNvPr>
              <p:cNvSpPr>
                <a:spLocks noChangeAspect="1"/>
              </p:cNvSpPr>
              <p:nvPr/>
            </p:nvSpPr>
            <p:spPr bwMode="auto">
              <a:xfrm>
                <a:off x="9130563" y="1184265"/>
                <a:ext cx="27918" cy="23903"/>
              </a:xfrm>
              <a:custGeom>
                <a:avLst/>
                <a:gdLst>
                  <a:gd name="T0" fmla="*/ 7 w 6"/>
                  <a:gd name="T1" fmla="*/ 6 h 6"/>
                  <a:gd name="T2" fmla="*/ 8 w 6"/>
                  <a:gd name="T3" fmla="*/ 9 h 6"/>
                  <a:gd name="T4" fmla="*/ 2 w 6"/>
                  <a:gd name="T5" fmla="*/ 6 h 6"/>
                  <a:gd name="T6" fmla="*/ 1 w 6"/>
                  <a:gd name="T7" fmla="*/ 0 h 6"/>
                  <a:gd name="T8" fmla="*/ 7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2" name="Freeform 3192">
                <a:extLst>
                  <a:ext uri="{FF2B5EF4-FFF2-40B4-BE49-F238E27FC236}">
                    <a16:creationId xmlns:a16="http://schemas.microsoft.com/office/drawing/2014/main" id="{58957053-2982-46A6-1ADE-791A1687E67E}"/>
                  </a:ext>
                </a:extLst>
              </p:cNvPr>
              <p:cNvSpPr>
                <a:spLocks noChangeAspect="1"/>
              </p:cNvSpPr>
              <p:nvPr/>
            </p:nvSpPr>
            <p:spPr bwMode="auto">
              <a:xfrm>
                <a:off x="8731722" y="1433555"/>
                <a:ext cx="23931" cy="6830"/>
              </a:xfrm>
              <a:custGeom>
                <a:avLst/>
                <a:gdLst>
                  <a:gd name="T0" fmla="*/ 6 w 5"/>
                  <a:gd name="T1" fmla="*/ 0 h 2"/>
                  <a:gd name="T2" fmla="*/ 8 w 5"/>
                  <a:gd name="T3" fmla="*/ 1 h 2"/>
                  <a:gd name="T4" fmla="*/ 2 w 5"/>
                  <a:gd name="T5" fmla="*/ 2 h 2"/>
                  <a:gd name="T6" fmla="*/ 0 w 5"/>
                  <a:gd name="T7" fmla="*/ 0 h 2"/>
                  <a:gd name="T8" fmla="*/ 6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4" y="2"/>
                      <a:pt x="3" y="2"/>
                      <a:pt x="2" y="2"/>
                    </a:cubicBezTo>
                    <a:cubicBezTo>
                      <a:pt x="1" y="1"/>
                      <a:pt x="0" y="1"/>
                      <a:pt x="0" y="0"/>
                    </a:cubicBezTo>
                    <a:cubicBezTo>
                      <a:pt x="0" y="0"/>
                      <a:pt x="2" y="0"/>
                      <a:pt x="3"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3" name="Freeform 3193">
                <a:extLst>
                  <a:ext uri="{FF2B5EF4-FFF2-40B4-BE49-F238E27FC236}">
                    <a16:creationId xmlns:a16="http://schemas.microsoft.com/office/drawing/2014/main" id="{FB942D52-855B-16E4-4A34-D6E6FE3681AC}"/>
                  </a:ext>
                </a:extLst>
              </p:cNvPr>
              <p:cNvSpPr>
                <a:spLocks noChangeAspect="1"/>
              </p:cNvSpPr>
              <p:nvPr/>
            </p:nvSpPr>
            <p:spPr bwMode="auto">
              <a:xfrm>
                <a:off x="8420625" y="1600886"/>
                <a:ext cx="23931" cy="13660"/>
              </a:xfrm>
              <a:custGeom>
                <a:avLst/>
                <a:gdLst>
                  <a:gd name="T0" fmla="*/ 6 w 5"/>
                  <a:gd name="T1" fmla="*/ 1 h 3"/>
                  <a:gd name="T2" fmla="*/ 8 w 5"/>
                  <a:gd name="T3" fmla="*/ 1 h 3"/>
                  <a:gd name="T4" fmla="*/ 6 w 5"/>
                  <a:gd name="T5" fmla="*/ 5 h 3"/>
                  <a:gd name="T6" fmla="*/ 0 w 5"/>
                  <a:gd name="T7" fmla="*/ 7 h 3"/>
                  <a:gd name="T8" fmla="*/ 6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3" y="1"/>
                      <a:pt x="4" y="0"/>
                      <a:pt x="5" y="1"/>
                    </a:cubicBezTo>
                    <a:cubicBezTo>
                      <a:pt x="5" y="1"/>
                      <a:pt x="4" y="2"/>
                      <a:pt x="3" y="2"/>
                    </a:cubicBezTo>
                    <a:cubicBezTo>
                      <a:pt x="2" y="3"/>
                      <a:pt x="1" y="3"/>
                      <a:pt x="0" y="3"/>
                    </a:cubicBezTo>
                    <a:cubicBezTo>
                      <a:pt x="0" y="2"/>
                      <a:pt x="2" y="1"/>
                      <a:pt x="3"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4" name="Freeform 3194">
                <a:extLst>
                  <a:ext uri="{FF2B5EF4-FFF2-40B4-BE49-F238E27FC236}">
                    <a16:creationId xmlns:a16="http://schemas.microsoft.com/office/drawing/2014/main" id="{42708190-D587-8E30-6FD2-EE0D7DE8FAF0}"/>
                  </a:ext>
                </a:extLst>
              </p:cNvPr>
              <p:cNvSpPr>
                <a:spLocks noChangeAspect="1"/>
              </p:cNvSpPr>
              <p:nvPr/>
            </p:nvSpPr>
            <p:spPr bwMode="auto">
              <a:xfrm>
                <a:off x="8412648" y="1365257"/>
                <a:ext cx="23931" cy="10246"/>
              </a:xfrm>
              <a:custGeom>
                <a:avLst/>
                <a:gdLst>
                  <a:gd name="T0" fmla="*/ 5 w 4"/>
                  <a:gd name="T1" fmla="*/ 1 h 3"/>
                  <a:gd name="T2" fmla="*/ 8 w 4"/>
                  <a:gd name="T3" fmla="*/ 0 h 3"/>
                  <a:gd name="T4" fmla="*/ 5 w 4"/>
                  <a:gd name="T5" fmla="*/ 2 h 3"/>
                  <a:gd name="T6" fmla="*/ 0 w 4"/>
                  <a:gd name="T7" fmla="*/ 3 h 3"/>
                  <a:gd name="T8" fmla="*/ 5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2" y="0"/>
                      <a:pt x="3" y="0"/>
                      <a:pt x="4" y="0"/>
                    </a:cubicBezTo>
                    <a:cubicBezTo>
                      <a:pt x="4" y="1"/>
                      <a:pt x="3" y="2"/>
                      <a:pt x="2" y="2"/>
                    </a:cubicBezTo>
                    <a:cubicBezTo>
                      <a:pt x="2" y="3"/>
                      <a:pt x="0" y="3"/>
                      <a:pt x="0" y="3"/>
                    </a:cubicBezTo>
                    <a:cubicBezTo>
                      <a:pt x="0" y="2"/>
                      <a:pt x="1"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5" name="Freeform 3195">
                <a:extLst>
                  <a:ext uri="{FF2B5EF4-FFF2-40B4-BE49-F238E27FC236}">
                    <a16:creationId xmlns:a16="http://schemas.microsoft.com/office/drawing/2014/main" id="{DA0EA488-AAAC-ED26-D35F-6692E3920074}"/>
                  </a:ext>
                </a:extLst>
              </p:cNvPr>
              <p:cNvSpPr>
                <a:spLocks noChangeAspect="1"/>
              </p:cNvSpPr>
              <p:nvPr/>
            </p:nvSpPr>
            <p:spPr bwMode="auto">
              <a:xfrm>
                <a:off x="8348831" y="1532589"/>
                <a:ext cx="15954" cy="17074"/>
              </a:xfrm>
              <a:custGeom>
                <a:avLst/>
                <a:gdLst>
                  <a:gd name="T0" fmla="*/ 5 w 3"/>
                  <a:gd name="T1" fmla="*/ 1 h 4"/>
                  <a:gd name="T2" fmla="*/ 7 w 3"/>
                  <a:gd name="T3" fmla="*/ 1 h 4"/>
                  <a:gd name="T4" fmla="*/ 5 w 3"/>
                  <a:gd name="T5" fmla="*/ 5 h 4"/>
                  <a:gd name="T6" fmla="*/ 1 w 3"/>
                  <a:gd name="T7" fmla="*/ 6 h 4"/>
                  <a:gd name="T8" fmla="*/ 5 w 3"/>
                  <a:gd name="T9" fmla="*/ 1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1"/>
                    </a:moveTo>
                    <a:cubicBezTo>
                      <a:pt x="2" y="1"/>
                      <a:pt x="3" y="0"/>
                      <a:pt x="3" y="1"/>
                    </a:cubicBezTo>
                    <a:cubicBezTo>
                      <a:pt x="3" y="1"/>
                      <a:pt x="3" y="2"/>
                      <a:pt x="2" y="2"/>
                    </a:cubicBezTo>
                    <a:cubicBezTo>
                      <a:pt x="2" y="3"/>
                      <a:pt x="1" y="4"/>
                      <a:pt x="1" y="3"/>
                    </a:cubicBezTo>
                    <a:cubicBezTo>
                      <a:pt x="0" y="3"/>
                      <a:pt x="1" y="2"/>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6" name="Freeform 3196">
                <a:extLst>
                  <a:ext uri="{FF2B5EF4-FFF2-40B4-BE49-F238E27FC236}">
                    <a16:creationId xmlns:a16="http://schemas.microsoft.com/office/drawing/2014/main" id="{B0C1696E-D73B-FB65-1E4A-34EBC68E9DE9}"/>
                  </a:ext>
                </a:extLst>
              </p:cNvPr>
              <p:cNvSpPr>
                <a:spLocks noChangeAspect="1"/>
              </p:cNvSpPr>
              <p:nvPr/>
            </p:nvSpPr>
            <p:spPr bwMode="auto">
              <a:xfrm>
                <a:off x="9250218" y="1235490"/>
                <a:ext cx="35895" cy="10246"/>
              </a:xfrm>
              <a:custGeom>
                <a:avLst/>
                <a:gdLst>
                  <a:gd name="T0" fmla="*/ 8 w 8"/>
                  <a:gd name="T1" fmla="*/ 5 h 2"/>
                  <a:gd name="T2" fmla="*/ 11 w 8"/>
                  <a:gd name="T3" fmla="*/ 8 h 2"/>
                  <a:gd name="T4" fmla="*/ 7 w 8"/>
                  <a:gd name="T5" fmla="*/ 8 h 2"/>
                  <a:gd name="T6" fmla="*/ 0 w 8"/>
                  <a:gd name="T7" fmla="*/ 5 h 2"/>
                  <a:gd name="T8" fmla="*/ 8 w 8"/>
                  <a:gd name="T9" fmla="*/ 5 h 2"/>
                  <a:gd name="T10" fmla="*/ 0 60000 65536"/>
                  <a:gd name="T11" fmla="*/ 0 60000 65536"/>
                  <a:gd name="T12" fmla="*/ 0 60000 65536"/>
                  <a:gd name="T13" fmla="*/ 0 60000 65536"/>
                  <a:gd name="T14" fmla="*/ 0 60000 65536"/>
                  <a:gd name="T15" fmla="*/ 0 w 8"/>
                  <a:gd name="T16" fmla="*/ 0 h 2"/>
                  <a:gd name="T17" fmla="*/ 8 w 8"/>
                  <a:gd name="T18" fmla="*/ 2 h 2"/>
                </a:gdLst>
                <a:ahLst/>
                <a:cxnLst>
                  <a:cxn ang="T10">
                    <a:pos x="T0" y="T1"/>
                  </a:cxn>
                  <a:cxn ang="T11">
                    <a:pos x="T2" y="T3"/>
                  </a:cxn>
                  <a:cxn ang="T12">
                    <a:pos x="T4" y="T5"/>
                  </a:cxn>
                  <a:cxn ang="T13">
                    <a:pos x="T6" y="T7"/>
                  </a:cxn>
                  <a:cxn ang="T14">
                    <a:pos x="T8" y="T9"/>
                  </a:cxn>
                </a:cxnLst>
                <a:rect l="T15" t="T16" r="T17" b="T18"/>
                <a:pathLst>
                  <a:path w="8" h="2">
                    <a:moveTo>
                      <a:pt x="5" y="1"/>
                    </a:moveTo>
                    <a:cubicBezTo>
                      <a:pt x="6" y="1"/>
                      <a:pt x="8" y="1"/>
                      <a:pt x="8" y="2"/>
                    </a:cubicBezTo>
                    <a:cubicBezTo>
                      <a:pt x="7" y="2"/>
                      <a:pt x="5" y="2"/>
                      <a:pt x="4" y="2"/>
                    </a:cubicBezTo>
                    <a:cubicBezTo>
                      <a:pt x="3" y="2"/>
                      <a:pt x="0" y="2"/>
                      <a:pt x="0" y="1"/>
                    </a:cubicBezTo>
                    <a:cubicBezTo>
                      <a:pt x="1" y="0"/>
                      <a:pt x="4" y="0"/>
                      <a:pt x="5"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7" name="Freeform 3197">
                <a:extLst>
                  <a:ext uri="{FF2B5EF4-FFF2-40B4-BE49-F238E27FC236}">
                    <a16:creationId xmlns:a16="http://schemas.microsoft.com/office/drawing/2014/main" id="{5FC4D9F3-C2EB-F110-9545-10E7306F736E}"/>
                  </a:ext>
                </a:extLst>
              </p:cNvPr>
              <p:cNvSpPr>
                <a:spLocks noChangeAspect="1"/>
              </p:cNvSpPr>
              <p:nvPr/>
            </p:nvSpPr>
            <p:spPr bwMode="auto">
              <a:xfrm>
                <a:off x="9186403" y="1232076"/>
                <a:ext cx="23931" cy="30733"/>
              </a:xfrm>
              <a:custGeom>
                <a:avLst/>
                <a:gdLst>
                  <a:gd name="T0" fmla="*/ 6 w 5"/>
                  <a:gd name="T1" fmla="*/ 5 h 7"/>
                  <a:gd name="T2" fmla="*/ 8 w 5"/>
                  <a:gd name="T3" fmla="*/ 0 h 7"/>
                  <a:gd name="T4" fmla="*/ 6 w 5"/>
                  <a:gd name="T5" fmla="*/ 6 h 7"/>
                  <a:gd name="T6" fmla="*/ 0 w 5"/>
                  <a:gd name="T7" fmla="*/ 13 h 7"/>
                  <a:gd name="T8" fmla="*/ 6 w 5"/>
                  <a:gd name="T9" fmla="*/ 5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8" name="Freeform 3198">
                <a:extLst>
                  <a:ext uri="{FF2B5EF4-FFF2-40B4-BE49-F238E27FC236}">
                    <a16:creationId xmlns:a16="http://schemas.microsoft.com/office/drawing/2014/main" id="{75BAC558-7ACC-1517-2D15-40E535962EEB}"/>
                  </a:ext>
                </a:extLst>
              </p:cNvPr>
              <p:cNvSpPr>
                <a:spLocks noChangeAspect="1"/>
              </p:cNvSpPr>
              <p:nvPr/>
            </p:nvSpPr>
            <p:spPr bwMode="auto">
              <a:xfrm>
                <a:off x="9952182" y="1706749"/>
                <a:ext cx="23931" cy="20490"/>
              </a:xfrm>
              <a:custGeom>
                <a:avLst/>
                <a:gdLst>
                  <a:gd name="T0" fmla="*/ 6 w 4"/>
                  <a:gd name="T1" fmla="*/ 6 h 5"/>
                  <a:gd name="T2" fmla="*/ 8 w 4"/>
                  <a:gd name="T3" fmla="*/ 8 h 5"/>
                  <a:gd name="T4" fmla="*/ 5 w 4"/>
                  <a:gd name="T5" fmla="*/ 6 h 5"/>
                  <a:gd name="T6" fmla="*/ 1 w 4"/>
                  <a:gd name="T7" fmla="*/ 0 h 5"/>
                  <a:gd name="T8" fmla="*/ 6 w 4"/>
                  <a:gd name="T9" fmla="*/ 6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4" y="4"/>
                      <a:pt x="4" y="5"/>
                      <a:pt x="4" y="5"/>
                    </a:cubicBezTo>
                    <a:cubicBezTo>
                      <a:pt x="3" y="5"/>
                      <a:pt x="2" y="4"/>
                      <a:pt x="2" y="3"/>
                    </a:cubicBezTo>
                    <a:cubicBezTo>
                      <a:pt x="1" y="2"/>
                      <a:pt x="0" y="1"/>
                      <a:pt x="1" y="0"/>
                    </a:cubicBezTo>
                    <a:cubicBezTo>
                      <a:pt x="2" y="0"/>
                      <a:pt x="3" y="2"/>
                      <a:pt x="3"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19" name="Freeform 3199">
                <a:extLst>
                  <a:ext uri="{FF2B5EF4-FFF2-40B4-BE49-F238E27FC236}">
                    <a16:creationId xmlns:a16="http://schemas.microsoft.com/office/drawing/2014/main" id="{E5AEE2B6-0C70-7CD5-966B-2346F66CABFE}"/>
                  </a:ext>
                </a:extLst>
              </p:cNvPr>
              <p:cNvSpPr>
                <a:spLocks noChangeAspect="1"/>
              </p:cNvSpPr>
              <p:nvPr/>
            </p:nvSpPr>
            <p:spPr bwMode="auto">
              <a:xfrm>
                <a:off x="9920274" y="1611131"/>
                <a:ext cx="3987" cy="23906"/>
              </a:xfrm>
              <a:custGeom>
                <a:avLst/>
                <a:gdLst>
                  <a:gd name="T0" fmla="*/ 1 w 1"/>
                  <a:gd name="T1" fmla="*/ 7 h 6"/>
                  <a:gd name="T2" fmla="*/ 0 w 1"/>
                  <a:gd name="T3" fmla="*/ 9 h 6"/>
                  <a:gd name="T4" fmla="*/ 0 w 1"/>
                  <a:gd name="T5" fmla="*/ 6 h 6"/>
                  <a:gd name="T6" fmla="*/ 0 w 1"/>
                  <a:gd name="T7" fmla="*/ 0 h 6"/>
                  <a:gd name="T8" fmla="*/ 1 w 1"/>
                  <a:gd name="T9" fmla="*/ 7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1"/>
                      <a:pt x="1" y="3"/>
                      <a:pt x="1" y="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0" name="Freeform 3200">
                <a:extLst>
                  <a:ext uri="{FF2B5EF4-FFF2-40B4-BE49-F238E27FC236}">
                    <a16:creationId xmlns:a16="http://schemas.microsoft.com/office/drawing/2014/main" id="{8CFE334E-F857-2366-D993-AE03D730FDB9}"/>
                  </a:ext>
                </a:extLst>
              </p:cNvPr>
              <p:cNvSpPr>
                <a:spLocks noChangeAspect="1"/>
              </p:cNvSpPr>
              <p:nvPr/>
            </p:nvSpPr>
            <p:spPr bwMode="auto">
              <a:xfrm>
                <a:off x="9960159" y="1747728"/>
                <a:ext cx="7977" cy="20490"/>
              </a:xfrm>
              <a:custGeom>
                <a:avLst/>
                <a:gdLst>
                  <a:gd name="T0" fmla="*/ 8 w 1"/>
                  <a:gd name="T1" fmla="*/ 6 h 5"/>
                  <a:gd name="T2" fmla="*/ 0 w 1"/>
                  <a:gd name="T3" fmla="*/ 8 h 5"/>
                  <a:gd name="T4" fmla="*/ 0 w 1"/>
                  <a:gd name="T5" fmla="*/ 6 h 5"/>
                  <a:gd name="T6" fmla="*/ 8 w 1"/>
                  <a:gd name="T7" fmla="*/ 0 h 5"/>
                  <a:gd name="T8" fmla="*/ 8 w 1"/>
                  <a:gd name="T9" fmla="*/ 6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0"/>
                      <a:pt x="1" y="2"/>
                      <a:pt x="1"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1" name="Freeform 3201">
                <a:extLst>
                  <a:ext uri="{FF2B5EF4-FFF2-40B4-BE49-F238E27FC236}">
                    <a16:creationId xmlns:a16="http://schemas.microsoft.com/office/drawing/2014/main" id="{0EE5F202-951F-0516-C2D6-6F769DB41ABA}"/>
                  </a:ext>
                </a:extLst>
              </p:cNvPr>
              <p:cNvSpPr>
                <a:spLocks noChangeAspect="1"/>
              </p:cNvSpPr>
              <p:nvPr/>
            </p:nvSpPr>
            <p:spPr bwMode="auto">
              <a:xfrm>
                <a:off x="9457614" y="1860420"/>
                <a:ext cx="31907" cy="10244"/>
              </a:xfrm>
              <a:custGeom>
                <a:avLst/>
                <a:gdLst>
                  <a:gd name="T0" fmla="*/ 9 w 6"/>
                  <a:gd name="T1" fmla="*/ 1 h 3"/>
                  <a:gd name="T2" fmla="*/ 15 w 6"/>
                  <a:gd name="T3" fmla="*/ 3 h 3"/>
                  <a:gd name="T4" fmla="*/ 7 w 6"/>
                  <a:gd name="T5" fmla="*/ 3 h 3"/>
                  <a:gd name="T6" fmla="*/ 0 w 6"/>
                  <a:gd name="T7" fmla="*/ 1 h 3"/>
                  <a:gd name="T8" fmla="*/ 9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4" y="1"/>
                    </a:moveTo>
                    <a:cubicBezTo>
                      <a:pt x="5" y="2"/>
                      <a:pt x="6" y="2"/>
                      <a:pt x="6" y="3"/>
                    </a:cubicBezTo>
                    <a:cubicBezTo>
                      <a:pt x="5" y="3"/>
                      <a:pt x="4" y="3"/>
                      <a:pt x="3" y="3"/>
                    </a:cubicBezTo>
                    <a:cubicBezTo>
                      <a:pt x="2" y="2"/>
                      <a:pt x="0" y="1"/>
                      <a:pt x="0" y="1"/>
                    </a:cubicBezTo>
                    <a:cubicBezTo>
                      <a:pt x="1" y="0"/>
                      <a:pt x="3" y="1"/>
                      <a:pt x="4"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2" name="Freeform 3257">
                <a:extLst>
                  <a:ext uri="{FF2B5EF4-FFF2-40B4-BE49-F238E27FC236}">
                    <a16:creationId xmlns:a16="http://schemas.microsoft.com/office/drawing/2014/main" id="{A6BD4CB3-631F-DE96-7918-DC18CB33FC15}"/>
                  </a:ext>
                </a:extLst>
              </p:cNvPr>
              <p:cNvSpPr>
                <a:spLocks noChangeAspect="1"/>
              </p:cNvSpPr>
              <p:nvPr/>
            </p:nvSpPr>
            <p:spPr bwMode="auto">
              <a:xfrm>
                <a:off x="8979002" y="1150118"/>
                <a:ext cx="11964" cy="20490"/>
              </a:xfrm>
              <a:custGeom>
                <a:avLst/>
                <a:gdLst>
                  <a:gd name="T0" fmla="*/ 8 w 2"/>
                  <a:gd name="T1" fmla="*/ 6 h 5"/>
                  <a:gd name="T2" fmla="*/ 5 w 2"/>
                  <a:gd name="T3" fmla="*/ 8 h 5"/>
                  <a:gd name="T4" fmla="*/ 0 w 2"/>
                  <a:gd name="T5" fmla="*/ 2 h 5"/>
                  <a:gd name="T6" fmla="*/ 5 w 2"/>
                  <a:gd name="T7" fmla="*/ 0 h 5"/>
                  <a:gd name="T8" fmla="*/ 8 w 2"/>
                  <a:gd name="T9" fmla="*/ 6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3" name="Freeform 3258">
                <a:extLst>
                  <a:ext uri="{FF2B5EF4-FFF2-40B4-BE49-F238E27FC236}">
                    <a16:creationId xmlns:a16="http://schemas.microsoft.com/office/drawing/2014/main" id="{093733F5-B02E-A9C0-BDA3-B4C9FFC1029D}"/>
                  </a:ext>
                </a:extLst>
              </p:cNvPr>
              <p:cNvSpPr>
                <a:spLocks noChangeAspect="1"/>
              </p:cNvSpPr>
              <p:nvPr/>
            </p:nvSpPr>
            <p:spPr bwMode="auto">
              <a:xfrm>
                <a:off x="9178424" y="1221830"/>
                <a:ext cx="15954" cy="6830"/>
              </a:xfrm>
              <a:custGeom>
                <a:avLst/>
                <a:gdLst>
                  <a:gd name="T0" fmla="*/ 2 w 4"/>
                  <a:gd name="T1" fmla="*/ 2 h 2"/>
                  <a:gd name="T2" fmla="*/ 0 w 4"/>
                  <a:gd name="T3" fmla="*/ 1 h 2"/>
                  <a:gd name="T4" fmla="*/ 2 w 4"/>
                  <a:gd name="T5" fmla="*/ 0 h 2"/>
                  <a:gd name="T6" fmla="*/ 4 w 4"/>
                  <a:gd name="T7" fmla="*/ 1 h 2"/>
                  <a:gd name="T8" fmla="*/ 2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1"/>
                      <a:pt x="0" y="1"/>
                    </a:cubicBezTo>
                    <a:cubicBezTo>
                      <a:pt x="0" y="0"/>
                      <a:pt x="1" y="0"/>
                      <a:pt x="2" y="0"/>
                    </a:cubicBezTo>
                    <a:cubicBezTo>
                      <a:pt x="2" y="0"/>
                      <a:pt x="4" y="0"/>
                      <a:pt x="4" y="1"/>
                    </a:cubicBezTo>
                    <a:cubicBezTo>
                      <a:pt x="4" y="2"/>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4" name="Freeform 3259">
                <a:extLst>
                  <a:ext uri="{FF2B5EF4-FFF2-40B4-BE49-F238E27FC236}">
                    <a16:creationId xmlns:a16="http://schemas.microsoft.com/office/drawing/2014/main" id="{9FAE1D48-F0E2-17EA-5347-582524970776}"/>
                  </a:ext>
                </a:extLst>
              </p:cNvPr>
              <p:cNvSpPr>
                <a:spLocks noChangeAspect="1"/>
              </p:cNvSpPr>
              <p:nvPr/>
            </p:nvSpPr>
            <p:spPr bwMode="auto">
              <a:xfrm>
                <a:off x="9928249" y="1600888"/>
                <a:ext cx="15954" cy="17074"/>
              </a:xfrm>
              <a:custGeom>
                <a:avLst/>
                <a:gdLst>
                  <a:gd name="T0" fmla="*/ 7 w 3"/>
                  <a:gd name="T1" fmla="*/ 5 h 4"/>
                  <a:gd name="T2" fmla="*/ 7 w 3"/>
                  <a:gd name="T3" fmla="*/ 6 h 4"/>
                  <a:gd name="T4" fmla="*/ 1 w 3"/>
                  <a:gd name="T5" fmla="*/ 6 h 4"/>
                  <a:gd name="T6" fmla="*/ 1 w 3"/>
                  <a:gd name="T7" fmla="*/ 1 h 4"/>
                  <a:gd name="T8" fmla="*/ 7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3"/>
                    </a:cubicBezTo>
                    <a:cubicBezTo>
                      <a:pt x="2" y="4"/>
                      <a:pt x="2" y="3"/>
                      <a:pt x="1" y="3"/>
                    </a:cubicBezTo>
                    <a:cubicBezTo>
                      <a:pt x="1" y="3"/>
                      <a:pt x="0" y="2"/>
                      <a:pt x="1" y="1"/>
                    </a:cubicBezTo>
                    <a:cubicBezTo>
                      <a:pt x="1"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5" name="Freeform 3260">
                <a:extLst>
                  <a:ext uri="{FF2B5EF4-FFF2-40B4-BE49-F238E27FC236}">
                    <a16:creationId xmlns:a16="http://schemas.microsoft.com/office/drawing/2014/main" id="{51EABE8C-6942-2668-2F6C-CFE3D0BE0773}"/>
                  </a:ext>
                </a:extLst>
              </p:cNvPr>
              <p:cNvSpPr>
                <a:spLocks noChangeAspect="1"/>
              </p:cNvSpPr>
              <p:nvPr/>
            </p:nvSpPr>
            <p:spPr bwMode="auto">
              <a:xfrm>
                <a:off x="9920272" y="1662356"/>
                <a:ext cx="15954" cy="17074"/>
              </a:xfrm>
              <a:custGeom>
                <a:avLst/>
                <a:gdLst>
                  <a:gd name="T0" fmla="*/ 3 w 3"/>
                  <a:gd name="T1" fmla="*/ 5 h 4"/>
                  <a:gd name="T2" fmla="*/ 2 w 3"/>
                  <a:gd name="T3" fmla="*/ 8 h 4"/>
                  <a:gd name="T4" fmla="*/ 0 w 3"/>
                  <a:gd name="T5" fmla="*/ 5 h 4"/>
                  <a:gd name="T6" fmla="*/ 1 w 3"/>
                  <a:gd name="T7" fmla="*/ 0 h 4"/>
                  <a:gd name="T8" fmla="*/ 3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2" y="4"/>
                    </a:cubicBezTo>
                    <a:cubicBezTo>
                      <a:pt x="1" y="4"/>
                      <a:pt x="1" y="3"/>
                      <a:pt x="0" y="2"/>
                    </a:cubicBezTo>
                    <a:cubicBezTo>
                      <a:pt x="0" y="2"/>
                      <a:pt x="0" y="0"/>
                      <a:pt x="1" y="0"/>
                    </a:cubicBezTo>
                    <a:cubicBezTo>
                      <a:pt x="2"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6" name="Freeform 3261">
                <a:extLst>
                  <a:ext uri="{FF2B5EF4-FFF2-40B4-BE49-F238E27FC236}">
                    <a16:creationId xmlns:a16="http://schemas.microsoft.com/office/drawing/2014/main" id="{7EA725B9-61EC-B6A0-73A4-F4E6DA413AA0}"/>
                  </a:ext>
                </a:extLst>
              </p:cNvPr>
              <p:cNvSpPr>
                <a:spLocks noChangeAspect="1"/>
              </p:cNvSpPr>
              <p:nvPr/>
            </p:nvSpPr>
            <p:spPr bwMode="auto">
              <a:xfrm>
                <a:off x="9401779" y="1843346"/>
                <a:ext cx="23931" cy="6830"/>
              </a:xfrm>
              <a:custGeom>
                <a:avLst/>
                <a:gdLst>
                  <a:gd name="T0" fmla="*/ 7 w 5"/>
                  <a:gd name="T1" fmla="*/ 2 h 2"/>
                  <a:gd name="T2" fmla="*/ 2 w 5"/>
                  <a:gd name="T3" fmla="*/ 2 h 2"/>
                  <a:gd name="T4" fmla="*/ 1 w 5"/>
                  <a:gd name="T5" fmla="*/ 1 h 2"/>
                  <a:gd name="T6" fmla="*/ 6 w 5"/>
                  <a:gd name="T7" fmla="*/ 0 h 2"/>
                  <a:gd name="T8" fmla="*/ 7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2"/>
                    </a:moveTo>
                    <a:cubicBezTo>
                      <a:pt x="4" y="2"/>
                      <a:pt x="3" y="2"/>
                      <a:pt x="2" y="2"/>
                    </a:cubicBezTo>
                    <a:cubicBezTo>
                      <a:pt x="1" y="2"/>
                      <a:pt x="0" y="1"/>
                      <a:pt x="1" y="1"/>
                    </a:cubicBezTo>
                    <a:cubicBezTo>
                      <a:pt x="1" y="0"/>
                      <a:pt x="1" y="0"/>
                      <a:pt x="3" y="0"/>
                    </a:cubicBezTo>
                    <a:cubicBezTo>
                      <a:pt x="5" y="0"/>
                      <a:pt x="4" y="1"/>
                      <a:pt x="4"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7" name="Freeform 3262">
                <a:extLst>
                  <a:ext uri="{FF2B5EF4-FFF2-40B4-BE49-F238E27FC236}">
                    <a16:creationId xmlns:a16="http://schemas.microsoft.com/office/drawing/2014/main" id="{DBE9792F-3ECB-52D1-001C-892729B9340B}"/>
                  </a:ext>
                </a:extLst>
              </p:cNvPr>
              <p:cNvSpPr>
                <a:spLocks noChangeAspect="1"/>
              </p:cNvSpPr>
              <p:nvPr/>
            </p:nvSpPr>
            <p:spPr bwMode="auto">
              <a:xfrm>
                <a:off x="9513452" y="1863834"/>
                <a:ext cx="15954" cy="13660"/>
              </a:xfrm>
              <a:custGeom>
                <a:avLst/>
                <a:gdLst>
                  <a:gd name="T0" fmla="*/ 3 w 3"/>
                  <a:gd name="T1" fmla="*/ 5 h 3"/>
                  <a:gd name="T2" fmla="*/ 1 w 3"/>
                  <a:gd name="T3" fmla="*/ 7 h 3"/>
                  <a:gd name="T4" fmla="*/ 0 w 3"/>
                  <a:gd name="T5" fmla="*/ 1 h 3"/>
                  <a:gd name="T6" fmla="*/ 2 w 3"/>
                  <a:gd name="T7" fmla="*/ 1 h 3"/>
                  <a:gd name="T8" fmla="*/ 3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3"/>
                      <a:pt x="2" y="3"/>
                      <a:pt x="1" y="3"/>
                    </a:cubicBezTo>
                    <a:cubicBezTo>
                      <a:pt x="0" y="2"/>
                      <a:pt x="0" y="2"/>
                      <a:pt x="0" y="1"/>
                    </a:cubicBezTo>
                    <a:cubicBezTo>
                      <a:pt x="0" y="1"/>
                      <a:pt x="0" y="0"/>
                      <a:pt x="2" y="1"/>
                    </a:cubicBezTo>
                    <a:cubicBezTo>
                      <a:pt x="3" y="1"/>
                      <a:pt x="3" y="2"/>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28" name="Oval 3349">
                <a:extLst>
                  <a:ext uri="{FF2B5EF4-FFF2-40B4-BE49-F238E27FC236}">
                    <a16:creationId xmlns:a16="http://schemas.microsoft.com/office/drawing/2014/main" id="{7B72668A-BAD1-5361-AAAE-F42DA26C83CE}"/>
                  </a:ext>
                </a:extLst>
              </p:cNvPr>
              <p:cNvSpPr>
                <a:spLocks noChangeAspect="1" noChangeArrowheads="1"/>
              </p:cNvSpPr>
              <p:nvPr/>
            </p:nvSpPr>
            <p:spPr bwMode="auto">
              <a:xfrm>
                <a:off x="9178426" y="1129626"/>
                <a:ext cx="3987" cy="13660"/>
              </a:xfrm>
              <a:prstGeom prst="ellipse">
                <a:avLst/>
              </a:prstGeom>
              <a:grpFill/>
              <a:ln w="3175" cap="rnd">
                <a:solidFill>
                  <a:schemeClr val="accent5">
                    <a:lumMod val="75000"/>
                  </a:schemeClr>
                </a:solidFill>
                <a:round/>
                <a:headEnd/>
                <a:tailEnd/>
              </a:ln>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529" name="Freeform 3350">
                <a:extLst>
                  <a:ext uri="{FF2B5EF4-FFF2-40B4-BE49-F238E27FC236}">
                    <a16:creationId xmlns:a16="http://schemas.microsoft.com/office/drawing/2014/main" id="{EE91EB53-869A-3965-3CF4-4F1649A82AFA}"/>
                  </a:ext>
                </a:extLst>
              </p:cNvPr>
              <p:cNvSpPr>
                <a:spLocks noChangeAspect="1"/>
              </p:cNvSpPr>
              <p:nvPr/>
            </p:nvSpPr>
            <p:spPr bwMode="auto">
              <a:xfrm>
                <a:off x="8731720" y="1293542"/>
                <a:ext cx="15954" cy="10244"/>
              </a:xfrm>
              <a:custGeom>
                <a:avLst/>
                <a:gdLst>
                  <a:gd name="T0" fmla="*/ 5 w 3"/>
                  <a:gd name="T1" fmla="*/ 8 h 2"/>
                  <a:gd name="T2" fmla="*/ 1 w 3"/>
                  <a:gd name="T3" fmla="*/ 8 h 2"/>
                  <a:gd name="T4" fmla="*/ 1 w 3"/>
                  <a:gd name="T5" fmla="*/ 0 h 2"/>
                  <a:gd name="T6" fmla="*/ 7 w 3"/>
                  <a:gd name="T7" fmla="*/ 0 h 2"/>
                  <a:gd name="T8" fmla="*/ 5 w 3"/>
                  <a:gd name="T9" fmla="*/ 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0"/>
                    </a:cubicBezTo>
                    <a:cubicBezTo>
                      <a:pt x="1" y="0"/>
                      <a:pt x="2" y="0"/>
                      <a:pt x="3" y="0"/>
                    </a:cubicBezTo>
                    <a:cubicBezTo>
                      <a:pt x="3" y="1"/>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0" name="Freeform 3351">
                <a:extLst>
                  <a:ext uri="{FF2B5EF4-FFF2-40B4-BE49-F238E27FC236}">
                    <a16:creationId xmlns:a16="http://schemas.microsoft.com/office/drawing/2014/main" id="{F436848C-6D08-F23D-531E-66FED82536EE}"/>
                  </a:ext>
                </a:extLst>
              </p:cNvPr>
              <p:cNvSpPr>
                <a:spLocks noChangeAspect="1"/>
              </p:cNvSpPr>
              <p:nvPr/>
            </p:nvSpPr>
            <p:spPr bwMode="auto">
              <a:xfrm>
                <a:off x="8915188" y="1232074"/>
                <a:ext cx="15954" cy="10244"/>
              </a:xfrm>
              <a:custGeom>
                <a:avLst/>
                <a:gdLst>
                  <a:gd name="T0" fmla="*/ 2 w 3"/>
                  <a:gd name="T1" fmla="*/ 8 h 2"/>
                  <a:gd name="T2" fmla="*/ 0 w 3"/>
                  <a:gd name="T3" fmla="*/ 5 h 2"/>
                  <a:gd name="T4" fmla="*/ 1 w 3"/>
                  <a:gd name="T5" fmla="*/ 0 h 2"/>
                  <a:gd name="T6" fmla="*/ 3 w 3"/>
                  <a:gd name="T7" fmla="*/ 5 h 2"/>
                  <a:gd name="T8" fmla="*/ 2 w 3"/>
                  <a:gd name="T9" fmla="*/ 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0" y="2"/>
                      <a:pt x="0" y="1"/>
                    </a:cubicBezTo>
                    <a:cubicBezTo>
                      <a:pt x="0" y="1"/>
                      <a:pt x="1" y="0"/>
                      <a:pt x="1" y="0"/>
                    </a:cubicBezTo>
                    <a:cubicBezTo>
                      <a:pt x="2" y="0"/>
                      <a:pt x="3" y="0"/>
                      <a:pt x="3" y="1"/>
                    </a:cubicBezTo>
                    <a:cubicBezTo>
                      <a:pt x="3" y="2"/>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1" name="Freeform 3352">
                <a:extLst>
                  <a:ext uri="{FF2B5EF4-FFF2-40B4-BE49-F238E27FC236}">
                    <a16:creationId xmlns:a16="http://schemas.microsoft.com/office/drawing/2014/main" id="{391133B3-6B10-DC22-9847-90D3E27E2F73}"/>
                  </a:ext>
                </a:extLst>
              </p:cNvPr>
              <p:cNvSpPr>
                <a:spLocks noChangeAspect="1"/>
              </p:cNvSpPr>
              <p:nvPr/>
            </p:nvSpPr>
            <p:spPr bwMode="auto">
              <a:xfrm>
                <a:off x="8460507" y="1597472"/>
                <a:ext cx="15954" cy="6830"/>
              </a:xfrm>
              <a:custGeom>
                <a:avLst/>
                <a:gdLst>
                  <a:gd name="T0" fmla="*/ 2 w 3"/>
                  <a:gd name="T1" fmla="*/ 2 h 2"/>
                  <a:gd name="T2" fmla="*/ 0 w 3"/>
                  <a:gd name="T3" fmla="*/ 2 h 2"/>
                  <a:gd name="T4" fmla="*/ 1 w 3"/>
                  <a:gd name="T5" fmla="*/ 0 h 2"/>
                  <a:gd name="T6" fmla="*/ 3 w 3"/>
                  <a:gd name="T7" fmla="*/ 1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1" y="1"/>
                      <a:pt x="1" y="0"/>
                    </a:cubicBezTo>
                    <a:cubicBezTo>
                      <a:pt x="2" y="0"/>
                      <a:pt x="2" y="0"/>
                      <a:pt x="3" y="1"/>
                    </a:cubicBezTo>
                    <a:cubicBezTo>
                      <a:pt x="3" y="1"/>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2" name="Freeform 3353">
                <a:extLst>
                  <a:ext uri="{FF2B5EF4-FFF2-40B4-BE49-F238E27FC236}">
                    <a16:creationId xmlns:a16="http://schemas.microsoft.com/office/drawing/2014/main" id="{5CF33334-CA08-86F8-3FCF-19E384C9ED48}"/>
                  </a:ext>
                </a:extLst>
              </p:cNvPr>
              <p:cNvSpPr>
                <a:spLocks noChangeAspect="1"/>
              </p:cNvSpPr>
              <p:nvPr/>
            </p:nvSpPr>
            <p:spPr bwMode="auto">
              <a:xfrm>
                <a:off x="9250216" y="1296958"/>
                <a:ext cx="15954" cy="10246"/>
              </a:xfrm>
              <a:custGeom>
                <a:avLst/>
                <a:gdLst>
                  <a:gd name="T0" fmla="*/ 2 w 3"/>
                  <a:gd name="T1" fmla="*/ 8 h 2"/>
                  <a:gd name="T2" fmla="*/ 1 w 3"/>
                  <a:gd name="T3" fmla="*/ 8 h 2"/>
                  <a:gd name="T4" fmla="*/ 1 w 3"/>
                  <a:gd name="T5" fmla="*/ 5 h 2"/>
                  <a:gd name="T6" fmla="*/ 2 w 3"/>
                  <a:gd name="T7" fmla="*/ 0 h 2"/>
                  <a:gd name="T8" fmla="*/ 2 w 3"/>
                  <a:gd name="T9" fmla="*/ 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2" y="2"/>
                      <a:pt x="1" y="2"/>
                      <a:pt x="1" y="2"/>
                    </a:cubicBezTo>
                    <a:cubicBezTo>
                      <a:pt x="0" y="2"/>
                      <a:pt x="1" y="1"/>
                      <a:pt x="1" y="1"/>
                    </a:cubicBezTo>
                    <a:cubicBezTo>
                      <a:pt x="1" y="0"/>
                      <a:pt x="2" y="0"/>
                      <a:pt x="2" y="0"/>
                    </a:cubicBezTo>
                    <a:cubicBezTo>
                      <a:pt x="3"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3" name="Freeform 3354">
                <a:extLst>
                  <a:ext uri="{FF2B5EF4-FFF2-40B4-BE49-F238E27FC236}">
                    <a16:creationId xmlns:a16="http://schemas.microsoft.com/office/drawing/2014/main" id="{431BD2E4-5F36-E4AC-8345-6B2C51D6F662}"/>
                  </a:ext>
                </a:extLst>
              </p:cNvPr>
              <p:cNvSpPr>
                <a:spLocks noChangeAspect="1"/>
              </p:cNvSpPr>
              <p:nvPr/>
            </p:nvSpPr>
            <p:spPr bwMode="auto">
              <a:xfrm>
                <a:off x="9202357" y="1221830"/>
                <a:ext cx="7977" cy="10246"/>
              </a:xfrm>
              <a:custGeom>
                <a:avLst/>
                <a:gdLst>
                  <a:gd name="T0" fmla="*/ 2 w 2"/>
                  <a:gd name="T1" fmla="*/ 2 h 3"/>
                  <a:gd name="T2" fmla="*/ 1 w 2"/>
                  <a:gd name="T3" fmla="*/ 3 h 3"/>
                  <a:gd name="T4" fmla="*/ 0 w 2"/>
                  <a:gd name="T5" fmla="*/ 1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1"/>
                    </a:cubicBezTo>
                    <a:cubicBezTo>
                      <a:pt x="0" y="1"/>
                      <a:pt x="1" y="0"/>
                      <a:pt x="1" y="0"/>
                    </a:cubicBezTo>
                    <a:cubicBezTo>
                      <a:pt x="2"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4" name="Freeform 3355">
                <a:extLst>
                  <a:ext uri="{FF2B5EF4-FFF2-40B4-BE49-F238E27FC236}">
                    <a16:creationId xmlns:a16="http://schemas.microsoft.com/office/drawing/2014/main" id="{81C663E1-3CB1-3FC8-91C9-F6A648781EFF}"/>
                  </a:ext>
                </a:extLst>
              </p:cNvPr>
              <p:cNvSpPr>
                <a:spLocks noChangeAspect="1"/>
              </p:cNvSpPr>
              <p:nvPr/>
            </p:nvSpPr>
            <p:spPr bwMode="auto">
              <a:xfrm>
                <a:off x="9337961" y="1283299"/>
                <a:ext cx="15954" cy="6830"/>
              </a:xfrm>
              <a:custGeom>
                <a:avLst/>
                <a:gdLst>
                  <a:gd name="T0" fmla="*/ 5 w 3"/>
                  <a:gd name="T1" fmla="*/ 1 h 2"/>
                  <a:gd name="T2" fmla="*/ 5 w 3"/>
                  <a:gd name="T3" fmla="*/ 1 h 2"/>
                  <a:gd name="T4" fmla="*/ 1 w 3"/>
                  <a:gd name="T5" fmla="*/ 2 h 2"/>
                  <a:gd name="T6" fmla="*/ 0 w 3"/>
                  <a:gd name="T7" fmla="*/ 1 h 2"/>
                  <a:gd name="T8" fmla="*/ 5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1"/>
                    </a:cubicBezTo>
                    <a:cubicBezTo>
                      <a:pt x="2" y="2"/>
                      <a:pt x="2" y="2"/>
                      <a:pt x="1" y="2"/>
                    </a:cubicBezTo>
                    <a:cubicBezTo>
                      <a:pt x="1" y="2"/>
                      <a:pt x="0" y="2"/>
                      <a:pt x="0" y="1"/>
                    </a:cubicBezTo>
                    <a:cubicBezTo>
                      <a:pt x="0" y="0"/>
                      <a:pt x="1" y="0"/>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5" name="Freeform 3356">
                <a:extLst>
                  <a:ext uri="{FF2B5EF4-FFF2-40B4-BE49-F238E27FC236}">
                    <a16:creationId xmlns:a16="http://schemas.microsoft.com/office/drawing/2014/main" id="{58216DF1-6F00-591F-E700-0D00B27E9D57}"/>
                  </a:ext>
                </a:extLst>
              </p:cNvPr>
              <p:cNvSpPr>
                <a:spLocks noChangeAspect="1"/>
              </p:cNvSpPr>
              <p:nvPr/>
            </p:nvSpPr>
            <p:spPr bwMode="auto">
              <a:xfrm>
                <a:off x="9298079" y="1283297"/>
                <a:ext cx="7977" cy="3416"/>
              </a:xfrm>
              <a:custGeom>
                <a:avLst/>
                <a:gdLst>
                  <a:gd name="T0" fmla="*/ 1 w 2"/>
                  <a:gd name="T1" fmla="*/ 0 h 1"/>
                  <a:gd name="T2" fmla="*/ 2 w 2"/>
                  <a:gd name="T3" fmla="*/ 0 h 1"/>
                  <a:gd name="T4" fmla="*/ 1 w 2"/>
                  <a:gd name="T5" fmla="*/ 1 h 1"/>
                  <a:gd name="T6" fmla="*/ 0 w 2"/>
                  <a:gd name="T7" fmla="*/ 1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1" y="0"/>
                      <a:pt x="2" y="0"/>
                      <a:pt x="2" y="0"/>
                    </a:cubicBezTo>
                    <a:cubicBezTo>
                      <a:pt x="2" y="1"/>
                      <a:pt x="2" y="1"/>
                      <a:pt x="1" y="1"/>
                    </a:cubicBezTo>
                    <a:cubicBezTo>
                      <a:pt x="1" y="1"/>
                      <a:pt x="0" y="1"/>
                      <a:pt x="0" y="1"/>
                    </a:cubicBezTo>
                    <a:cubicBezTo>
                      <a:pt x="0" y="0"/>
                      <a:pt x="0" y="0"/>
                      <a:pt x="1"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6" name="Oval 3357">
                <a:extLst>
                  <a:ext uri="{FF2B5EF4-FFF2-40B4-BE49-F238E27FC236}">
                    <a16:creationId xmlns:a16="http://schemas.microsoft.com/office/drawing/2014/main" id="{5730339B-6F63-A7CE-388E-F7DF6FF8DFC9}"/>
                  </a:ext>
                </a:extLst>
              </p:cNvPr>
              <p:cNvSpPr>
                <a:spLocks noChangeAspect="1" noChangeArrowheads="1"/>
              </p:cNvSpPr>
              <p:nvPr/>
            </p:nvSpPr>
            <p:spPr bwMode="auto">
              <a:xfrm>
                <a:off x="9728830" y="1522343"/>
                <a:ext cx="7977" cy="6830"/>
              </a:xfrm>
              <a:prstGeom prst="ellipse">
                <a:avLst/>
              </a:pr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7" name="Freeform 3358">
                <a:extLst>
                  <a:ext uri="{FF2B5EF4-FFF2-40B4-BE49-F238E27FC236}">
                    <a16:creationId xmlns:a16="http://schemas.microsoft.com/office/drawing/2014/main" id="{F11E159D-C8E0-5051-07D6-42FE9C8488C1}"/>
                  </a:ext>
                </a:extLst>
              </p:cNvPr>
              <p:cNvSpPr>
                <a:spLocks noChangeAspect="1"/>
              </p:cNvSpPr>
              <p:nvPr/>
            </p:nvSpPr>
            <p:spPr bwMode="auto">
              <a:xfrm>
                <a:off x="9832526" y="1501852"/>
                <a:ext cx="15954" cy="13660"/>
              </a:xfrm>
              <a:custGeom>
                <a:avLst/>
                <a:gdLst>
                  <a:gd name="T0" fmla="*/ 1 w 3"/>
                  <a:gd name="T1" fmla="*/ 7 h 3"/>
                  <a:gd name="T2" fmla="*/ 0 w 3"/>
                  <a:gd name="T3" fmla="*/ 7 h 3"/>
                  <a:gd name="T4" fmla="*/ 1 w 3"/>
                  <a:gd name="T5" fmla="*/ 1 h 3"/>
                  <a:gd name="T6" fmla="*/ 5 w 3"/>
                  <a:gd name="T7" fmla="*/ 1 h 3"/>
                  <a:gd name="T8" fmla="*/ 1 w 3"/>
                  <a:gd name="T9" fmla="*/ 7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1" y="3"/>
                      <a:pt x="0" y="3"/>
                    </a:cubicBezTo>
                    <a:cubicBezTo>
                      <a:pt x="0" y="2"/>
                      <a:pt x="0" y="1"/>
                      <a:pt x="1" y="1"/>
                    </a:cubicBezTo>
                    <a:cubicBezTo>
                      <a:pt x="1" y="1"/>
                      <a:pt x="2" y="0"/>
                      <a:pt x="2" y="1"/>
                    </a:cubicBezTo>
                    <a:cubicBezTo>
                      <a:pt x="3" y="2"/>
                      <a:pt x="2" y="2"/>
                      <a:pt x="1"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8" name="Freeform 3359">
                <a:extLst>
                  <a:ext uri="{FF2B5EF4-FFF2-40B4-BE49-F238E27FC236}">
                    <a16:creationId xmlns:a16="http://schemas.microsoft.com/office/drawing/2014/main" id="{B73DD750-3FEE-2ED6-AD3F-C2ACE1E0E5EA}"/>
                  </a:ext>
                </a:extLst>
              </p:cNvPr>
              <p:cNvSpPr>
                <a:spLocks noChangeAspect="1"/>
              </p:cNvSpPr>
              <p:nvPr/>
            </p:nvSpPr>
            <p:spPr bwMode="auto">
              <a:xfrm>
                <a:off x="9912295" y="1570152"/>
                <a:ext cx="11964" cy="6830"/>
              </a:xfrm>
              <a:custGeom>
                <a:avLst/>
                <a:gdLst>
                  <a:gd name="T0" fmla="*/ 5 w 2"/>
                  <a:gd name="T1" fmla="*/ 1 h 2"/>
                  <a:gd name="T2" fmla="*/ 0 w 2"/>
                  <a:gd name="T3" fmla="*/ 1 h 2"/>
                  <a:gd name="T4" fmla="*/ 5 w 2"/>
                  <a:gd name="T5" fmla="*/ 0 h 2"/>
                  <a:gd name="T6" fmla="*/ 8 w 2"/>
                  <a:gd name="T7" fmla="*/ 1 h 2"/>
                  <a:gd name="T8" fmla="*/ 5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0" y="1"/>
                      <a:pt x="0" y="1"/>
                    </a:cubicBezTo>
                    <a:cubicBezTo>
                      <a:pt x="0" y="0"/>
                      <a:pt x="0" y="0"/>
                      <a:pt x="1" y="0"/>
                    </a:cubicBezTo>
                    <a:cubicBezTo>
                      <a:pt x="1" y="0"/>
                      <a:pt x="2" y="0"/>
                      <a:pt x="2" y="1"/>
                    </a:cubicBezTo>
                    <a:cubicBezTo>
                      <a:pt x="2" y="1"/>
                      <a:pt x="1" y="1"/>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39" name="Freeform 3360">
                <a:extLst>
                  <a:ext uri="{FF2B5EF4-FFF2-40B4-BE49-F238E27FC236}">
                    <a16:creationId xmlns:a16="http://schemas.microsoft.com/office/drawing/2014/main" id="{88BEB1D7-0B79-10D5-0EB8-266E080E999D}"/>
                  </a:ext>
                </a:extLst>
              </p:cNvPr>
              <p:cNvSpPr>
                <a:spLocks noChangeAspect="1"/>
              </p:cNvSpPr>
              <p:nvPr/>
            </p:nvSpPr>
            <p:spPr bwMode="auto">
              <a:xfrm>
                <a:off x="9912295" y="1532589"/>
                <a:ext cx="11964" cy="6830"/>
              </a:xfrm>
              <a:custGeom>
                <a:avLst/>
                <a:gdLst>
                  <a:gd name="T0" fmla="*/ 8 w 2"/>
                  <a:gd name="T1" fmla="*/ 1 h 2"/>
                  <a:gd name="T2" fmla="*/ 8 w 2"/>
                  <a:gd name="T3" fmla="*/ 2 h 2"/>
                  <a:gd name="T4" fmla="*/ 5 w 2"/>
                  <a:gd name="T5" fmla="*/ 1 h 2"/>
                  <a:gd name="T6" fmla="*/ 5 w 2"/>
                  <a:gd name="T7" fmla="*/ 0 h 2"/>
                  <a:gd name="T8" fmla="*/ 8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2" y="0"/>
                      <a:pt x="2"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0" name="Freeform 3361">
                <a:extLst>
                  <a:ext uri="{FF2B5EF4-FFF2-40B4-BE49-F238E27FC236}">
                    <a16:creationId xmlns:a16="http://schemas.microsoft.com/office/drawing/2014/main" id="{3F430CEA-0337-7D26-E280-FAC453BC16B5}"/>
                  </a:ext>
                </a:extLst>
              </p:cNvPr>
              <p:cNvSpPr>
                <a:spLocks noChangeAspect="1"/>
              </p:cNvSpPr>
              <p:nvPr/>
            </p:nvSpPr>
            <p:spPr bwMode="auto">
              <a:xfrm>
                <a:off x="9736804" y="1884325"/>
                <a:ext cx="15954" cy="6830"/>
              </a:xfrm>
              <a:custGeom>
                <a:avLst/>
                <a:gdLst>
                  <a:gd name="T0" fmla="*/ 8 w 2"/>
                  <a:gd name="T1" fmla="*/ 1 h 2"/>
                  <a:gd name="T2" fmla="*/ 5 w 2"/>
                  <a:gd name="T3" fmla="*/ 2 h 2"/>
                  <a:gd name="T4" fmla="*/ 0 w 2"/>
                  <a:gd name="T5" fmla="*/ 1 h 2"/>
                  <a:gd name="T6" fmla="*/ 5 w 2"/>
                  <a:gd name="T7" fmla="*/ 0 h 2"/>
                  <a:gd name="T8" fmla="*/ 8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1" name="Freeform 3362">
                <a:extLst>
                  <a:ext uri="{FF2B5EF4-FFF2-40B4-BE49-F238E27FC236}">
                    <a16:creationId xmlns:a16="http://schemas.microsoft.com/office/drawing/2014/main" id="{BCC8C961-A1B6-8931-2E97-EF6BC3A5A7AA}"/>
                  </a:ext>
                </a:extLst>
              </p:cNvPr>
              <p:cNvSpPr>
                <a:spLocks noChangeAspect="1"/>
              </p:cNvSpPr>
              <p:nvPr/>
            </p:nvSpPr>
            <p:spPr bwMode="auto">
              <a:xfrm>
                <a:off x="9920274" y="1843344"/>
                <a:ext cx="7977" cy="13660"/>
              </a:xfrm>
              <a:custGeom>
                <a:avLst/>
                <a:gdLst>
                  <a:gd name="T0" fmla="*/ 1 w 1"/>
                  <a:gd name="T1" fmla="*/ 5 h 3"/>
                  <a:gd name="T2" fmla="*/ 1 w 1"/>
                  <a:gd name="T3" fmla="*/ 7 h 3"/>
                  <a:gd name="T4" fmla="*/ 0 w 1"/>
                  <a:gd name="T5" fmla="*/ 1 h 3"/>
                  <a:gd name="T6" fmla="*/ 1 w 1"/>
                  <a:gd name="T7" fmla="*/ 0 h 3"/>
                  <a:gd name="T8" fmla="*/ 1 w 1"/>
                  <a:gd name="T9" fmla="*/ 5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2" name="Freeform 3363">
                <a:extLst>
                  <a:ext uri="{FF2B5EF4-FFF2-40B4-BE49-F238E27FC236}">
                    <a16:creationId xmlns:a16="http://schemas.microsoft.com/office/drawing/2014/main" id="{A6A56BB6-C940-1C99-6731-CC6E75F50D70}"/>
                  </a:ext>
                </a:extLst>
              </p:cNvPr>
              <p:cNvSpPr>
                <a:spLocks noChangeAspect="1"/>
              </p:cNvSpPr>
              <p:nvPr/>
            </p:nvSpPr>
            <p:spPr bwMode="auto">
              <a:xfrm>
                <a:off x="9944205" y="1795537"/>
                <a:ext cx="3987" cy="10246"/>
              </a:xfrm>
              <a:custGeom>
                <a:avLst/>
                <a:gdLst>
                  <a:gd name="T0" fmla="*/ 1 w 1"/>
                  <a:gd name="T1" fmla="*/ 2 h 3"/>
                  <a:gd name="T2" fmla="*/ 0 w 1"/>
                  <a:gd name="T3" fmla="*/ 3 h 3"/>
                  <a:gd name="T4" fmla="*/ 0 w 1"/>
                  <a:gd name="T5" fmla="*/ 2 h 3"/>
                  <a:gd name="T6" fmla="*/ 1 w 1"/>
                  <a:gd name="T7" fmla="*/ 1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3" name="Freeform 3364">
                <a:extLst>
                  <a:ext uri="{FF2B5EF4-FFF2-40B4-BE49-F238E27FC236}">
                    <a16:creationId xmlns:a16="http://schemas.microsoft.com/office/drawing/2014/main" id="{C148A0F7-CB74-356A-B6B9-ABB24737D22B}"/>
                  </a:ext>
                </a:extLst>
              </p:cNvPr>
              <p:cNvSpPr>
                <a:spLocks noChangeAspect="1"/>
              </p:cNvSpPr>
              <p:nvPr/>
            </p:nvSpPr>
            <p:spPr bwMode="auto">
              <a:xfrm>
                <a:off x="9912295" y="1863834"/>
                <a:ext cx="11964" cy="13660"/>
              </a:xfrm>
              <a:custGeom>
                <a:avLst/>
                <a:gdLst>
                  <a:gd name="T0" fmla="*/ 5 w 2"/>
                  <a:gd name="T1" fmla="*/ 5 h 3"/>
                  <a:gd name="T2" fmla="*/ 5 w 2"/>
                  <a:gd name="T3" fmla="*/ 7 h 3"/>
                  <a:gd name="T4" fmla="*/ 0 w 2"/>
                  <a:gd name="T5" fmla="*/ 1 h 3"/>
                  <a:gd name="T6" fmla="*/ 5 w 2"/>
                  <a:gd name="T7" fmla="*/ 0 h 3"/>
                  <a:gd name="T8" fmla="*/ 5 w 2"/>
                  <a:gd name="T9" fmla="*/ 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2"/>
                      <a:pt x="0" y="2"/>
                      <a:pt x="0" y="1"/>
                    </a:cubicBezTo>
                    <a:cubicBezTo>
                      <a:pt x="0" y="1"/>
                      <a:pt x="0" y="0"/>
                      <a:pt x="1" y="0"/>
                    </a:cubicBezTo>
                    <a:cubicBezTo>
                      <a:pt x="2" y="0"/>
                      <a:pt x="1"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4" name="Freeform 3365">
                <a:extLst>
                  <a:ext uri="{FF2B5EF4-FFF2-40B4-BE49-F238E27FC236}">
                    <a16:creationId xmlns:a16="http://schemas.microsoft.com/office/drawing/2014/main" id="{14C22DE9-9829-2EAE-84F7-6FDCA3662262}"/>
                  </a:ext>
                </a:extLst>
              </p:cNvPr>
              <p:cNvSpPr>
                <a:spLocks noChangeAspect="1"/>
              </p:cNvSpPr>
              <p:nvPr/>
            </p:nvSpPr>
            <p:spPr bwMode="auto">
              <a:xfrm>
                <a:off x="9968133" y="1911643"/>
                <a:ext cx="11964" cy="13660"/>
              </a:xfrm>
              <a:custGeom>
                <a:avLst/>
                <a:gdLst>
                  <a:gd name="T0" fmla="*/ 2 w 3"/>
                  <a:gd name="T1" fmla="*/ 5 h 3"/>
                  <a:gd name="T2" fmla="*/ 0 w 3"/>
                  <a:gd name="T3" fmla="*/ 5 h 3"/>
                  <a:gd name="T4" fmla="*/ 1 w 3"/>
                  <a:gd name="T5" fmla="*/ 1 h 3"/>
                  <a:gd name="T6" fmla="*/ 2 w 3"/>
                  <a:gd name="T7" fmla="*/ 1 h 3"/>
                  <a:gd name="T8" fmla="*/ 2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2"/>
                      <a:pt x="1" y="3"/>
                      <a:pt x="0" y="2"/>
                    </a:cubicBezTo>
                    <a:cubicBezTo>
                      <a:pt x="0" y="2"/>
                      <a:pt x="0" y="1"/>
                      <a:pt x="1" y="1"/>
                    </a:cubicBezTo>
                    <a:cubicBezTo>
                      <a:pt x="1" y="1"/>
                      <a:pt x="2" y="0"/>
                      <a:pt x="2" y="1"/>
                    </a:cubicBezTo>
                    <a:cubicBezTo>
                      <a:pt x="3" y="1"/>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45" name="Freeform 3509">
                <a:extLst>
                  <a:ext uri="{FF2B5EF4-FFF2-40B4-BE49-F238E27FC236}">
                    <a16:creationId xmlns:a16="http://schemas.microsoft.com/office/drawing/2014/main" id="{FCE7BDA1-D734-8670-BDB1-4C6E990F4A28}"/>
                  </a:ext>
                </a:extLst>
              </p:cNvPr>
              <p:cNvSpPr>
                <a:spLocks noChangeAspect="1"/>
              </p:cNvSpPr>
              <p:nvPr/>
            </p:nvSpPr>
            <p:spPr bwMode="auto">
              <a:xfrm>
                <a:off x="9736804" y="1928720"/>
                <a:ext cx="47861" cy="20490"/>
              </a:xfrm>
              <a:custGeom>
                <a:avLst/>
                <a:gdLst>
                  <a:gd name="T0" fmla="*/ 2147483646 w 10"/>
                  <a:gd name="T1" fmla="*/ 2147483646 h 5"/>
                  <a:gd name="T2" fmla="*/ 2147483646 w 10"/>
                  <a:gd name="T3" fmla="*/ 2147483646 h 5"/>
                  <a:gd name="T4" fmla="*/ 2147483646 w 10"/>
                  <a:gd name="T5" fmla="*/ 2147483646 h 5"/>
                  <a:gd name="T6" fmla="*/ 2147483646 w 10"/>
                  <a:gd name="T7" fmla="*/ 2147483646 h 5"/>
                  <a:gd name="T8" fmla="*/ 2147483646 w 10"/>
                  <a:gd name="T9" fmla="*/ 2147483646 h 5"/>
                  <a:gd name="T10" fmla="*/ 2147483646 w 10"/>
                  <a:gd name="T11" fmla="*/ 2147483646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6" name="Freeform 3510">
                <a:extLst>
                  <a:ext uri="{FF2B5EF4-FFF2-40B4-BE49-F238E27FC236}">
                    <a16:creationId xmlns:a16="http://schemas.microsoft.com/office/drawing/2014/main" id="{B883ED7E-02CF-EED8-CA0B-729F9C31F305}"/>
                  </a:ext>
                </a:extLst>
              </p:cNvPr>
              <p:cNvSpPr>
                <a:spLocks noChangeAspect="1"/>
              </p:cNvSpPr>
              <p:nvPr/>
            </p:nvSpPr>
            <p:spPr bwMode="auto">
              <a:xfrm>
                <a:off x="9896344" y="1949210"/>
                <a:ext cx="55838" cy="44393"/>
              </a:xfrm>
              <a:custGeom>
                <a:avLst/>
                <a:gdLst>
                  <a:gd name="T0" fmla="*/ 2147483646 w 11"/>
                  <a:gd name="T1" fmla="*/ 2147483646 h 11"/>
                  <a:gd name="T2" fmla="*/ 2147483646 w 11"/>
                  <a:gd name="T3" fmla="*/ 2147483646 h 11"/>
                  <a:gd name="T4" fmla="*/ 2147483646 w 11"/>
                  <a:gd name="T5" fmla="*/ 2147483646 h 11"/>
                  <a:gd name="T6" fmla="*/ 0 w 11"/>
                  <a:gd name="T7" fmla="*/ 2147483646 h 11"/>
                  <a:gd name="T8" fmla="*/ 2147483646 w 11"/>
                  <a:gd name="T9" fmla="*/ 2147483646 h 11"/>
                  <a:gd name="T10" fmla="*/ 2147483646 w 11"/>
                  <a:gd name="T11" fmla="*/ 2147483646 h 11"/>
                  <a:gd name="T12" fmla="*/ 2147483646 w 11"/>
                  <a:gd name="T13" fmla="*/ 2147483646 h 11"/>
                  <a:gd name="T14" fmla="*/ 2147483646 w 11"/>
                  <a:gd name="T15" fmla="*/ 2147483646 h 11"/>
                  <a:gd name="T16" fmla="*/ 2147483646 w 11"/>
                  <a:gd name="T17" fmla="*/ 0 h 11"/>
                  <a:gd name="T18" fmla="*/ 2147483646 w 11"/>
                  <a:gd name="T19" fmla="*/ 2147483646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7" name="Freeform 3511">
                <a:extLst>
                  <a:ext uri="{FF2B5EF4-FFF2-40B4-BE49-F238E27FC236}">
                    <a16:creationId xmlns:a16="http://schemas.microsoft.com/office/drawing/2014/main" id="{64AF80FB-FE9C-C4E0-BB96-C64B67027F09}"/>
                  </a:ext>
                </a:extLst>
              </p:cNvPr>
              <p:cNvSpPr>
                <a:spLocks noChangeAspect="1"/>
              </p:cNvSpPr>
              <p:nvPr/>
            </p:nvSpPr>
            <p:spPr bwMode="auto">
              <a:xfrm>
                <a:off x="9593223" y="1471118"/>
                <a:ext cx="119653" cy="37563"/>
              </a:xfrm>
              <a:custGeom>
                <a:avLst/>
                <a:gdLst>
                  <a:gd name="T0" fmla="*/ 2147483646 w 24"/>
                  <a:gd name="T1" fmla="*/ 2147483646 h 9"/>
                  <a:gd name="T2" fmla="*/ 0 w 24"/>
                  <a:gd name="T3" fmla="*/ 2147483646 h 9"/>
                  <a:gd name="T4" fmla="*/ 2147483646 w 24"/>
                  <a:gd name="T5" fmla="*/ 2147483646 h 9"/>
                  <a:gd name="T6" fmla="*/ 2147483646 w 24"/>
                  <a:gd name="T7" fmla="*/ 2147483646 h 9"/>
                  <a:gd name="T8" fmla="*/ 2147483646 w 24"/>
                  <a:gd name="T9" fmla="*/ 2147483646 h 9"/>
                  <a:gd name="T10" fmla="*/ 2147483646 w 24"/>
                  <a:gd name="T11" fmla="*/ 2147483646 h 9"/>
                  <a:gd name="T12" fmla="*/ 2147483646 w 24"/>
                  <a:gd name="T13" fmla="*/ 2147483646 h 9"/>
                  <a:gd name="T14" fmla="*/ 2147483646 w 24"/>
                  <a:gd name="T15" fmla="*/ 2147483646 h 9"/>
                  <a:gd name="T16" fmla="*/ 2147483646 w 24"/>
                  <a:gd name="T17" fmla="*/ 214748364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8" name="Freeform 3512">
                <a:extLst>
                  <a:ext uri="{FF2B5EF4-FFF2-40B4-BE49-F238E27FC236}">
                    <a16:creationId xmlns:a16="http://schemas.microsoft.com/office/drawing/2014/main" id="{8E7F0E3F-E9C1-4262-AB93-C4E17561CE0D}"/>
                  </a:ext>
                </a:extLst>
              </p:cNvPr>
              <p:cNvSpPr>
                <a:spLocks noChangeAspect="1"/>
              </p:cNvSpPr>
              <p:nvPr/>
            </p:nvSpPr>
            <p:spPr bwMode="auto">
              <a:xfrm>
                <a:off x="9210334" y="1314034"/>
                <a:ext cx="51848" cy="30733"/>
              </a:xfrm>
              <a:custGeom>
                <a:avLst/>
                <a:gdLst>
                  <a:gd name="T0" fmla="*/ 2147483646 w 11"/>
                  <a:gd name="T1" fmla="*/ 2147483646 h 7"/>
                  <a:gd name="T2" fmla="*/ 2147483646 w 11"/>
                  <a:gd name="T3" fmla="*/ 0 h 7"/>
                  <a:gd name="T4" fmla="*/ 2147483646 w 11"/>
                  <a:gd name="T5" fmla="*/ 2147483646 h 7"/>
                  <a:gd name="T6" fmla="*/ 2147483646 w 11"/>
                  <a:gd name="T7" fmla="*/ 2147483646 h 7"/>
                  <a:gd name="T8" fmla="*/ 2147483646 w 11"/>
                  <a:gd name="T9" fmla="*/ 2147483646 h 7"/>
                  <a:gd name="T10" fmla="*/ 0 w 11"/>
                  <a:gd name="T11" fmla="*/ 2147483646 h 7"/>
                  <a:gd name="T12" fmla="*/ 2147483646 w 11"/>
                  <a:gd name="T13" fmla="*/ 2147483646 h 7"/>
                  <a:gd name="T14" fmla="*/ 2147483646 w 11"/>
                  <a:gd name="T15" fmla="*/ 2147483646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9" name="Freeform 3513">
                <a:extLst>
                  <a:ext uri="{FF2B5EF4-FFF2-40B4-BE49-F238E27FC236}">
                    <a16:creationId xmlns:a16="http://schemas.microsoft.com/office/drawing/2014/main" id="{39B557CE-71FC-2AE4-3BB9-C9172C87D192}"/>
                  </a:ext>
                </a:extLst>
              </p:cNvPr>
              <p:cNvSpPr>
                <a:spLocks noChangeAspect="1"/>
              </p:cNvSpPr>
              <p:nvPr/>
            </p:nvSpPr>
            <p:spPr bwMode="auto">
              <a:xfrm>
                <a:off x="9154496" y="1395990"/>
                <a:ext cx="183468" cy="105862"/>
              </a:xfrm>
              <a:custGeom>
                <a:avLst/>
                <a:gdLst>
                  <a:gd name="T0" fmla="*/ 2147483646 w 39"/>
                  <a:gd name="T1" fmla="*/ 2147483646 h 26"/>
                  <a:gd name="T2" fmla="*/ 2147483646 w 39"/>
                  <a:gd name="T3" fmla="*/ 2147483646 h 26"/>
                  <a:gd name="T4" fmla="*/ 2147483646 w 39"/>
                  <a:gd name="T5" fmla="*/ 2147483646 h 26"/>
                  <a:gd name="T6" fmla="*/ 2147483646 w 39"/>
                  <a:gd name="T7" fmla="*/ 2147483646 h 26"/>
                  <a:gd name="T8" fmla="*/ 2147483646 w 39"/>
                  <a:gd name="T9" fmla="*/ 2147483646 h 26"/>
                  <a:gd name="T10" fmla="*/ 2147483646 w 39"/>
                  <a:gd name="T11" fmla="*/ 2147483646 h 26"/>
                  <a:gd name="T12" fmla="*/ 2147483646 w 39"/>
                  <a:gd name="T13" fmla="*/ 2147483646 h 26"/>
                  <a:gd name="T14" fmla="*/ 2147483646 w 39"/>
                  <a:gd name="T15" fmla="*/ 2147483646 h 26"/>
                  <a:gd name="T16" fmla="*/ 2147483646 w 39"/>
                  <a:gd name="T17" fmla="*/ 2147483646 h 26"/>
                  <a:gd name="T18" fmla="*/ 2147483646 w 39"/>
                  <a:gd name="T19" fmla="*/ 2147483646 h 26"/>
                  <a:gd name="T20" fmla="*/ 2147483646 w 39"/>
                  <a:gd name="T21" fmla="*/ 2147483646 h 26"/>
                  <a:gd name="T22" fmla="*/ 2147483646 w 39"/>
                  <a:gd name="T23" fmla="*/ 2147483646 h 26"/>
                  <a:gd name="T24" fmla="*/ 2147483646 w 39"/>
                  <a:gd name="T25" fmla="*/ 2147483646 h 26"/>
                  <a:gd name="T26" fmla="*/ 2147483646 w 39"/>
                  <a:gd name="T27" fmla="*/ 2147483646 h 26"/>
                  <a:gd name="T28" fmla="*/ 2147483646 w 39"/>
                  <a:gd name="T29" fmla="*/ 2147483646 h 26"/>
                  <a:gd name="T30" fmla="*/ 2147483646 w 39"/>
                  <a:gd name="T31" fmla="*/ 2147483646 h 26"/>
                  <a:gd name="T32" fmla="*/ 2147483646 w 39"/>
                  <a:gd name="T33" fmla="*/ 2147483646 h 26"/>
                  <a:gd name="T34" fmla="*/ 2147483646 w 39"/>
                  <a:gd name="T35" fmla="*/ 2147483646 h 26"/>
                  <a:gd name="T36" fmla="*/ 0 w 39"/>
                  <a:gd name="T37" fmla="*/ 2147483646 h 26"/>
                  <a:gd name="T38" fmla="*/ 2147483646 w 39"/>
                  <a:gd name="T39" fmla="*/ 2147483646 h 26"/>
                  <a:gd name="T40" fmla="*/ 2147483646 w 39"/>
                  <a:gd name="T41" fmla="*/ 2147483646 h 26"/>
                  <a:gd name="T42" fmla="*/ 2147483646 w 39"/>
                  <a:gd name="T43" fmla="*/ 2147483646 h 26"/>
                  <a:gd name="T44" fmla="*/ 2147483646 w 39"/>
                  <a:gd name="T45" fmla="*/ 2147483646 h 26"/>
                  <a:gd name="T46" fmla="*/ 2147483646 w 39"/>
                  <a:gd name="T47" fmla="*/ 2147483646 h 26"/>
                  <a:gd name="T48" fmla="*/ 2147483646 w 39"/>
                  <a:gd name="T49" fmla="*/ 2147483646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0" name="Freeform 3514">
                <a:extLst>
                  <a:ext uri="{FF2B5EF4-FFF2-40B4-BE49-F238E27FC236}">
                    <a16:creationId xmlns:a16="http://schemas.microsoft.com/office/drawing/2014/main" id="{DB442911-5E2A-BBA9-82EC-EEA6D1DD0920}"/>
                  </a:ext>
                </a:extLst>
              </p:cNvPr>
              <p:cNvSpPr>
                <a:spLocks noChangeAspect="1"/>
              </p:cNvSpPr>
              <p:nvPr/>
            </p:nvSpPr>
            <p:spPr bwMode="auto">
              <a:xfrm>
                <a:off x="8915190" y="1477948"/>
                <a:ext cx="135607" cy="51223"/>
              </a:xfrm>
              <a:custGeom>
                <a:avLst/>
                <a:gdLst>
                  <a:gd name="T0" fmla="*/ 2147483646 w 29"/>
                  <a:gd name="T1" fmla="*/ 2147483646 h 12"/>
                  <a:gd name="T2" fmla="*/ 2147483646 w 29"/>
                  <a:gd name="T3" fmla="*/ 2147483646 h 12"/>
                  <a:gd name="T4" fmla="*/ 2147483646 w 29"/>
                  <a:gd name="T5" fmla="*/ 2147483646 h 12"/>
                  <a:gd name="T6" fmla="*/ 2147483646 w 29"/>
                  <a:gd name="T7" fmla="*/ 2147483646 h 12"/>
                  <a:gd name="T8" fmla="*/ 2147483646 w 29"/>
                  <a:gd name="T9" fmla="*/ 2147483646 h 12"/>
                  <a:gd name="T10" fmla="*/ 2147483646 w 29"/>
                  <a:gd name="T11" fmla="*/ 2147483646 h 12"/>
                  <a:gd name="T12" fmla="*/ 0 w 29"/>
                  <a:gd name="T13" fmla="*/ 2147483646 h 12"/>
                  <a:gd name="T14" fmla="*/ 2147483646 w 29"/>
                  <a:gd name="T15" fmla="*/ 0 h 12"/>
                  <a:gd name="T16" fmla="*/ 2147483646 w 29"/>
                  <a:gd name="T17" fmla="*/ 2147483646 h 12"/>
                  <a:gd name="T18" fmla="*/ 2147483646 w 29"/>
                  <a:gd name="T19" fmla="*/ 2147483646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1" name="Freeform 3515">
                <a:extLst>
                  <a:ext uri="{FF2B5EF4-FFF2-40B4-BE49-F238E27FC236}">
                    <a16:creationId xmlns:a16="http://schemas.microsoft.com/office/drawing/2014/main" id="{F82CA13E-37FF-D2ED-FD27-469E23AFA2B7}"/>
                  </a:ext>
                </a:extLst>
              </p:cNvPr>
              <p:cNvSpPr>
                <a:spLocks noChangeAspect="1"/>
              </p:cNvSpPr>
              <p:nvPr/>
            </p:nvSpPr>
            <p:spPr bwMode="auto">
              <a:xfrm>
                <a:off x="8548255" y="1194511"/>
                <a:ext cx="642136" cy="215141"/>
              </a:xfrm>
              <a:custGeom>
                <a:avLst/>
                <a:gdLst>
                  <a:gd name="T0" fmla="*/ 2147483646 w 134"/>
                  <a:gd name="T1" fmla="*/ 2147483646 h 52"/>
                  <a:gd name="T2" fmla="*/ 2147483646 w 134"/>
                  <a:gd name="T3" fmla="*/ 2147483646 h 52"/>
                  <a:gd name="T4" fmla="*/ 2147483646 w 134"/>
                  <a:gd name="T5" fmla="*/ 2147483646 h 52"/>
                  <a:gd name="T6" fmla="*/ 2147483646 w 134"/>
                  <a:gd name="T7" fmla="*/ 2147483646 h 52"/>
                  <a:gd name="T8" fmla="*/ 2147483646 w 134"/>
                  <a:gd name="T9" fmla="*/ 2147483646 h 52"/>
                  <a:gd name="T10" fmla="*/ 2147483646 w 134"/>
                  <a:gd name="T11" fmla="*/ 2147483646 h 52"/>
                  <a:gd name="T12" fmla="*/ 2147483646 w 134"/>
                  <a:gd name="T13" fmla="*/ 2147483646 h 52"/>
                  <a:gd name="T14" fmla="*/ 2147483646 w 134"/>
                  <a:gd name="T15" fmla="*/ 2147483646 h 52"/>
                  <a:gd name="T16" fmla="*/ 2147483646 w 134"/>
                  <a:gd name="T17" fmla="*/ 2147483646 h 52"/>
                  <a:gd name="T18" fmla="*/ 2147483646 w 134"/>
                  <a:gd name="T19" fmla="*/ 2147483646 h 52"/>
                  <a:gd name="T20" fmla="*/ 2147483646 w 134"/>
                  <a:gd name="T21" fmla="*/ 2147483646 h 52"/>
                  <a:gd name="T22" fmla="*/ 2147483646 w 134"/>
                  <a:gd name="T23" fmla="*/ 2147483646 h 52"/>
                  <a:gd name="T24" fmla="*/ 2147483646 w 134"/>
                  <a:gd name="T25" fmla="*/ 2147483646 h 52"/>
                  <a:gd name="T26" fmla="*/ 2147483646 w 134"/>
                  <a:gd name="T27" fmla="*/ 2147483646 h 52"/>
                  <a:gd name="T28" fmla="*/ 2147483646 w 134"/>
                  <a:gd name="T29" fmla="*/ 2147483646 h 52"/>
                  <a:gd name="T30" fmla="*/ 2147483646 w 134"/>
                  <a:gd name="T31" fmla="*/ 2147483646 h 52"/>
                  <a:gd name="T32" fmla="*/ 2147483646 w 134"/>
                  <a:gd name="T33" fmla="*/ 2147483646 h 52"/>
                  <a:gd name="T34" fmla="*/ 2147483646 w 134"/>
                  <a:gd name="T35" fmla="*/ 2147483646 h 52"/>
                  <a:gd name="T36" fmla="*/ 2147483646 w 134"/>
                  <a:gd name="T37" fmla="*/ 2147483646 h 52"/>
                  <a:gd name="T38" fmla="*/ 2147483646 w 134"/>
                  <a:gd name="T39" fmla="*/ 2147483646 h 52"/>
                  <a:gd name="T40" fmla="*/ 2147483646 w 134"/>
                  <a:gd name="T41" fmla="*/ 2147483646 h 52"/>
                  <a:gd name="T42" fmla="*/ 2147483646 w 134"/>
                  <a:gd name="T43" fmla="*/ 2147483646 h 52"/>
                  <a:gd name="T44" fmla="*/ 2147483646 w 134"/>
                  <a:gd name="T45" fmla="*/ 2147483646 h 52"/>
                  <a:gd name="T46" fmla="*/ 2147483646 w 134"/>
                  <a:gd name="T47" fmla="*/ 2147483646 h 52"/>
                  <a:gd name="T48" fmla="*/ 2147483646 w 134"/>
                  <a:gd name="T49" fmla="*/ 2147483646 h 52"/>
                  <a:gd name="T50" fmla="*/ 0 w 134"/>
                  <a:gd name="T51" fmla="*/ 2147483646 h 52"/>
                  <a:gd name="T52" fmla="*/ 2147483646 w 134"/>
                  <a:gd name="T53" fmla="*/ 2147483646 h 52"/>
                  <a:gd name="T54" fmla="*/ 2147483646 w 134"/>
                  <a:gd name="T55" fmla="*/ 2147483646 h 52"/>
                  <a:gd name="T56" fmla="*/ 2147483646 w 134"/>
                  <a:gd name="T57" fmla="*/ 2147483646 h 52"/>
                  <a:gd name="T58" fmla="*/ 2147483646 w 134"/>
                  <a:gd name="T59" fmla="*/ 0 h 52"/>
                  <a:gd name="T60" fmla="*/ 2147483646 w 134"/>
                  <a:gd name="T61" fmla="*/ 2147483646 h 52"/>
                  <a:gd name="T62" fmla="*/ 2147483646 w 134"/>
                  <a:gd name="T63" fmla="*/ 2147483646 h 52"/>
                  <a:gd name="T64" fmla="*/ 2147483646 w 134"/>
                  <a:gd name="T65" fmla="*/ 2147483646 h 52"/>
                  <a:gd name="T66" fmla="*/ 2147483646 w 134"/>
                  <a:gd name="T67" fmla="*/ 2147483646 h 52"/>
                  <a:gd name="T68" fmla="*/ 2147483646 w 134"/>
                  <a:gd name="T69" fmla="*/ 2147483646 h 52"/>
                  <a:gd name="T70" fmla="*/ 2147483646 w 134"/>
                  <a:gd name="T71" fmla="*/ 2147483646 h 52"/>
                  <a:gd name="T72" fmla="*/ 2147483646 w 134"/>
                  <a:gd name="T73" fmla="*/ 2147483646 h 52"/>
                  <a:gd name="T74" fmla="*/ 2147483646 w 134"/>
                  <a:gd name="T75" fmla="*/ 2147483646 h 52"/>
                  <a:gd name="T76" fmla="*/ 2147483646 w 134"/>
                  <a:gd name="T77" fmla="*/ 2147483646 h 52"/>
                  <a:gd name="T78" fmla="*/ 2147483646 w 134"/>
                  <a:gd name="T79" fmla="*/ 2147483646 h 52"/>
                  <a:gd name="T80" fmla="*/ 2147483646 w 134"/>
                  <a:gd name="T81" fmla="*/ 2147483646 h 52"/>
                  <a:gd name="T82" fmla="*/ 2147483646 w 134"/>
                  <a:gd name="T83" fmla="*/ 2147483646 h 52"/>
                  <a:gd name="T84" fmla="*/ 2147483646 w 134"/>
                  <a:gd name="T85" fmla="*/ 2147483646 h 52"/>
                  <a:gd name="T86" fmla="*/ 2147483646 w 134"/>
                  <a:gd name="T87" fmla="*/ 2147483646 h 52"/>
                  <a:gd name="T88" fmla="*/ 2147483646 w 134"/>
                  <a:gd name="T89" fmla="*/ 2147483646 h 52"/>
                  <a:gd name="T90" fmla="*/ 2147483646 w 134"/>
                  <a:gd name="T91" fmla="*/ 2147483646 h 52"/>
                  <a:gd name="T92" fmla="*/ 2147483646 w 134"/>
                  <a:gd name="T93" fmla="*/ 2147483646 h 52"/>
                  <a:gd name="T94" fmla="*/ 2147483646 w 134"/>
                  <a:gd name="T95" fmla="*/ 2147483646 h 52"/>
                  <a:gd name="T96" fmla="*/ 2147483646 w 134"/>
                  <a:gd name="T97" fmla="*/ 2147483646 h 52"/>
                  <a:gd name="T98" fmla="*/ 2147483646 w 134"/>
                  <a:gd name="T99" fmla="*/ 2147483646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2" name="Freeform 3516">
                <a:extLst>
                  <a:ext uri="{FF2B5EF4-FFF2-40B4-BE49-F238E27FC236}">
                    <a16:creationId xmlns:a16="http://schemas.microsoft.com/office/drawing/2014/main" id="{270515C1-4043-6445-09F5-6D61FE0AFF7D}"/>
                  </a:ext>
                </a:extLst>
              </p:cNvPr>
              <p:cNvSpPr>
                <a:spLocks noChangeAspect="1"/>
              </p:cNvSpPr>
              <p:nvPr/>
            </p:nvSpPr>
            <p:spPr bwMode="auto">
              <a:xfrm>
                <a:off x="8643974" y="1283297"/>
                <a:ext cx="43871" cy="30735"/>
              </a:xfrm>
              <a:custGeom>
                <a:avLst/>
                <a:gdLst>
                  <a:gd name="T0" fmla="*/ 2147483646 w 9"/>
                  <a:gd name="T1" fmla="*/ 0 h 8"/>
                  <a:gd name="T2" fmla="*/ 2147483646 w 9"/>
                  <a:gd name="T3" fmla="*/ 2147483646 h 8"/>
                  <a:gd name="T4" fmla="*/ 2147483646 w 9"/>
                  <a:gd name="T5" fmla="*/ 2147483646 h 8"/>
                  <a:gd name="T6" fmla="*/ 2147483646 w 9"/>
                  <a:gd name="T7" fmla="*/ 2147483646 h 8"/>
                  <a:gd name="T8" fmla="*/ 2147483646 w 9"/>
                  <a:gd name="T9" fmla="*/ 2147483646 h 8"/>
                  <a:gd name="T10" fmla="*/ 214748364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3" name="Freeform 3517">
                <a:extLst>
                  <a:ext uri="{FF2B5EF4-FFF2-40B4-BE49-F238E27FC236}">
                    <a16:creationId xmlns:a16="http://schemas.microsoft.com/office/drawing/2014/main" id="{8EB281A2-7212-CD7A-8E5F-ABDEA2376EAC}"/>
                  </a:ext>
                </a:extLst>
              </p:cNvPr>
              <p:cNvSpPr>
                <a:spLocks noChangeAspect="1"/>
              </p:cNvSpPr>
              <p:nvPr/>
            </p:nvSpPr>
            <p:spPr bwMode="auto">
              <a:xfrm>
                <a:off x="8947098" y="1081819"/>
                <a:ext cx="39884" cy="47809"/>
              </a:xfrm>
              <a:custGeom>
                <a:avLst/>
                <a:gdLst>
                  <a:gd name="T0" fmla="*/ 2147483646 w 7"/>
                  <a:gd name="T1" fmla="*/ 2147483646 h 12"/>
                  <a:gd name="T2" fmla="*/ 2147483646 w 7"/>
                  <a:gd name="T3" fmla="*/ 2147483646 h 12"/>
                  <a:gd name="T4" fmla="*/ 0 w 7"/>
                  <a:gd name="T5" fmla="*/ 2147483646 h 12"/>
                  <a:gd name="T6" fmla="*/ 2147483646 w 7"/>
                  <a:gd name="T7" fmla="*/ 2147483646 h 12"/>
                  <a:gd name="T8" fmla="*/ 2147483646 w 7"/>
                  <a:gd name="T9" fmla="*/ 2147483646 h 12"/>
                  <a:gd name="T10" fmla="*/ 2147483646 w 7"/>
                  <a:gd name="T11" fmla="*/ 2147483646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4" name="Freeform 3519">
                <a:extLst>
                  <a:ext uri="{FF2B5EF4-FFF2-40B4-BE49-F238E27FC236}">
                    <a16:creationId xmlns:a16="http://schemas.microsoft.com/office/drawing/2014/main" id="{4E679FB8-CB15-DDDE-14AC-E56BCD6DA8DD}"/>
                  </a:ext>
                </a:extLst>
              </p:cNvPr>
              <p:cNvSpPr>
                <a:spLocks noChangeAspect="1"/>
              </p:cNvSpPr>
              <p:nvPr/>
            </p:nvSpPr>
            <p:spPr bwMode="auto">
              <a:xfrm>
                <a:off x="9002936" y="965710"/>
                <a:ext cx="35895" cy="78542"/>
              </a:xfrm>
              <a:custGeom>
                <a:avLst/>
                <a:gdLst>
                  <a:gd name="T0" fmla="*/ 2147483646 w 7"/>
                  <a:gd name="T1" fmla="*/ 2147483646 h 19"/>
                  <a:gd name="T2" fmla="*/ 2147483646 w 7"/>
                  <a:gd name="T3" fmla="*/ 2147483646 h 19"/>
                  <a:gd name="T4" fmla="*/ 2147483646 w 7"/>
                  <a:gd name="T5" fmla="*/ 2147483646 h 19"/>
                  <a:gd name="T6" fmla="*/ 2147483646 w 7"/>
                  <a:gd name="T7" fmla="*/ 2147483646 h 19"/>
                  <a:gd name="T8" fmla="*/ 2147483646 w 7"/>
                  <a:gd name="T9" fmla="*/ 2147483646 h 19"/>
                  <a:gd name="T10" fmla="*/ 2147483646 w 7"/>
                  <a:gd name="T11" fmla="*/ 2147483646 h 19"/>
                  <a:gd name="T12" fmla="*/ 2147483646 w 7"/>
                  <a:gd name="T13" fmla="*/ 2147483646 h 19"/>
                  <a:gd name="T14" fmla="*/ 2147483646 w 7"/>
                  <a:gd name="T15" fmla="*/ 2147483646 h 19"/>
                  <a:gd name="T16" fmla="*/ 2147483646 w 7"/>
                  <a:gd name="T17" fmla="*/ 2147483646 h 19"/>
                  <a:gd name="T18" fmla="*/ 2147483646 w 7"/>
                  <a:gd name="T19" fmla="*/ 2147483646 h 19"/>
                  <a:gd name="T20" fmla="*/ 2147483646 w 7"/>
                  <a:gd name="T21" fmla="*/ 2147483646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5" name="Freeform 3520">
                <a:extLst>
                  <a:ext uri="{FF2B5EF4-FFF2-40B4-BE49-F238E27FC236}">
                    <a16:creationId xmlns:a16="http://schemas.microsoft.com/office/drawing/2014/main" id="{A4132C50-AAC4-25A3-42BA-34B4C45261C4}"/>
                  </a:ext>
                </a:extLst>
              </p:cNvPr>
              <p:cNvSpPr>
                <a:spLocks noChangeAspect="1"/>
              </p:cNvSpPr>
              <p:nvPr/>
            </p:nvSpPr>
            <p:spPr bwMode="auto">
              <a:xfrm>
                <a:off x="9042820" y="1064744"/>
                <a:ext cx="39884" cy="47809"/>
              </a:xfrm>
              <a:custGeom>
                <a:avLst/>
                <a:gdLst>
                  <a:gd name="T0" fmla="*/ 0 w 7"/>
                  <a:gd name="T1" fmla="*/ 2147483646 h 12"/>
                  <a:gd name="T2" fmla="*/ 2147483646 w 7"/>
                  <a:gd name="T3" fmla="*/ 2147483646 h 12"/>
                  <a:gd name="T4" fmla="*/ 2147483646 w 7"/>
                  <a:gd name="T5" fmla="*/ 2147483646 h 12"/>
                  <a:gd name="T6" fmla="*/ 2147483646 w 7"/>
                  <a:gd name="T7" fmla="*/ 2147483646 h 12"/>
                  <a:gd name="T8" fmla="*/ 2147483646 w 7"/>
                  <a:gd name="T9" fmla="*/ 2147483646 h 12"/>
                  <a:gd name="T10" fmla="*/ 2147483646 w 7"/>
                  <a:gd name="T11" fmla="*/ 0 h 12"/>
                  <a:gd name="T12" fmla="*/ 0 w 7"/>
                  <a:gd name="T13" fmla="*/ 2147483646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6" name="Freeform 3651">
                <a:extLst>
                  <a:ext uri="{FF2B5EF4-FFF2-40B4-BE49-F238E27FC236}">
                    <a16:creationId xmlns:a16="http://schemas.microsoft.com/office/drawing/2014/main" id="{D531A048-B219-A91A-BBEC-949731DF051A}"/>
                  </a:ext>
                </a:extLst>
              </p:cNvPr>
              <p:cNvSpPr>
                <a:spLocks noChangeAspect="1"/>
              </p:cNvSpPr>
              <p:nvPr/>
            </p:nvSpPr>
            <p:spPr bwMode="auto">
              <a:xfrm>
                <a:off x="8460507" y="1897985"/>
                <a:ext cx="15954" cy="1024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grpSp>
        <p:grpSp>
          <p:nvGrpSpPr>
            <p:cNvPr id="557" name="Group 556">
              <a:extLst>
                <a:ext uri="{FF2B5EF4-FFF2-40B4-BE49-F238E27FC236}">
                  <a16:creationId xmlns:a16="http://schemas.microsoft.com/office/drawing/2014/main" id="{F6DCCD29-1D46-ECC9-29E4-A01D3E73ADCE}"/>
                </a:ext>
              </a:extLst>
            </p:cNvPr>
            <p:cNvGrpSpPr/>
            <p:nvPr/>
          </p:nvGrpSpPr>
          <p:grpSpPr>
            <a:xfrm>
              <a:off x="7998401" y="2208439"/>
              <a:ext cx="2498149" cy="3839936"/>
              <a:chOff x="8715769" y="2096048"/>
              <a:chExt cx="2815831" cy="4087668"/>
            </a:xfrm>
            <a:solidFill>
              <a:srgbClr val="FFFF00"/>
            </a:solidFill>
          </p:grpSpPr>
          <p:sp>
            <p:nvSpPr>
              <p:cNvPr id="558" name="Freeform 2526">
                <a:extLst>
                  <a:ext uri="{FF2B5EF4-FFF2-40B4-BE49-F238E27FC236}">
                    <a16:creationId xmlns:a16="http://schemas.microsoft.com/office/drawing/2014/main" id="{8BDC3BF2-1AA2-2DE5-BD2B-99251AA1BA1E}"/>
                  </a:ext>
                </a:extLst>
              </p:cNvPr>
              <p:cNvSpPr>
                <a:spLocks noChangeAspect="1"/>
              </p:cNvSpPr>
              <p:nvPr/>
            </p:nvSpPr>
            <p:spPr bwMode="auto">
              <a:xfrm>
                <a:off x="9162473" y="2270213"/>
                <a:ext cx="2369127" cy="2369957"/>
              </a:xfrm>
              <a:custGeom>
                <a:avLst/>
                <a:gdLst>
                  <a:gd name="T0" fmla="*/ 2147483646 w 495"/>
                  <a:gd name="T1" fmla="*/ 2147483646 h 578"/>
                  <a:gd name="T2" fmla="*/ 2147483646 w 495"/>
                  <a:gd name="T3" fmla="*/ 2147483646 h 578"/>
                  <a:gd name="T4" fmla="*/ 2147483646 w 495"/>
                  <a:gd name="T5" fmla="*/ 2147483646 h 578"/>
                  <a:gd name="T6" fmla="*/ 2147483646 w 495"/>
                  <a:gd name="T7" fmla="*/ 2147483646 h 578"/>
                  <a:gd name="T8" fmla="*/ 2147483646 w 495"/>
                  <a:gd name="T9" fmla="*/ 2147483646 h 578"/>
                  <a:gd name="T10" fmla="*/ 2147483646 w 495"/>
                  <a:gd name="T11" fmla="*/ 2147483646 h 578"/>
                  <a:gd name="T12" fmla="*/ 2147483646 w 495"/>
                  <a:gd name="T13" fmla="*/ 2147483646 h 578"/>
                  <a:gd name="T14" fmla="*/ 2147483646 w 495"/>
                  <a:gd name="T15" fmla="*/ 2147483646 h 578"/>
                  <a:gd name="T16" fmla="*/ 2147483646 w 495"/>
                  <a:gd name="T17" fmla="*/ 2147483646 h 578"/>
                  <a:gd name="T18" fmla="*/ 2147483646 w 495"/>
                  <a:gd name="T19" fmla="*/ 2147483646 h 578"/>
                  <a:gd name="T20" fmla="*/ 2147483646 w 495"/>
                  <a:gd name="T21" fmla="*/ 2147483646 h 578"/>
                  <a:gd name="T22" fmla="*/ 2147483646 w 495"/>
                  <a:gd name="T23" fmla="*/ 2147483646 h 578"/>
                  <a:gd name="T24" fmla="*/ 2147483646 w 495"/>
                  <a:gd name="T25" fmla="*/ 2147483646 h 578"/>
                  <a:gd name="T26" fmla="*/ 2147483646 w 495"/>
                  <a:gd name="T27" fmla="*/ 2147483646 h 578"/>
                  <a:gd name="T28" fmla="*/ 2147483646 w 495"/>
                  <a:gd name="T29" fmla="*/ 2147483646 h 578"/>
                  <a:gd name="T30" fmla="*/ 2147483646 w 495"/>
                  <a:gd name="T31" fmla="*/ 2147483646 h 578"/>
                  <a:gd name="T32" fmla="*/ 2147483646 w 495"/>
                  <a:gd name="T33" fmla="*/ 2147483646 h 578"/>
                  <a:gd name="T34" fmla="*/ 2147483646 w 495"/>
                  <a:gd name="T35" fmla="*/ 2147483646 h 578"/>
                  <a:gd name="T36" fmla="*/ 2147483646 w 495"/>
                  <a:gd name="T37" fmla="*/ 2147483646 h 578"/>
                  <a:gd name="T38" fmla="*/ 2147483646 w 495"/>
                  <a:gd name="T39" fmla="*/ 2147483646 h 578"/>
                  <a:gd name="T40" fmla="*/ 2147483646 w 495"/>
                  <a:gd name="T41" fmla="*/ 2147483646 h 578"/>
                  <a:gd name="T42" fmla="*/ 2147483646 w 495"/>
                  <a:gd name="T43" fmla="*/ 2147483646 h 578"/>
                  <a:gd name="T44" fmla="*/ 2147483646 w 495"/>
                  <a:gd name="T45" fmla="*/ 2147483646 h 578"/>
                  <a:gd name="T46" fmla="*/ 2147483646 w 495"/>
                  <a:gd name="T47" fmla="*/ 2147483646 h 578"/>
                  <a:gd name="T48" fmla="*/ 2147483646 w 495"/>
                  <a:gd name="T49" fmla="*/ 2147483646 h 578"/>
                  <a:gd name="T50" fmla="*/ 2147483646 w 495"/>
                  <a:gd name="T51" fmla="*/ 2147483646 h 578"/>
                  <a:gd name="T52" fmla="*/ 2147483646 w 495"/>
                  <a:gd name="T53" fmla="*/ 2147483646 h 578"/>
                  <a:gd name="T54" fmla="*/ 2147483646 w 495"/>
                  <a:gd name="T55" fmla="*/ 2147483646 h 578"/>
                  <a:gd name="T56" fmla="*/ 2147483646 w 495"/>
                  <a:gd name="T57" fmla="*/ 2147483646 h 578"/>
                  <a:gd name="T58" fmla="*/ 2147483646 w 495"/>
                  <a:gd name="T59" fmla="*/ 2147483646 h 578"/>
                  <a:gd name="T60" fmla="*/ 2147483646 w 495"/>
                  <a:gd name="T61" fmla="*/ 2147483646 h 578"/>
                  <a:gd name="T62" fmla="*/ 2147483646 w 495"/>
                  <a:gd name="T63" fmla="*/ 2147483646 h 578"/>
                  <a:gd name="T64" fmla="*/ 2147483646 w 495"/>
                  <a:gd name="T65" fmla="*/ 2147483646 h 578"/>
                  <a:gd name="T66" fmla="*/ 2147483646 w 495"/>
                  <a:gd name="T67" fmla="*/ 2147483646 h 578"/>
                  <a:gd name="T68" fmla="*/ 2147483646 w 495"/>
                  <a:gd name="T69" fmla="*/ 2147483646 h 578"/>
                  <a:gd name="T70" fmla="*/ 2147483646 w 495"/>
                  <a:gd name="T71" fmla="*/ 2147483646 h 578"/>
                  <a:gd name="T72" fmla="*/ 2147483646 w 495"/>
                  <a:gd name="T73" fmla="*/ 2147483646 h 578"/>
                  <a:gd name="T74" fmla="*/ 2147483646 w 495"/>
                  <a:gd name="T75" fmla="*/ 2147483646 h 578"/>
                  <a:gd name="T76" fmla="*/ 2147483646 w 495"/>
                  <a:gd name="T77" fmla="*/ 2147483646 h 578"/>
                  <a:gd name="T78" fmla="*/ 2147483646 w 495"/>
                  <a:gd name="T79" fmla="*/ 2147483646 h 578"/>
                  <a:gd name="T80" fmla="*/ 2147483646 w 495"/>
                  <a:gd name="T81" fmla="*/ 2147483646 h 578"/>
                  <a:gd name="T82" fmla="*/ 2147483646 w 495"/>
                  <a:gd name="T83" fmla="*/ 2147483646 h 578"/>
                  <a:gd name="T84" fmla="*/ 2147483646 w 495"/>
                  <a:gd name="T85" fmla="*/ 2147483646 h 578"/>
                  <a:gd name="T86" fmla="*/ 2147483646 w 495"/>
                  <a:gd name="T87" fmla="*/ 2147483646 h 578"/>
                  <a:gd name="T88" fmla="*/ 2147483646 w 495"/>
                  <a:gd name="T89" fmla="*/ 2147483646 h 578"/>
                  <a:gd name="T90" fmla="*/ 2147483646 w 495"/>
                  <a:gd name="T91" fmla="*/ 2147483646 h 578"/>
                  <a:gd name="T92" fmla="*/ 2147483646 w 495"/>
                  <a:gd name="T93" fmla="*/ 2147483646 h 578"/>
                  <a:gd name="T94" fmla="*/ 2147483646 w 495"/>
                  <a:gd name="T95" fmla="*/ 2147483646 h 578"/>
                  <a:gd name="T96" fmla="*/ 2147483646 w 495"/>
                  <a:gd name="T97" fmla="*/ 2147483646 h 578"/>
                  <a:gd name="T98" fmla="*/ 2147483646 w 495"/>
                  <a:gd name="T99" fmla="*/ 2147483646 h 578"/>
                  <a:gd name="T100" fmla="*/ 2147483646 w 495"/>
                  <a:gd name="T101" fmla="*/ 2147483646 h 578"/>
                  <a:gd name="T102" fmla="*/ 2147483646 w 495"/>
                  <a:gd name="T103" fmla="*/ 2147483646 h 578"/>
                  <a:gd name="T104" fmla="*/ 2147483646 w 495"/>
                  <a:gd name="T105" fmla="*/ 2147483646 h 578"/>
                  <a:gd name="T106" fmla="*/ 2147483646 w 495"/>
                  <a:gd name="T107" fmla="*/ 2147483646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9" name="Freeform 2527">
                <a:extLst>
                  <a:ext uri="{FF2B5EF4-FFF2-40B4-BE49-F238E27FC236}">
                    <a16:creationId xmlns:a16="http://schemas.microsoft.com/office/drawing/2014/main" id="{77092B52-F20F-E081-3702-771DB6168012}"/>
                  </a:ext>
                </a:extLst>
              </p:cNvPr>
              <p:cNvSpPr>
                <a:spLocks noChangeAspect="1"/>
              </p:cNvSpPr>
              <p:nvPr/>
            </p:nvSpPr>
            <p:spPr bwMode="auto">
              <a:xfrm>
                <a:off x="9441663" y="3158093"/>
                <a:ext cx="741848" cy="809336"/>
              </a:xfrm>
              <a:custGeom>
                <a:avLst/>
                <a:gdLst>
                  <a:gd name="T0" fmla="*/ 2147483646 w 154"/>
                  <a:gd name="T1" fmla="*/ 2147483646 h 197"/>
                  <a:gd name="T2" fmla="*/ 2147483646 w 154"/>
                  <a:gd name="T3" fmla="*/ 2147483646 h 197"/>
                  <a:gd name="T4" fmla="*/ 2147483646 w 154"/>
                  <a:gd name="T5" fmla="*/ 2147483646 h 197"/>
                  <a:gd name="T6" fmla="*/ 2147483646 w 154"/>
                  <a:gd name="T7" fmla="*/ 2147483646 h 197"/>
                  <a:gd name="T8" fmla="*/ 2147483646 w 154"/>
                  <a:gd name="T9" fmla="*/ 2147483646 h 197"/>
                  <a:gd name="T10" fmla="*/ 2147483646 w 154"/>
                  <a:gd name="T11" fmla="*/ 2147483646 h 197"/>
                  <a:gd name="T12" fmla="*/ 2147483646 w 154"/>
                  <a:gd name="T13" fmla="*/ 2147483646 h 197"/>
                  <a:gd name="T14" fmla="*/ 2147483646 w 154"/>
                  <a:gd name="T15" fmla="*/ 2147483646 h 197"/>
                  <a:gd name="T16" fmla="*/ 2147483646 w 154"/>
                  <a:gd name="T17" fmla="*/ 2147483646 h 197"/>
                  <a:gd name="T18" fmla="*/ 2147483646 w 154"/>
                  <a:gd name="T19" fmla="*/ 2147483646 h 197"/>
                  <a:gd name="T20" fmla="*/ 2147483646 w 154"/>
                  <a:gd name="T21" fmla="*/ 2147483646 h 197"/>
                  <a:gd name="T22" fmla="*/ 2147483646 w 154"/>
                  <a:gd name="T23" fmla="*/ 2147483646 h 197"/>
                  <a:gd name="T24" fmla="*/ 2147483646 w 154"/>
                  <a:gd name="T25" fmla="*/ 2147483646 h 197"/>
                  <a:gd name="T26" fmla="*/ 2147483646 w 154"/>
                  <a:gd name="T27" fmla="*/ 2147483646 h 197"/>
                  <a:gd name="T28" fmla="*/ 2147483646 w 154"/>
                  <a:gd name="T29" fmla="*/ 2147483646 h 197"/>
                  <a:gd name="T30" fmla="*/ 2147483646 w 154"/>
                  <a:gd name="T31" fmla="*/ 2147483646 h 197"/>
                  <a:gd name="T32" fmla="*/ 2147483646 w 154"/>
                  <a:gd name="T33" fmla="*/ 2147483646 h 197"/>
                  <a:gd name="T34" fmla="*/ 2147483646 w 154"/>
                  <a:gd name="T35" fmla="*/ 2147483646 h 197"/>
                  <a:gd name="T36" fmla="*/ 2147483646 w 154"/>
                  <a:gd name="T37" fmla="*/ 2147483646 h 197"/>
                  <a:gd name="T38" fmla="*/ 0 w 154"/>
                  <a:gd name="T39" fmla="*/ 2147483646 h 197"/>
                  <a:gd name="T40" fmla="*/ 2147483646 w 154"/>
                  <a:gd name="T41" fmla="*/ 2147483646 h 197"/>
                  <a:gd name="T42" fmla="*/ 2147483646 w 154"/>
                  <a:gd name="T43" fmla="*/ 2147483646 h 197"/>
                  <a:gd name="T44" fmla="*/ 2147483646 w 154"/>
                  <a:gd name="T45" fmla="*/ 2147483646 h 197"/>
                  <a:gd name="T46" fmla="*/ 2147483646 w 154"/>
                  <a:gd name="T47" fmla="*/ 2147483646 h 197"/>
                  <a:gd name="T48" fmla="*/ 2147483646 w 154"/>
                  <a:gd name="T49" fmla="*/ 2147483646 h 197"/>
                  <a:gd name="T50" fmla="*/ 2147483646 w 154"/>
                  <a:gd name="T51" fmla="*/ 2147483646 h 197"/>
                  <a:gd name="T52" fmla="*/ 2147483646 w 154"/>
                  <a:gd name="T53" fmla="*/ 2147483646 h 197"/>
                  <a:gd name="T54" fmla="*/ 2147483646 w 154"/>
                  <a:gd name="T55" fmla="*/ 2147483646 h 197"/>
                  <a:gd name="T56" fmla="*/ 2147483646 w 154"/>
                  <a:gd name="T57" fmla="*/ 2147483646 h 197"/>
                  <a:gd name="T58" fmla="*/ 2147483646 w 154"/>
                  <a:gd name="T59" fmla="*/ 2147483646 h 197"/>
                  <a:gd name="T60" fmla="*/ 2147483646 w 154"/>
                  <a:gd name="T61" fmla="*/ 2147483646 h 197"/>
                  <a:gd name="T62" fmla="*/ 2147483646 w 154"/>
                  <a:gd name="T63" fmla="*/ 2147483646 h 197"/>
                  <a:gd name="T64" fmla="*/ 2147483646 w 154"/>
                  <a:gd name="T65" fmla="*/ 2147483646 h 197"/>
                  <a:gd name="T66" fmla="*/ 2147483646 w 154"/>
                  <a:gd name="T67" fmla="*/ 2147483646 h 197"/>
                  <a:gd name="T68" fmla="*/ 2147483646 w 154"/>
                  <a:gd name="T69" fmla="*/ 2147483646 h 197"/>
                  <a:gd name="T70" fmla="*/ 2147483646 w 154"/>
                  <a:gd name="T71" fmla="*/ 2147483646 h 197"/>
                  <a:gd name="T72" fmla="*/ 2147483646 w 154"/>
                  <a:gd name="T73" fmla="*/ 2147483646 h 197"/>
                  <a:gd name="T74" fmla="*/ 2147483646 w 154"/>
                  <a:gd name="T75" fmla="*/ 2147483646 h 197"/>
                  <a:gd name="T76" fmla="*/ 2147483646 w 154"/>
                  <a:gd name="T77" fmla="*/ 2147483646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0" name="Freeform 2528">
                <a:extLst>
                  <a:ext uri="{FF2B5EF4-FFF2-40B4-BE49-F238E27FC236}">
                    <a16:creationId xmlns:a16="http://schemas.microsoft.com/office/drawing/2014/main" id="{C8D79F10-BEA2-CCE0-A4FA-34A5F26EF563}"/>
                  </a:ext>
                </a:extLst>
              </p:cNvPr>
              <p:cNvSpPr>
                <a:spLocks noChangeAspect="1"/>
              </p:cNvSpPr>
              <p:nvPr/>
            </p:nvSpPr>
            <p:spPr bwMode="auto">
              <a:xfrm>
                <a:off x="9896344" y="3731800"/>
                <a:ext cx="518496" cy="508823"/>
              </a:xfrm>
              <a:custGeom>
                <a:avLst/>
                <a:gdLst>
                  <a:gd name="T0" fmla="*/ 2147483646 w 109"/>
                  <a:gd name="T1" fmla="*/ 2147483646 h 124"/>
                  <a:gd name="T2" fmla="*/ 2147483646 w 109"/>
                  <a:gd name="T3" fmla="*/ 2147483646 h 124"/>
                  <a:gd name="T4" fmla="*/ 2147483646 w 109"/>
                  <a:gd name="T5" fmla="*/ 2147483646 h 124"/>
                  <a:gd name="T6" fmla="*/ 2147483646 w 109"/>
                  <a:gd name="T7" fmla="*/ 2147483646 h 124"/>
                  <a:gd name="T8" fmla="*/ 2147483646 w 109"/>
                  <a:gd name="T9" fmla="*/ 2147483646 h 124"/>
                  <a:gd name="T10" fmla="*/ 2147483646 w 109"/>
                  <a:gd name="T11" fmla="*/ 2147483646 h 124"/>
                  <a:gd name="T12" fmla="*/ 2147483646 w 109"/>
                  <a:gd name="T13" fmla="*/ 2147483646 h 124"/>
                  <a:gd name="T14" fmla="*/ 2147483646 w 109"/>
                  <a:gd name="T15" fmla="*/ 2147483646 h 124"/>
                  <a:gd name="T16" fmla="*/ 2147483646 w 109"/>
                  <a:gd name="T17" fmla="*/ 2147483646 h 124"/>
                  <a:gd name="T18" fmla="*/ 2147483646 w 109"/>
                  <a:gd name="T19" fmla="*/ 2147483646 h 124"/>
                  <a:gd name="T20" fmla="*/ 2147483646 w 109"/>
                  <a:gd name="T21" fmla="*/ 2147483646 h 124"/>
                  <a:gd name="T22" fmla="*/ 2147483646 w 109"/>
                  <a:gd name="T23" fmla="*/ 2147483646 h 124"/>
                  <a:gd name="T24" fmla="*/ 2147483646 w 109"/>
                  <a:gd name="T25" fmla="*/ 2147483646 h 124"/>
                  <a:gd name="T26" fmla="*/ 2147483646 w 109"/>
                  <a:gd name="T27" fmla="*/ 2147483646 h 124"/>
                  <a:gd name="T28" fmla="*/ 2147483646 w 109"/>
                  <a:gd name="T29" fmla="*/ 2147483646 h 124"/>
                  <a:gd name="T30" fmla="*/ 2147483646 w 109"/>
                  <a:gd name="T31" fmla="*/ 2147483646 h 124"/>
                  <a:gd name="T32" fmla="*/ 2147483646 w 109"/>
                  <a:gd name="T33" fmla="*/ 0 h 124"/>
                  <a:gd name="T34" fmla="*/ 2147483646 w 109"/>
                  <a:gd name="T35" fmla="*/ 2147483646 h 124"/>
                  <a:gd name="T36" fmla="*/ 2147483646 w 109"/>
                  <a:gd name="T37" fmla="*/ 2147483646 h 124"/>
                  <a:gd name="T38" fmla="*/ 2147483646 w 109"/>
                  <a:gd name="T39" fmla="*/ 2147483646 h 124"/>
                  <a:gd name="T40" fmla="*/ 2147483646 w 109"/>
                  <a:gd name="T41" fmla="*/ 2147483646 h 124"/>
                  <a:gd name="T42" fmla="*/ 0 w 109"/>
                  <a:gd name="T43" fmla="*/ 2147483646 h 124"/>
                  <a:gd name="T44" fmla="*/ 2147483646 w 109"/>
                  <a:gd name="T45" fmla="*/ 2147483646 h 124"/>
                  <a:gd name="T46" fmla="*/ 2147483646 w 109"/>
                  <a:gd name="T47" fmla="*/ 2147483646 h 124"/>
                  <a:gd name="T48" fmla="*/ 2147483646 w 109"/>
                  <a:gd name="T49" fmla="*/ 2147483646 h 124"/>
                  <a:gd name="T50" fmla="*/ 2147483646 w 109"/>
                  <a:gd name="T51" fmla="*/ 2147483646 h 124"/>
                  <a:gd name="T52" fmla="*/ 2147483646 w 109"/>
                  <a:gd name="T53" fmla="*/ 2147483646 h 124"/>
                  <a:gd name="T54" fmla="*/ 2147483646 w 109"/>
                  <a:gd name="T55" fmla="*/ 2147483646 h 124"/>
                  <a:gd name="T56" fmla="*/ 2147483646 w 109"/>
                  <a:gd name="T57" fmla="*/ 2147483646 h 124"/>
                  <a:gd name="T58" fmla="*/ 2147483646 w 109"/>
                  <a:gd name="T59" fmla="*/ 2147483646 h 124"/>
                  <a:gd name="T60" fmla="*/ 2147483646 w 109"/>
                  <a:gd name="T61" fmla="*/ 2147483646 h 124"/>
                  <a:gd name="T62" fmla="*/ 2147483646 w 109"/>
                  <a:gd name="T63" fmla="*/ 2147483646 h 124"/>
                  <a:gd name="T64" fmla="*/ 2147483646 w 109"/>
                  <a:gd name="T65" fmla="*/ 2147483646 h 124"/>
                  <a:gd name="T66" fmla="*/ 2147483646 w 109"/>
                  <a:gd name="T67" fmla="*/ 2147483646 h 124"/>
                  <a:gd name="T68" fmla="*/ 2147483646 w 109"/>
                  <a:gd name="T69" fmla="*/ 2147483646 h 124"/>
                  <a:gd name="T70" fmla="*/ 2147483646 w 109"/>
                  <a:gd name="T71" fmla="*/ 2147483646 h 124"/>
                  <a:gd name="T72" fmla="*/ 2147483646 w 109"/>
                  <a:gd name="T73" fmla="*/ 2147483646 h 124"/>
                  <a:gd name="T74" fmla="*/ 2147483646 w 109"/>
                  <a:gd name="T75" fmla="*/ 2147483646 h 124"/>
                  <a:gd name="T76" fmla="*/ 2147483646 w 109"/>
                  <a:gd name="T77" fmla="*/ 2147483646 h 124"/>
                  <a:gd name="T78" fmla="*/ 2147483646 w 109"/>
                  <a:gd name="T79" fmla="*/ 2147483646 h 124"/>
                  <a:gd name="T80" fmla="*/ 2147483646 w 109"/>
                  <a:gd name="T81" fmla="*/ 2147483646 h 124"/>
                  <a:gd name="T82" fmla="*/ 2147483646 w 109"/>
                  <a:gd name="T83" fmla="*/ 2147483646 h 124"/>
                  <a:gd name="T84" fmla="*/ 2147483646 w 109"/>
                  <a:gd name="T85" fmla="*/ 2147483646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1" name="Freeform 2529">
                <a:extLst>
                  <a:ext uri="{FF2B5EF4-FFF2-40B4-BE49-F238E27FC236}">
                    <a16:creationId xmlns:a16="http://schemas.microsoft.com/office/drawing/2014/main" id="{C285CDCC-86B9-FDE0-779F-8479E6314A3A}"/>
                  </a:ext>
                </a:extLst>
              </p:cNvPr>
              <p:cNvSpPr>
                <a:spLocks noChangeAspect="1"/>
              </p:cNvSpPr>
              <p:nvPr/>
            </p:nvSpPr>
            <p:spPr bwMode="auto">
              <a:xfrm>
                <a:off x="10191485" y="4394296"/>
                <a:ext cx="319074" cy="321003"/>
              </a:xfrm>
              <a:custGeom>
                <a:avLst/>
                <a:gdLst>
                  <a:gd name="T0" fmla="*/ 2147483646 w 66"/>
                  <a:gd name="T1" fmla="*/ 2147483646 h 79"/>
                  <a:gd name="T2" fmla="*/ 2147483646 w 66"/>
                  <a:gd name="T3" fmla="*/ 2147483646 h 79"/>
                  <a:gd name="T4" fmla="*/ 2147483646 w 66"/>
                  <a:gd name="T5" fmla="*/ 2147483646 h 79"/>
                  <a:gd name="T6" fmla="*/ 2147483646 w 66"/>
                  <a:gd name="T7" fmla="*/ 2147483646 h 79"/>
                  <a:gd name="T8" fmla="*/ 2147483646 w 66"/>
                  <a:gd name="T9" fmla="*/ 2147483646 h 79"/>
                  <a:gd name="T10" fmla="*/ 2147483646 w 66"/>
                  <a:gd name="T11" fmla="*/ 2147483646 h 79"/>
                  <a:gd name="T12" fmla="*/ 2147483646 w 66"/>
                  <a:gd name="T13" fmla="*/ 2147483646 h 79"/>
                  <a:gd name="T14" fmla="*/ 2147483646 w 66"/>
                  <a:gd name="T15" fmla="*/ 2147483646 h 79"/>
                  <a:gd name="T16" fmla="*/ 2147483646 w 66"/>
                  <a:gd name="T17" fmla="*/ 2147483646 h 79"/>
                  <a:gd name="T18" fmla="*/ 2147483646 w 66"/>
                  <a:gd name="T19" fmla="*/ 2147483646 h 79"/>
                  <a:gd name="T20" fmla="*/ 2147483646 w 66"/>
                  <a:gd name="T21" fmla="*/ 2147483646 h 79"/>
                  <a:gd name="T22" fmla="*/ 2147483646 w 66"/>
                  <a:gd name="T23" fmla="*/ 2147483646 h 79"/>
                  <a:gd name="T24" fmla="*/ 2147483646 w 66"/>
                  <a:gd name="T25" fmla="*/ 2147483646 h 79"/>
                  <a:gd name="T26" fmla="*/ 2147483646 w 66"/>
                  <a:gd name="T27" fmla="*/ 2147483646 h 79"/>
                  <a:gd name="T28" fmla="*/ 2147483646 w 66"/>
                  <a:gd name="T29" fmla="*/ 2147483646 h 79"/>
                  <a:gd name="T30" fmla="*/ 2147483646 w 66"/>
                  <a:gd name="T31" fmla="*/ 2147483646 h 79"/>
                  <a:gd name="T32" fmla="*/ 2147483646 w 66"/>
                  <a:gd name="T33" fmla="*/ 2147483646 h 79"/>
                  <a:gd name="T34" fmla="*/ 2147483646 w 66"/>
                  <a:gd name="T35" fmla="*/ 2147483646 h 79"/>
                  <a:gd name="T36" fmla="*/ 2147483646 w 66"/>
                  <a:gd name="T37" fmla="*/ 2147483646 h 79"/>
                  <a:gd name="T38" fmla="*/ 2147483646 w 66"/>
                  <a:gd name="T39" fmla="*/ 2147483646 h 79"/>
                  <a:gd name="T40" fmla="*/ 2147483646 w 66"/>
                  <a:gd name="T41" fmla="*/ 2147483646 h 79"/>
                  <a:gd name="T42" fmla="*/ 2147483646 w 66"/>
                  <a:gd name="T43" fmla="*/ 2147483646 h 79"/>
                  <a:gd name="T44" fmla="*/ 2147483646 w 66"/>
                  <a:gd name="T45" fmla="*/ 2147483646 h 79"/>
                  <a:gd name="T46" fmla="*/ 2147483646 w 66"/>
                  <a:gd name="T47" fmla="*/ 2147483646 h 79"/>
                  <a:gd name="T48" fmla="*/ 2147483646 w 66"/>
                  <a:gd name="T49" fmla="*/ 2147483646 h 79"/>
                  <a:gd name="T50" fmla="*/ 2147483646 w 66"/>
                  <a:gd name="T51" fmla="*/ 2147483646 h 79"/>
                  <a:gd name="T52" fmla="*/ 2147483646 w 66"/>
                  <a:gd name="T53" fmla="*/ 2147483646 h 79"/>
                  <a:gd name="T54" fmla="*/ 2147483646 w 66"/>
                  <a:gd name="T55" fmla="*/ 2147483646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2" name="Freeform 2530">
                <a:extLst>
                  <a:ext uri="{FF2B5EF4-FFF2-40B4-BE49-F238E27FC236}">
                    <a16:creationId xmlns:a16="http://schemas.microsoft.com/office/drawing/2014/main" id="{21BEF6DF-80E8-BE3B-E0F3-7BD218255318}"/>
                  </a:ext>
                </a:extLst>
              </p:cNvPr>
              <p:cNvSpPr>
                <a:spLocks noChangeAspect="1"/>
              </p:cNvSpPr>
              <p:nvPr/>
            </p:nvSpPr>
            <p:spPr bwMode="auto">
              <a:xfrm>
                <a:off x="9665015" y="5913936"/>
                <a:ext cx="135607" cy="184406"/>
              </a:xfrm>
              <a:custGeom>
                <a:avLst/>
                <a:gdLst>
                  <a:gd name="T0" fmla="*/ 2147483646 w 28"/>
                  <a:gd name="T1" fmla="*/ 2147483646 h 45"/>
                  <a:gd name="T2" fmla="*/ 2147483646 w 28"/>
                  <a:gd name="T3" fmla="*/ 2147483646 h 45"/>
                  <a:gd name="T4" fmla="*/ 2147483646 w 28"/>
                  <a:gd name="T5" fmla="*/ 2147483646 h 45"/>
                  <a:gd name="T6" fmla="*/ 2147483646 w 28"/>
                  <a:gd name="T7" fmla="*/ 2147483646 h 45"/>
                  <a:gd name="T8" fmla="*/ 2147483646 w 28"/>
                  <a:gd name="T9" fmla="*/ 2147483646 h 45"/>
                  <a:gd name="T10" fmla="*/ 2147483646 w 28"/>
                  <a:gd name="T11" fmla="*/ 2147483646 h 45"/>
                  <a:gd name="T12" fmla="*/ 2147483646 w 28"/>
                  <a:gd name="T13" fmla="*/ 2147483646 h 45"/>
                  <a:gd name="T14" fmla="*/ 2147483646 w 28"/>
                  <a:gd name="T15" fmla="*/ 2147483646 h 45"/>
                  <a:gd name="T16" fmla="*/ 2147483646 w 28"/>
                  <a:gd name="T17" fmla="*/ 2147483646 h 45"/>
                  <a:gd name="T18" fmla="*/ 2147483646 w 28"/>
                  <a:gd name="T19" fmla="*/ 2147483646 h 45"/>
                  <a:gd name="T20" fmla="*/ 2147483646 w 28"/>
                  <a:gd name="T21" fmla="*/ 2147483646 h 45"/>
                  <a:gd name="T22" fmla="*/ 2147483646 w 28"/>
                  <a:gd name="T23" fmla="*/ 2147483646 h 45"/>
                  <a:gd name="T24" fmla="*/ 2147483646 w 28"/>
                  <a:gd name="T25" fmla="*/ 2147483646 h 45"/>
                  <a:gd name="T26" fmla="*/ 2147483646 w 28"/>
                  <a:gd name="T27" fmla="*/ 2147483646 h 45"/>
                  <a:gd name="T28" fmla="*/ 2147483646 w 28"/>
                  <a:gd name="T29" fmla="*/ 2147483646 h 45"/>
                  <a:gd name="T30" fmla="*/ 2147483646 w 28"/>
                  <a:gd name="T31" fmla="*/ 2147483646 h 45"/>
                  <a:gd name="T32" fmla="*/ 2147483646 w 28"/>
                  <a:gd name="T33" fmla="*/ 2147483646 h 45"/>
                  <a:gd name="T34" fmla="*/ 2147483646 w 28"/>
                  <a:gd name="T35" fmla="*/ 2147483646 h 45"/>
                  <a:gd name="T36" fmla="*/ 2147483646 w 28"/>
                  <a:gd name="T37" fmla="*/ 2147483646 h 45"/>
                  <a:gd name="T38" fmla="*/ 2147483646 w 28"/>
                  <a:gd name="T39" fmla="*/ 2147483646 h 45"/>
                  <a:gd name="T40" fmla="*/ 2147483646 w 28"/>
                  <a:gd name="T41" fmla="*/ 2147483646 h 45"/>
                  <a:gd name="T42" fmla="*/ 2147483646 w 28"/>
                  <a:gd name="T43" fmla="*/ 2147483646 h 45"/>
                  <a:gd name="T44" fmla="*/ 2147483646 w 28"/>
                  <a:gd name="T45" fmla="*/ 2147483646 h 45"/>
                  <a:gd name="T46" fmla="*/ 2147483646 w 28"/>
                  <a:gd name="T47" fmla="*/ 2147483646 h 45"/>
                  <a:gd name="T48" fmla="*/ 2147483646 w 28"/>
                  <a:gd name="T49" fmla="*/ 2147483646 h 45"/>
                  <a:gd name="T50" fmla="*/ 2147483646 w 28"/>
                  <a:gd name="T51" fmla="*/ 2147483646 h 45"/>
                  <a:gd name="T52" fmla="*/ 2147483646 w 28"/>
                  <a:gd name="T53" fmla="*/ 0 h 45"/>
                  <a:gd name="T54" fmla="*/ 2147483646 w 28"/>
                  <a:gd name="T55" fmla="*/ 2147483646 h 45"/>
                  <a:gd name="T56" fmla="*/ 2147483646 w 28"/>
                  <a:gd name="T57" fmla="*/ 2147483646 h 45"/>
                  <a:gd name="T58" fmla="*/ 2147483646 w 28"/>
                  <a:gd name="T59" fmla="*/ 2147483646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3" name="Freeform 2531">
                <a:extLst>
                  <a:ext uri="{FF2B5EF4-FFF2-40B4-BE49-F238E27FC236}">
                    <a16:creationId xmlns:a16="http://schemas.microsoft.com/office/drawing/2014/main" id="{307AD185-6A47-4880-3E6A-DB831F73E09C}"/>
                  </a:ext>
                </a:extLst>
              </p:cNvPr>
              <p:cNvSpPr>
                <a:spLocks noChangeAspect="1"/>
              </p:cNvSpPr>
              <p:nvPr/>
            </p:nvSpPr>
            <p:spPr bwMode="auto">
              <a:xfrm>
                <a:off x="9457617" y="3885471"/>
                <a:ext cx="997107" cy="2042125"/>
              </a:xfrm>
              <a:custGeom>
                <a:avLst/>
                <a:gdLst>
                  <a:gd name="T0" fmla="*/ 2147483646 w 208"/>
                  <a:gd name="T1" fmla="*/ 2147483646 h 498"/>
                  <a:gd name="T2" fmla="*/ 2147483646 w 208"/>
                  <a:gd name="T3" fmla="*/ 2147483646 h 498"/>
                  <a:gd name="T4" fmla="*/ 2147483646 w 208"/>
                  <a:gd name="T5" fmla="*/ 2147483646 h 498"/>
                  <a:gd name="T6" fmla="*/ 2147483646 w 208"/>
                  <a:gd name="T7" fmla="*/ 2147483646 h 498"/>
                  <a:gd name="T8" fmla="*/ 2147483646 w 208"/>
                  <a:gd name="T9" fmla="*/ 2147483646 h 498"/>
                  <a:gd name="T10" fmla="*/ 2147483646 w 208"/>
                  <a:gd name="T11" fmla="*/ 2147483646 h 498"/>
                  <a:gd name="T12" fmla="*/ 2147483646 w 208"/>
                  <a:gd name="T13" fmla="*/ 2147483646 h 498"/>
                  <a:gd name="T14" fmla="*/ 2147483646 w 208"/>
                  <a:gd name="T15" fmla="*/ 2147483646 h 498"/>
                  <a:gd name="T16" fmla="*/ 2147483646 w 208"/>
                  <a:gd name="T17" fmla="*/ 2147483646 h 498"/>
                  <a:gd name="T18" fmla="*/ 2147483646 w 208"/>
                  <a:gd name="T19" fmla="*/ 2147483646 h 498"/>
                  <a:gd name="T20" fmla="*/ 2147483646 w 208"/>
                  <a:gd name="T21" fmla="*/ 2147483646 h 498"/>
                  <a:gd name="T22" fmla="*/ 2147483646 w 208"/>
                  <a:gd name="T23" fmla="*/ 2147483646 h 498"/>
                  <a:gd name="T24" fmla="*/ 2147483646 w 208"/>
                  <a:gd name="T25" fmla="*/ 2147483646 h 498"/>
                  <a:gd name="T26" fmla="*/ 2147483646 w 208"/>
                  <a:gd name="T27" fmla="*/ 2147483646 h 498"/>
                  <a:gd name="T28" fmla="*/ 2147483646 w 208"/>
                  <a:gd name="T29" fmla="*/ 2147483646 h 498"/>
                  <a:gd name="T30" fmla="*/ 2147483646 w 208"/>
                  <a:gd name="T31" fmla="*/ 2147483646 h 498"/>
                  <a:gd name="T32" fmla="*/ 2147483646 w 208"/>
                  <a:gd name="T33" fmla="*/ 2147483646 h 498"/>
                  <a:gd name="T34" fmla="*/ 2147483646 w 208"/>
                  <a:gd name="T35" fmla="*/ 2147483646 h 498"/>
                  <a:gd name="T36" fmla="*/ 2147483646 w 208"/>
                  <a:gd name="T37" fmla="*/ 2147483646 h 498"/>
                  <a:gd name="T38" fmla="*/ 2147483646 w 208"/>
                  <a:gd name="T39" fmla="*/ 2147483646 h 498"/>
                  <a:gd name="T40" fmla="*/ 2147483646 w 208"/>
                  <a:gd name="T41" fmla="*/ 2147483646 h 498"/>
                  <a:gd name="T42" fmla="*/ 2147483646 w 208"/>
                  <a:gd name="T43" fmla="*/ 2147483646 h 498"/>
                  <a:gd name="T44" fmla="*/ 2147483646 w 208"/>
                  <a:gd name="T45" fmla="*/ 2147483646 h 498"/>
                  <a:gd name="T46" fmla="*/ 2147483646 w 208"/>
                  <a:gd name="T47" fmla="*/ 2147483646 h 498"/>
                  <a:gd name="T48" fmla="*/ 2147483646 w 208"/>
                  <a:gd name="T49" fmla="*/ 2147483646 h 498"/>
                  <a:gd name="T50" fmla="*/ 2147483646 w 208"/>
                  <a:gd name="T51" fmla="*/ 2147483646 h 498"/>
                  <a:gd name="T52" fmla="*/ 2147483646 w 208"/>
                  <a:gd name="T53" fmla="*/ 2147483646 h 498"/>
                  <a:gd name="T54" fmla="*/ 2147483646 w 208"/>
                  <a:gd name="T55" fmla="*/ 2147483646 h 498"/>
                  <a:gd name="T56" fmla="*/ 2147483646 w 208"/>
                  <a:gd name="T57" fmla="*/ 2147483646 h 498"/>
                  <a:gd name="T58" fmla="*/ 2147483646 w 208"/>
                  <a:gd name="T59" fmla="*/ 2147483646 h 498"/>
                  <a:gd name="T60" fmla="*/ 2147483646 w 208"/>
                  <a:gd name="T61" fmla="*/ 2147483646 h 498"/>
                  <a:gd name="T62" fmla="*/ 2147483646 w 208"/>
                  <a:gd name="T63" fmla="*/ 2147483646 h 498"/>
                  <a:gd name="T64" fmla="*/ 2147483646 w 208"/>
                  <a:gd name="T65" fmla="*/ 2147483646 h 498"/>
                  <a:gd name="T66" fmla="*/ 2147483646 w 208"/>
                  <a:gd name="T67" fmla="*/ 2147483646 h 498"/>
                  <a:gd name="T68" fmla="*/ 2147483646 w 208"/>
                  <a:gd name="T69" fmla="*/ 2147483646 h 498"/>
                  <a:gd name="T70" fmla="*/ 2147483646 w 208"/>
                  <a:gd name="T71" fmla="*/ 2147483646 h 498"/>
                  <a:gd name="T72" fmla="*/ 2147483646 w 208"/>
                  <a:gd name="T73" fmla="*/ 2147483646 h 498"/>
                  <a:gd name="T74" fmla="*/ 2147483646 w 208"/>
                  <a:gd name="T75" fmla="*/ 2147483646 h 498"/>
                  <a:gd name="T76" fmla="*/ 2147483646 w 208"/>
                  <a:gd name="T77" fmla="*/ 2147483646 h 498"/>
                  <a:gd name="T78" fmla="*/ 2147483646 w 208"/>
                  <a:gd name="T79" fmla="*/ 2147483646 h 498"/>
                  <a:gd name="T80" fmla="*/ 2147483646 w 208"/>
                  <a:gd name="T81" fmla="*/ 2147483646 h 498"/>
                  <a:gd name="T82" fmla="*/ 2147483646 w 208"/>
                  <a:gd name="T83" fmla="*/ 2147483646 h 498"/>
                  <a:gd name="T84" fmla="*/ 2147483646 w 208"/>
                  <a:gd name="T85" fmla="*/ 2147483646 h 498"/>
                  <a:gd name="T86" fmla="*/ 2147483646 w 208"/>
                  <a:gd name="T87" fmla="*/ 2147483646 h 498"/>
                  <a:gd name="T88" fmla="*/ 2147483646 w 208"/>
                  <a:gd name="T89" fmla="*/ 2147483646 h 498"/>
                  <a:gd name="T90" fmla="*/ 2147483646 w 208"/>
                  <a:gd name="T91" fmla="*/ 2147483646 h 498"/>
                  <a:gd name="T92" fmla="*/ 2147483646 w 208"/>
                  <a:gd name="T93" fmla="*/ 2147483646 h 498"/>
                  <a:gd name="T94" fmla="*/ 2147483646 w 208"/>
                  <a:gd name="T95" fmla="*/ 2147483646 h 498"/>
                  <a:gd name="T96" fmla="*/ 2147483646 w 208"/>
                  <a:gd name="T97" fmla="*/ 2147483646 h 498"/>
                  <a:gd name="T98" fmla="*/ 2147483646 w 208"/>
                  <a:gd name="T99" fmla="*/ 2147483646 h 498"/>
                  <a:gd name="T100" fmla="*/ 2147483646 w 208"/>
                  <a:gd name="T101" fmla="*/ 2147483646 h 498"/>
                  <a:gd name="T102" fmla="*/ 2147483646 w 208"/>
                  <a:gd name="T103" fmla="*/ 2147483646 h 498"/>
                  <a:gd name="T104" fmla="*/ 2147483646 w 208"/>
                  <a:gd name="T105" fmla="*/ 2147483646 h 498"/>
                  <a:gd name="T106" fmla="*/ 2147483646 w 208"/>
                  <a:gd name="T107" fmla="*/ 2147483646 h 498"/>
                  <a:gd name="T108" fmla="*/ 2147483646 w 208"/>
                  <a:gd name="T109" fmla="*/ 2147483646 h 498"/>
                  <a:gd name="T110" fmla="*/ 2147483646 w 208"/>
                  <a:gd name="T111" fmla="*/ 2147483646 h 498"/>
                  <a:gd name="T112" fmla="*/ 2147483646 w 208"/>
                  <a:gd name="T113" fmla="*/ 2147483646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4" name="Freeform 2532">
                <a:extLst>
                  <a:ext uri="{FF2B5EF4-FFF2-40B4-BE49-F238E27FC236}">
                    <a16:creationId xmlns:a16="http://schemas.microsoft.com/office/drawing/2014/main" id="{AD12C347-97C5-30BD-D0D7-05C74952483F}"/>
                  </a:ext>
                </a:extLst>
              </p:cNvPr>
              <p:cNvSpPr>
                <a:spLocks noChangeAspect="1"/>
              </p:cNvSpPr>
              <p:nvPr/>
            </p:nvSpPr>
            <p:spPr bwMode="auto">
              <a:xfrm>
                <a:off x="9306056" y="3636180"/>
                <a:ext cx="327051" cy="2240190"/>
              </a:xfrm>
              <a:custGeom>
                <a:avLst/>
                <a:gdLst>
                  <a:gd name="T0" fmla="*/ 2147483646 w 68"/>
                  <a:gd name="T1" fmla="*/ 2147483646 h 547"/>
                  <a:gd name="T2" fmla="*/ 2147483646 w 68"/>
                  <a:gd name="T3" fmla="*/ 2147483646 h 547"/>
                  <a:gd name="T4" fmla="*/ 2147483646 w 68"/>
                  <a:gd name="T5" fmla="*/ 2147483646 h 547"/>
                  <a:gd name="T6" fmla="*/ 2147483646 w 68"/>
                  <a:gd name="T7" fmla="*/ 2147483646 h 547"/>
                  <a:gd name="T8" fmla="*/ 2147483646 w 68"/>
                  <a:gd name="T9" fmla="*/ 2147483646 h 547"/>
                  <a:gd name="T10" fmla="*/ 2147483646 w 68"/>
                  <a:gd name="T11" fmla="*/ 2147483646 h 547"/>
                  <a:gd name="T12" fmla="*/ 2147483646 w 68"/>
                  <a:gd name="T13" fmla="*/ 2147483646 h 547"/>
                  <a:gd name="T14" fmla="*/ 2147483646 w 68"/>
                  <a:gd name="T15" fmla="*/ 2147483646 h 547"/>
                  <a:gd name="T16" fmla="*/ 2147483646 w 68"/>
                  <a:gd name="T17" fmla="*/ 2147483646 h 547"/>
                  <a:gd name="T18" fmla="*/ 2147483646 w 68"/>
                  <a:gd name="T19" fmla="*/ 2147483646 h 547"/>
                  <a:gd name="T20" fmla="*/ 2147483646 w 68"/>
                  <a:gd name="T21" fmla="*/ 2147483646 h 547"/>
                  <a:gd name="T22" fmla="*/ 2147483646 w 68"/>
                  <a:gd name="T23" fmla="*/ 2147483646 h 547"/>
                  <a:gd name="T24" fmla="*/ 2147483646 w 68"/>
                  <a:gd name="T25" fmla="*/ 2147483646 h 547"/>
                  <a:gd name="T26" fmla="*/ 2147483646 w 68"/>
                  <a:gd name="T27" fmla="*/ 2147483646 h 547"/>
                  <a:gd name="T28" fmla="*/ 2147483646 w 68"/>
                  <a:gd name="T29" fmla="*/ 2147483646 h 547"/>
                  <a:gd name="T30" fmla="*/ 2147483646 w 68"/>
                  <a:gd name="T31" fmla="*/ 2147483646 h 547"/>
                  <a:gd name="T32" fmla="*/ 2147483646 w 68"/>
                  <a:gd name="T33" fmla="*/ 2147483646 h 547"/>
                  <a:gd name="T34" fmla="*/ 2147483646 w 68"/>
                  <a:gd name="T35" fmla="*/ 2147483646 h 547"/>
                  <a:gd name="T36" fmla="*/ 2147483646 w 68"/>
                  <a:gd name="T37" fmla="*/ 2147483646 h 547"/>
                  <a:gd name="T38" fmla="*/ 2147483646 w 68"/>
                  <a:gd name="T39" fmla="*/ 2147483646 h 547"/>
                  <a:gd name="T40" fmla="*/ 2147483646 w 68"/>
                  <a:gd name="T41" fmla="*/ 2147483646 h 547"/>
                  <a:gd name="T42" fmla="*/ 2147483646 w 68"/>
                  <a:gd name="T43" fmla="*/ 2147483646 h 547"/>
                  <a:gd name="T44" fmla="*/ 2147483646 w 68"/>
                  <a:gd name="T45" fmla="*/ 2147483646 h 547"/>
                  <a:gd name="T46" fmla="*/ 2147483646 w 68"/>
                  <a:gd name="T47" fmla="*/ 2147483646 h 547"/>
                  <a:gd name="T48" fmla="*/ 2147483646 w 68"/>
                  <a:gd name="T49" fmla="*/ 2147483646 h 547"/>
                  <a:gd name="T50" fmla="*/ 2147483646 w 68"/>
                  <a:gd name="T51" fmla="*/ 2147483646 h 547"/>
                  <a:gd name="T52" fmla="*/ 2147483646 w 68"/>
                  <a:gd name="T53" fmla="*/ 2147483646 h 547"/>
                  <a:gd name="T54" fmla="*/ 2147483646 w 68"/>
                  <a:gd name="T55" fmla="*/ 2147483646 h 547"/>
                  <a:gd name="T56" fmla="*/ 2147483646 w 68"/>
                  <a:gd name="T57" fmla="*/ 2147483646 h 547"/>
                  <a:gd name="T58" fmla="*/ 2147483646 w 68"/>
                  <a:gd name="T59" fmla="*/ 2147483646 h 547"/>
                  <a:gd name="T60" fmla="*/ 2147483646 w 68"/>
                  <a:gd name="T61" fmla="*/ 2147483646 h 547"/>
                  <a:gd name="T62" fmla="*/ 2147483646 w 68"/>
                  <a:gd name="T63" fmla="*/ 2147483646 h 547"/>
                  <a:gd name="T64" fmla="*/ 2147483646 w 68"/>
                  <a:gd name="T65" fmla="*/ 2147483646 h 547"/>
                  <a:gd name="T66" fmla="*/ 2147483646 w 68"/>
                  <a:gd name="T67" fmla="*/ 2147483646 h 547"/>
                  <a:gd name="T68" fmla="*/ 2147483646 w 68"/>
                  <a:gd name="T69" fmla="*/ 2147483646 h 547"/>
                  <a:gd name="T70" fmla="*/ 2147483646 w 68"/>
                  <a:gd name="T71" fmla="*/ 2147483646 h 547"/>
                  <a:gd name="T72" fmla="*/ 2147483646 w 68"/>
                  <a:gd name="T73" fmla="*/ 2147483646 h 547"/>
                  <a:gd name="T74" fmla="*/ 2147483646 w 68"/>
                  <a:gd name="T75" fmla="*/ 2147483646 h 547"/>
                  <a:gd name="T76" fmla="*/ 2147483646 w 68"/>
                  <a:gd name="T77" fmla="*/ 2147483646 h 547"/>
                  <a:gd name="T78" fmla="*/ 2147483646 w 68"/>
                  <a:gd name="T79" fmla="*/ 2147483646 h 547"/>
                  <a:gd name="T80" fmla="*/ 2147483646 w 68"/>
                  <a:gd name="T81" fmla="*/ 2147483646 h 547"/>
                  <a:gd name="T82" fmla="*/ 2147483646 w 68"/>
                  <a:gd name="T83" fmla="*/ 2147483646 h 547"/>
                  <a:gd name="T84" fmla="*/ 2147483646 w 68"/>
                  <a:gd name="T85" fmla="*/ 2147483646 h 547"/>
                  <a:gd name="T86" fmla="*/ 2147483646 w 68"/>
                  <a:gd name="T87" fmla="*/ 2147483646 h 547"/>
                  <a:gd name="T88" fmla="*/ 2147483646 w 68"/>
                  <a:gd name="T89" fmla="*/ 2147483646 h 547"/>
                  <a:gd name="T90" fmla="*/ 2147483646 w 68"/>
                  <a:gd name="T91" fmla="*/ 2147483646 h 547"/>
                  <a:gd name="T92" fmla="*/ 2147483646 w 68"/>
                  <a:gd name="T93" fmla="*/ 2147483646 h 547"/>
                  <a:gd name="T94" fmla="*/ 2147483646 w 68"/>
                  <a:gd name="T95" fmla="*/ 2147483646 h 547"/>
                  <a:gd name="T96" fmla="*/ 2147483646 w 68"/>
                  <a:gd name="T97" fmla="*/ 2147483646 h 547"/>
                  <a:gd name="T98" fmla="*/ 2147483646 w 68"/>
                  <a:gd name="T99" fmla="*/ 2147483646 h 547"/>
                  <a:gd name="T100" fmla="*/ 2147483646 w 68"/>
                  <a:gd name="T101" fmla="*/ 2147483646 h 547"/>
                  <a:gd name="T102" fmla="*/ 2147483646 w 68"/>
                  <a:gd name="T103" fmla="*/ 2147483646 h 547"/>
                  <a:gd name="T104" fmla="*/ 2147483646 w 68"/>
                  <a:gd name="T105" fmla="*/ 2147483646 h 547"/>
                  <a:gd name="T106" fmla="*/ 2147483646 w 68"/>
                  <a:gd name="T107" fmla="*/ 2147483646 h 547"/>
                  <a:gd name="T108" fmla="*/ 2147483646 w 68"/>
                  <a:gd name="T109" fmla="*/ 2147483646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5" name="Freeform 2533">
                <a:extLst>
                  <a:ext uri="{FF2B5EF4-FFF2-40B4-BE49-F238E27FC236}">
                    <a16:creationId xmlns:a16="http://schemas.microsoft.com/office/drawing/2014/main" id="{54F3D8EF-7A9E-1FB3-7C86-AD941D166306}"/>
                  </a:ext>
                </a:extLst>
              </p:cNvPr>
              <p:cNvSpPr>
                <a:spLocks noChangeAspect="1"/>
              </p:cNvSpPr>
              <p:nvPr/>
            </p:nvSpPr>
            <p:spPr bwMode="auto">
              <a:xfrm>
                <a:off x="8715769" y="2580970"/>
                <a:ext cx="805663" cy="1103022"/>
              </a:xfrm>
              <a:custGeom>
                <a:avLst/>
                <a:gdLst>
                  <a:gd name="T0" fmla="*/ 2147483646 w 168"/>
                  <a:gd name="T1" fmla="*/ 2147483646 h 269"/>
                  <a:gd name="T2" fmla="*/ 2147483646 w 168"/>
                  <a:gd name="T3" fmla="*/ 2147483646 h 269"/>
                  <a:gd name="T4" fmla="*/ 2147483646 w 168"/>
                  <a:gd name="T5" fmla="*/ 2147483646 h 269"/>
                  <a:gd name="T6" fmla="*/ 2147483646 w 168"/>
                  <a:gd name="T7" fmla="*/ 2147483646 h 269"/>
                  <a:gd name="T8" fmla="*/ 2147483646 w 168"/>
                  <a:gd name="T9" fmla="*/ 2147483646 h 269"/>
                  <a:gd name="T10" fmla="*/ 2147483646 w 168"/>
                  <a:gd name="T11" fmla="*/ 2147483646 h 269"/>
                  <a:gd name="T12" fmla="*/ 2147483646 w 168"/>
                  <a:gd name="T13" fmla="*/ 2147483646 h 269"/>
                  <a:gd name="T14" fmla="*/ 2147483646 w 168"/>
                  <a:gd name="T15" fmla="*/ 2147483646 h 269"/>
                  <a:gd name="T16" fmla="*/ 2147483646 w 168"/>
                  <a:gd name="T17" fmla="*/ 2147483646 h 269"/>
                  <a:gd name="T18" fmla="*/ 2147483646 w 168"/>
                  <a:gd name="T19" fmla="*/ 2147483646 h 269"/>
                  <a:gd name="T20" fmla="*/ 2147483646 w 168"/>
                  <a:gd name="T21" fmla="*/ 2147483646 h 269"/>
                  <a:gd name="T22" fmla="*/ 2147483646 w 168"/>
                  <a:gd name="T23" fmla="*/ 2147483646 h 269"/>
                  <a:gd name="T24" fmla="*/ 2147483646 w 168"/>
                  <a:gd name="T25" fmla="*/ 2147483646 h 269"/>
                  <a:gd name="T26" fmla="*/ 2147483646 w 168"/>
                  <a:gd name="T27" fmla="*/ 2147483646 h 269"/>
                  <a:gd name="T28" fmla="*/ 2147483646 w 168"/>
                  <a:gd name="T29" fmla="*/ 2147483646 h 269"/>
                  <a:gd name="T30" fmla="*/ 2147483646 w 168"/>
                  <a:gd name="T31" fmla="*/ 2147483646 h 269"/>
                  <a:gd name="T32" fmla="*/ 2147483646 w 168"/>
                  <a:gd name="T33" fmla="*/ 2147483646 h 269"/>
                  <a:gd name="T34" fmla="*/ 2147483646 w 168"/>
                  <a:gd name="T35" fmla="*/ 2147483646 h 269"/>
                  <a:gd name="T36" fmla="*/ 2147483646 w 168"/>
                  <a:gd name="T37" fmla="*/ 2147483646 h 269"/>
                  <a:gd name="T38" fmla="*/ 2147483646 w 168"/>
                  <a:gd name="T39" fmla="*/ 2147483646 h 269"/>
                  <a:gd name="T40" fmla="*/ 2147483646 w 168"/>
                  <a:gd name="T41" fmla="*/ 2147483646 h 269"/>
                  <a:gd name="T42" fmla="*/ 2147483646 w 168"/>
                  <a:gd name="T43" fmla="*/ 2147483646 h 269"/>
                  <a:gd name="T44" fmla="*/ 2147483646 w 168"/>
                  <a:gd name="T45" fmla="*/ 2147483646 h 269"/>
                  <a:gd name="T46" fmla="*/ 2147483646 w 168"/>
                  <a:gd name="T47" fmla="*/ 2147483646 h 269"/>
                  <a:gd name="T48" fmla="*/ 2147483646 w 168"/>
                  <a:gd name="T49" fmla="*/ 2147483646 h 269"/>
                  <a:gd name="T50" fmla="*/ 2147483646 w 168"/>
                  <a:gd name="T51" fmla="*/ 2147483646 h 269"/>
                  <a:gd name="T52" fmla="*/ 2147483646 w 168"/>
                  <a:gd name="T53" fmla="*/ 2147483646 h 269"/>
                  <a:gd name="T54" fmla="*/ 2147483646 w 168"/>
                  <a:gd name="T55" fmla="*/ 2147483646 h 269"/>
                  <a:gd name="T56" fmla="*/ 2147483646 w 168"/>
                  <a:gd name="T57" fmla="*/ 2147483646 h 269"/>
                  <a:gd name="T58" fmla="*/ 2147483646 w 168"/>
                  <a:gd name="T59" fmla="*/ 2147483646 h 269"/>
                  <a:gd name="T60" fmla="*/ 2147483646 w 168"/>
                  <a:gd name="T61" fmla="*/ 2147483646 h 269"/>
                  <a:gd name="T62" fmla="*/ 2147483646 w 168"/>
                  <a:gd name="T63" fmla="*/ 2147483646 h 269"/>
                  <a:gd name="T64" fmla="*/ 2147483646 w 168"/>
                  <a:gd name="T65" fmla="*/ 2147483646 h 269"/>
                  <a:gd name="T66" fmla="*/ 2147483646 w 168"/>
                  <a:gd name="T67" fmla="*/ 2147483646 h 269"/>
                  <a:gd name="T68" fmla="*/ 2147483646 w 168"/>
                  <a:gd name="T69" fmla="*/ 2147483646 h 269"/>
                  <a:gd name="T70" fmla="*/ 2147483646 w 168"/>
                  <a:gd name="T71" fmla="*/ 2147483646 h 269"/>
                  <a:gd name="T72" fmla="*/ 2147483646 w 168"/>
                  <a:gd name="T73" fmla="*/ 2147483646 h 269"/>
                  <a:gd name="T74" fmla="*/ 2147483646 w 168"/>
                  <a:gd name="T75" fmla="*/ 2147483646 h 269"/>
                  <a:gd name="T76" fmla="*/ 2147483646 w 168"/>
                  <a:gd name="T77" fmla="*/ 2147483646 h 269"/>
                  <a:gd name="T78" fmla="*/ 2147483646 w 168"/>
                  <a:gd name="T79" fmla="*/ 2147483646 h 269"/>
                  <a:gd name="T80" fmla="*/ 2147483646 w 168"/>
                  <a:gd name="T81" fmla="*/ 2147483646 h 269"/>
                  <a:gd name="T82" fmla="*/ 2147483646 w 168"/>
                  <a:gd name="T83" fmla="*/ 2147483646 h 269"/>
                  <a:gd name="T84" fmla="*/ 2147483646 w 168"/>
                  <a:gd name="T85" fmla="*/ 2147483646 h 269"/>
                  <a:gd name="T86" fmla="*/ 2147483646 w 168"/>
                  <a:gd name="T87" fmla="*/ 2147483646 h 269"/>
                  <a:gd name="T88" fmla="*/ 2147483646 w 168"/>
                  <a:gd name="T89" fmla="*/ 2147483646 h 269"/>
                  <a:gd name="T90" fmla="*/ 2147483646 w 168"/>
                  <a:gd name="T91" fmla="*/ 2147483646 h 269"/>
                  <a:gd name="T92" fmla="*/ 2147483646 w 168"/>
                  <a:gd name="T93" fmla="*/ 2147483646 h 269"/>
                  <a:gd name="T94" fmla="*/ 2147483646 w 168"/>
                  <a:gd name="T95" fmla="*/ 2147483646 h 269"/>
                  <a:gd name="T96" fmla="*/ 2147483646 w 168"/>
                  <a:gd name="T97" fmla="*/ 2147483646 h 269"/>
                  <a:gd name="T98" fmla="*/ 2147483646 w 168"/>
                  <a:gd name="T99" fmla="*/ 2147483646 h 269"/>
                  <a:gd name="T100" fmla="*/ 2147483646 w 168"/>
                  <a:gd name="T101" fmla="*/ 2147483646 h 269"/>
                  <a:gd name="T102" fmla="*/ 2147483646 w 168"/>
                  <a:gd name="T103" fmla="*/ 2147483646 h 269"/>
                  <a:gd name="T104" fmla="*/ 2147483646 w 168"/>
                  <a:gd name="T105" fmla="*/ 2147483646 h 269"/>
                  <a:gd name="T106" fmla="*/ 2147483646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6" name="Freeform 2534">
                <a:extLst>
                  <a:ext uri="{FF2B5EF4-FFF2-40B4-BE49-F238E27FC236}">
                    <a16:creationId xmlns:a16="http://schemas.microsoft.com/office/drawing/2014/main" id="{5AE5E8D2-5AAA-BED1-AE7E-572D68DD48FD}"/>
                  </a:ext>
                </a:extLst>
              </p:cNvPr>
              <p:cNvSpPr>
                <a:spLocks noChangeAspect="1"/>
              </p:cNvSpPr>
              <p:nvPr/>
            </p:nvSpPr>
            <p:spPr bwMode="auto">
              <a:xfrm>
                <a:off x="8731722" y="2499010"/>
                <a:ext cx="358959" cy="372228"/>
              </a:xfrm>
              <a:custGeom>
                <a:avLst/>
                <a:gdLst>
                  <a:gd name="T0" fmla="*/ 2147483646 w 74"/>
                  <a:gd name="T1" fmla="*/ 2147483646 h 91"/>
                  <a:gd name="T2" fmla="*/ 2147483646 w 74"/>
                  <a:gd name="T3" fmla="*/ 2147483646 h 91"/>
                  <a:gd name="T4" fmla="*/ 2147483646 w 74"/>
                  <a:gd name="T5" fmla="*/ 2147483646 h 91"/>
                  <a:gd name="T6" fmla="*/ 2147483646 w 74"/>
                  <a:gd name="T7" fmla="*/ 2147483646 h 91"/>
                  <a:gd name="T8" fmla="*/ 2147483646 w 74"/>
                  <a:gd name="T9" fmla="*/ 2147483646 h 91"/>
                  <a:gd name="T10" fmla="*/ 2147483646 w 74"/>
                  <a:gd name="T11" fmla="*/ 2147483646 h 91"/>
                  <a:gd name="T12" fmla="*/ 2147483646 w 74"/>
                  <a:gd name="T13" fmla="*/ 2147483646 h 91"/>
                  <a:gd name="T14" fmla="*/ 2147483646 w 74"/>
                  <a:gd name="T15" fmla="*/ 2147483646 h 91"/>
                  <a:gd name="T16" fmla="*/ 2147483646 w 74"/>
                  <a:gd name="T17" fmla="*/ 2147483646 h 91"/>
                  <a:gd name="T18" fmla="*/ 2147483646 w 74"/>
                  <a:gd name="T19" fmla="*/ 2147483646 h 91"/>
                  <a:gd name="T20" fmla="*/ 2147483646 w 74"/>
                  <a:gd name="T21" fmla="*/ 2147483646 h 91"/>
                  <a:gd name="T22" fmla="*/ 2147483646 w 74"/>
                  <a:gd name="T23" fmla="*/ 2147483646 h 91"/>
                  <a:gd name="T24" fmla="*/ 2147483646 w 74"/>
                  <a:gd name="T25" fmla="*/ 2147483646 h 91"/>
                  <a:gd name="T26" fmla="*/ 2147483646 w 74"/>
                  <a:gd name="T27" fmla="*/ 2147483646 h 91"/>
                  <a:gd name="T28" fmla="*/ 2147483646 w 74"/>
                  <a:gd name="T29" fmla="*/ 2147483646 h 91"/>
                  <a:gd name="T30" fmla="*/ 2147483646 w 74"/>
                  <a:gd name="T31" fmla="*/ 2147483646 h 91"/>
                  <a:gd name="T32" fmla="*/ 2147483646 w 74"/>
                  <a:gd name="T33" fmla="*/ 2147483646 h 91"/>
                  <a:gd name="T34" fmla="*/ 2147483646 w 74"/>
                  <a:gd name="T35" fmla="*/ 2147483646 h 91"/>
                  <a:gd name="T36" fmla="*/ 2147483646 w 74"/>
                  <a:gd name="T37" fmla="*/ 2147483646 h 91"/>
                  <a:gd name="T38" fmla="*/ 2147483646 w 74"/>
                  <a:gd name="T39" fmla="*/ 0 h 91"/>
                  <a:gd name="T40" fmla="*/ 2147483646 w 74"/>
                  <a:gd name="T41" fmla="*/ 2147483646 h 91"/>
                  <a:gd name="T42" fmla="*/ 2147483646 w 74"/>
                  <a:gd name="T43" fmla="*/ 2147483646 h 91"/>
                  <a:gd name="T44" fmla="*/ 2147483646 w 74"/>
                  <a:gd name="T45" fmla="*/ 2147483646 h 91"/>
                  <a:gd name="T46" fmla="*/ 2147483646 w 74"/>
                  <a:gd name="T47" fmla="*/ 2147483646 h 91"/>
                  <a:gd name="T48" fmla="*/ 2147483646 w 74"/>
                  <a:gd name="T49" fmla="*/ 2147483646 h 91"/>
                  <a:gd name="T50" fmla="*/ 2147483646 w 74"/>
                  <a:gd name="T51" fmla="*/ 2147483646 h 91"/>
                  <a:gd name="T52" fmla="*/ 2147483646 w 74"/>
                  <a:gd name="T53" fmla="*/ 2147483646 h 91"/>
                  <a:gd name="T54" fmla="*/ 2147483646 w 74"/>
                  <a:gd name="T55" fmla="*/ 2147483646 h 91"/>
                  <a:gd name="T56" fmla="*/ 2147483646 w 74"/>
                  <a:gd name="T57" fmla="*/ 2147483646 h 91"/>
                  <a:gd name="T58" fmla="*/ 2147483646 w 74"/>
                  <a:gd name="T59" fmla="*/ 2147483646 h 91"/>
                  <a:gd name="T60" fmla="*/ 2147483646 w 74"/>
                  <a:gd name="T61" fmla="*/ 2147483646 h 91"/>
                  <a:gd name="T62" fmla="*/ 2147483646 w 74"/>
                  <a:gd name="T63" fmla="*/ 2147483646 h 91"/>
                  <a:gd name="T64" fmla="*/ 2147483646 w 74"/>
                  <a:gd name="T65" fmla="*/ 2147483646 h 91"/>
                  <a:gd name="T66" fmla="*/ 2147483646 w 74"/>
                  <a:gd name="T67" fmla="*/ 2147483646 h 91"/>
                  <a:gd name="T68" fmla="*/ 2147483646 w 74"/>
                  <a:gd name="T69" fmla="*/ 2147483646 h 91"/>
                  <a:gd name="T70" fmla="*/ 2147483646 w 74"/>
                  <a:gd name="T71" fmla="*/ 2147483646 h 91"/>
                  <a:gd name="T72" fmla="*/ 2147483646 w 74"/>
                  <a:gd name="T73" fmla="*/ 2147483646 h 91"/>
                  <a:gd name="T74" fmla="*/ 2147483646 w 74"/>
                  <a:gd name="T75" fmla="*/ 2147483646 h 91"/>
                  <a:gd name="T76" fmla="*/ 2147483646 w 74"/>
                  <a:gd name="T77" fmla="*/ 2147483646 h 91"/>
                  <a:gd name="T78" fmla="*/ 2147483646 w 74"/>
                  <a:gd name="T79" fmla="*/ 2147483646 h 91"/>
                  <a:gd name="T80" fmla="*/ 2147483646 w 74"/>
                  <a:gd name="T81" fmla="*/ 2147483646 h 91"/>
                  <a:gd name="T82" fmla="*/ 2147483646 w 74"/>
                  <a:gd name="T83" fmla="*/ 2147483646 h 91"/>
                  <a:gd name="T84" fmla="*/ 2147483646 w 74"/>
                  <a:gd name="T85" fmla="*/ 2147483646 h 91"/>
                  <a:gd name="T86" fmla="*/ 2147483646 w 74"/>
                  <a:gd name="T87" fmla="*/ 2147483646 h 91"/>
                  <a:gd name="T88" fmla="*/ 2147483646 w 74"/>
                  <a:gd name="T89" fmla="*/ 2147483646 h 91"/>
                  <a:gd name="T90" fmla="*/ 2147483646 w 74"/>
                  <a:gd name="T91" fmla="*/ 2147483646 h 91"/>
                  <a:gd name="T92" fmla="*/ 2147483646 w 74"/>
                  <a:gd name="T93" fmla="*/ 2147483646 h 91"/>
                  <a:gd name="T94" fmla="*/ 2147483646 w 74"/>
                  <a:gd name="T95" fmla="*/ 2147483646 h 91"/>
                  <a:gd name="T96" fmla="*/ 2147483646 w 74"/>
                  <a:gd name="T97" fmla="*/ 2147483646 h 91"/>
                  <a:gd name="T98" fmla="*/ 2147483646 w 74"/>
                  <a:gd name="T99" fmla="*/ 2147483646 h 91"/>
                  <a:gd name="T100" fmla="*/ 2147483646 w 74"/>
                  <a:gd name="T101" fmla="*/ 2147483646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7" name="Freeform 2546">
                <a:extLst>
                  <a:ext uri="{FF2B5EF4-FFF2-40B4-BE49-F238E27FC236}">
                    <a16:creationId xmlns:a16="http://schemas.microsoft.com/office/drawing/2014/main" id="{55B7DB23-74B2-9DCD-949B-F98F231DCB38}"/>
                  </a:ext>
                </a:extLst>
              </p:cNvPr>
              <p:cNvSpPr>
                <a:spLocks noChangeAspect="1"/>
              </p:cNvSpPr>
              <p:nvPr/>
            </p:nvSpPr>
            <p:spPr bwMode="auto">
              <a:xfrm>
                <a:off x="9920272" y="2096048"/>
                <a:ext cx="299131" cy="423451"/>
              </a:xfrm>
              <a:custGeom>
                <a:avLst/>
                <a:gdLst>
                  <a:gd name="T0" fmla="*/ 2147483646 w 63"/>
                  <a:gd name="T1" fmla="*/ 2147483646 h 103"/>
                  <a:gd name="T2" fmla="*/ 2147483646 w 63"/>
                  <a:gd name="T3" fmla="*/ 2147483646 h 103"/>
                  <a:gd name="T4" fmla="*/ 2147483646 w 63"/>
                  <a:gd name="T5" fmla="*/ 2147483646 h 103"/>
                  <a:gd name="T6" fmla="*/ 2147483646 w 63"/>
                  <a:gd name="T7" fmla="*/ 2147483646 h 103"/>
                  <a:gd name="T8" fmla="*/ 2147483646 w 63"/>
                  <a:gd name="T9" fmla="*/ 2147483646 h 103"/>
                  <a:gd name="T10" fmla="*/ 2147483646 w 63"/>
                  <a:gd name="T11" fmla="*/ 2147483646 h 103"/>
                  <a:gd name="T12" fmla="*/ 2147483646 w 63"/>
                  <a:gd name="T13" fmla="*/ 2147483646 h 103"/>
                  <a:gd name="T14" fmla="*/ 2147483646 w 63"/>
                  <a:gd name="T15" fmla="*/ 2147483646 h 103"/>
                  <a:gd name="T16" fmla="*/ 2147483646 w 63"/>
                  <a:gd name="T17" fmla="*/ 2147483646 h 103"/>
                  <a:gd name="T18" fmla="*/ 2147483646 w 63"/>
                  <a:gd name="T19" fmla="*/ 2147483646 h 103"/>
                  <a:gd name="T20" fmla="*/ 2147483646 w 63"/>
                  <a:gd name="T21" fmla="*/ 2147483646 h 103"/>
                  <a:gd name="T22" fmla="*/ 2147483646 w 63"/>
                  <a:gd name="T23" fmla="*/ 2147483646 h 103"/>
                  <a:gd name="T24" fmla="*/ 2147483646 w 63"/>
                  <a:gd name="T25" fmla="*/ 2147483646 h 103"/>
                  <a:gd name="T26" fmla="*/ 2147483646 w 63"/>
                  <a:gd name="T27" fmla="*/ 2147483646 h 103"/>
                  <a:gd name="T28" fmla="*/ 2147483646 w 63"/>
                  <a:gd name="T29" fmla="*/ 2147483646 h 103"/>
                  <a:gd name="T30" fmla="*/ 2147483646 w 63"/>
                  <a:gd name="T31" fmla="*/ 2147483646 h 103"/>
                  <a:gd name="T32" fmla="*/ 2147483646 w 63"/>
                  <a:gd name="T33" fmla="*/ 2147483646 h 103"/>
                  <a:gd name="T34" fmla="*/ 2147483646 w 63"/>
                  <a:gd name="T35" fmla="*/ 2147483646 h 103"/>
                  <a:gd name="T36" fmla="*/ 2147483646 w 63"/>
                  <a:gd name="T37" fmla="*/ 2147483646 h 103"/>
                  <a:gd name="T38" fmla="*/ 2147483646 w 63"/>
                  <a:gd name="T39" fmla="*/ 2147483646 h 103"/>
                  <a:gd name="T40" fmla="*/ 2147483646 w 63"/>
                  <a:gd name="T41" fmla="*/ 2147483646 h 103"/>
                  <a:gd name="T42" fmla="*/ 2147483646 w 63"/>
                  <a:gd name="T43" fmla="*/ 2147483646 h 103"/>
                  <a:gd name="T44" fmla="*/ 2147483646 w 63"/>
                  <a:gd name="T45" fmla="*/ 2147483646 h 103"/>
                  <a:gd name="T46" fmla="*/ 2147483646 w 63"/>
                  <a:gd name="T47" fmla="*/ 2147483646 h 103"/>
                  <a:gd name="T48" fmla="*/ 2147483646 w 63"/>
                  <a:gd name="T49" fmla="*/ 0 h 103"/>
                  <a:gd name="T50" fmla="*/ 2147483646 w 63"/>
                  <a:gd name="T51" fmla="*/ 2147483646 h 103"/>
                  <a:gd name="T52" fmla="*/ 2147483646 w 63"/>
                  <a:gd name="T53" fmla="*/ 2147483646 h 103"/>
                  <a:gd name="T54" fmla="*/ 2147483646 w 63"/>
                  <a:gd name="T55" fmla="*/ 2147483646 h 103"/>
                  <a:gd name="T56" fmla="*/ 2147483646 w 63"/>
                  <a:gd name="T57" fmla="*/ 2147483646 h 103"/>
                  <a:gd name="T58" fmla="*/ 2147483646 w 63"/>
                  <a:gd name="T59" fmla="*/ 2147483646 h 103"/>
                  <a:gd name="T60" fmla="*/ 2147483646 w 63"/>
                  <a:gd name="T61" fmla="*/ 2147483646 h 103"/>
                  <a:gd name="T62" fmla="*/ 2147483646 w 63"/>
                  <a:gd name="T63" fmla="*/ 2147483646 h 103"/>
                  <a:gd name="T64" fmla="*/ 2147483646 w 63"/>
                  <a:gd name="T65" fmla="*/ 2147483646 h 103"/>
                  <a:gd name="T66" fmla="*/ 2147483646 w 63"/>
                  <a:gd name="T67" fmla="*/ 2147483646 h 103"/>
                  <a:gd name="T68" fmla="*/ 0 w 63"/>
                  <a:gd name="T69" fmla="*/ 2147483646 h 103"/>
                  <a:gd name="T70" fmla="*/ 2147483646 w 63"/>
                  <a:gd name="T71" fmla="*/ 2147483646 h 103"/>
                  <a:gd name="T72" fmla="*/ 2147483646 w 63"/>
                  <a:gd name="T73" fmla="*/ 2147483646 h 103"/>
                  <a:gd name="T74" fmla="*/ 2147483646 w 63"/>
                  <a:gd name="T75" fmla="*/ 2147483646 h 103"/>
                  <a:gd name="T76" fmla="*/ 2147483646 w 63"/>
                  <a:gd name="T77" fmla="*/ 2147483646 h 103"/>
                  <a:gd name="T78" fmla="*/ 2147483646 w 63"/>
                  <a:gd name="T79" fmla="*/ 2147483646 h 103"/>
                  <a:gd name="T80" fmla="*/ 2147483646 w 63"/>
                  <a:gd name="T81" fmla="*/ 2147483646 h 103"/>
                  <a:gd name="T82" fmla="*/ 2147483646 w 63"/>
                  <a:gd name="T83" fmla="*/ 2147483646 h 103"/>
                  <a:gd name="T84" fmla="*/ 2147483646 w 63"/>
                  <a:gd name="T85" fmla="*/ 2147483646 h 103"/>
                  <a:gd name="T86" fmla="*/ 2147483646 w 63"/>
                  <a:gd name="T87" fmla="*/ 2147483646 h 103"/>
                  <a:gd name="T88" fmla="*/ 2147483646 w 63"/>
                  <a:gd name="T89" fmla="*/ 2147483646 h 103"/>
                  <a:gd name="T90" fmla="*/ 2147483646 w 63"/>
                  <a:gd name="T91" fmla="*/ 2147483646 h 103"/>
                  <a:gd name="T92" fmla="*/ 2147483646 w 63"/>
                  <a:gd name="T93" fmla="*/ 2147483646 h 103"/>
                  <a:gd name="T94" fmla="*/ 2147483646 w 63"/>
                  <a:gd name="T95" fmla="*/ 2147483646 h 103"/>
                  <a:gd name="T96" fmla="*/ 2147483646 w 63"/>
                  <a:gd name="T97" fmla="*/ 2147483646 h 103"/>
                  <a:gd name="T98" fmla="*/ 2147483646 w 63"/>
                  <a:gd name="T99" fmla="*/ 2147483646 h 103"/>
                  <a:gd name="T100" fmla="*/ 2147483646 w 63"/>
                  <a:gd name="T101" fmla="*/ 2147483646 h 103"/>
                  <a:gd name="T102" fmla="*/ 2147483646 w 63"/>
                  <a:gd name="T103" fmla="*/ 2147483646 h 103"/>
                  <a:gd name="T104" fmla="*/ 2147483646 w 63"/>
                  <a:gd name="T105" fmla="*/ 2147483646 h 103"/>
                  <a:gd name="T106" fmla="*/ 2147483646 w 63"/>
                  <a:gd name="T107" fmla="*/ 2147483646 h 103"/>
                  <a:gd name="T108" fmla="*/ 2147483646 w 63"/>
                  <a:gd name="T109" fmla="*/ 2147483646 h 103"/>
                  <a:gd name="T110" fmla="*/ 2147483646 w 63"/>
                  <a:gd name="T111" fmla="*/ 2147483646 h 103"/>
                  <a:gd name="T112" fmla="*/ 2147483646 w 63"/>
                  <a:gd name="T113" fmla="*/ 2147483646 h 103"/>
                  <a:gd name="T114" fmla="*/ 2147483646 w 63"/>
                  <a:gd name="T115" fmla="*/ 2147483646 h 103"/>
                  <a:gd name="T116" fmla="*/ 2147483646 w 63"/>
                  <a:gd name="T117" fmla="*/ 2147483646 h 103"/>
                  <a:gd name="T118" fmla="*/ 2147483646 w 63"/>
                  <a:gd name="T119" fmla="*/ 2147483646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8" name="Freeform 2548">
                <a:extLst>
                  <a:ext uri="{FF2B5EF4-FFF2-40B4-BE49-F238E27FC236}">
                    <a16:creationId xmlns:a16="http://schemas.microsoft.com/office/drawing/2014/main" id="{0CD1DFF2-0575-67FD-809D-8ECDFA283548}"/>
                  </a:ext>
                </a:extLst>
              </p:cNvPr>
              <p:cNvSpPr>
                <a:spLocks noChangeAspect="1"/>
              </p:cNvSpPr>
              <p:nvPr/>
            </p:nvSpPr>
            <p:spPr bwMode="auto">
              <a:xfrm>
                <a:off x="10127673" y="2229234"/>
                <a:ext cx="247283" cy="235629"/>
              </a:xfrm>
              <a:custGeom>
                <a:avLst/>
                <a:gdLst>
                  <a:gd name="T0" fmla="*/ 2147483646 w 51"/>
                  <a:gd name="T1" fmla="*/ 2147483646 h 58"/>
                  <a:gd name="T2" fmla="*/ 2147483646 w 51"/>
                  <a:gd name="T3" fmla="*/ 2147483646 h 58"/>
                  <a:gd name="T4" fmla="*/ 2147483646 w 51"/>
                  <a:gd name="T5" fmla="*/ 2147483646 h 58"/>
                  <a:gd name="T6" fmla="*/ 2147483646 w 51"/>
                  <a:gd name="T7" fmla="*/ 2147483646 h 58"/>
                  <a:gd name="T8" fmla="*/ 2147483646 w 51"/>
                  <a:gd name="T9" fmla="*/ 2147483646 h 58"/>
                  <a:gd name="T10" fmla="*/ 2147483646 w 51"/>
                  <a:gd name="T11" fmla="*/ 2147483646 h 58"/>
                  <a:gd name="T12" fmla="*/ 2147483646 w 51"/>
                  <a:gd name="T13" fmla="*/ 2147483646 h 58"/>
                  <a:gd name="T14" fmla="*/ 2147483646 w 51"/>
                  <a:gd name="T15" fmla="*/ 2147483646 h 58"/>
                  <a:gd name="T16" fmla="*/ 2147483646 w 51"/>
                  <a:gd name="T17" fmla="*/ 2147483646 h 58"/>
                  <a:gd name="T18" fmla="*/ 2147483646 w 51"/>
                  <a:gd name="T19" fmla="*/ 2147483646 h 58"/>
                  <a:gd name="T20" fmla="*/ 2147483646 w 51"/>
                  <a:gd name="T21" fmla="*/ 2147483646 h 58"/>
                  <a:gd name="T22" fmla="*/ 2147483646 w 51"/>
                  <a:gd name="T23" fmla="*/ 2147483646 h 58"/>
                  <a:gd name="T24" fmla="*/ 2147483646 w 51"/>
                  <a:gd name="T25" fmla="*/ 2147483646 h 58"/>
                  <a:gd name="T26" fmla="*/ 2147483646 w 51"/>
                  <a:gd name="T27" fmla="*/ 2147483646 h 58"/>
                  <a:gd name="T28" fmla="*/ 2147483646 w 51"/>
                  <a:gd name="T29" fmla="*/ 2147483646 h 58"/>
                  <a:gd name="T30" fmla="*/ 0 w 51"/>
                  <a:gd name="T31" fmla="*/ 2147483646 h 58"/>
                  <a:gd name="T32" fmla="*/ 2147483646 w 51"/>
                  <a:gd name="T33" fmla="*/ 2147483646 h 58"/>
                  <a:gd name="T34" fmla="*/ 2147483646 w 51"/>
                  <a:gd name="T35" fmla="*/ 2147483646 h 58"/>
                  <a:gd name="T36" fmla="*/ 2147483646 w 51"/>
                  <a:gd name="T37" fmla="*/ 2147483646 h 58"/>
                  <a:gd name="T38" fmla="*/ 2147483646 w 51"/>
                  <a:gd name="T39" fmla="*/ 2147483646 h 58"/>
                  <a:gd name="T40" fmla="*/ 2147483646 w 51"/>
                  <a:gd name="T41" fmla="*/ 2147483646 h 58"/>
                  <a:gd name="T42" fmla="*/ 2147483646 w 51"/>
                  <a:gd name="T43" fmla="*/ 2147483646 h 58"/>
                  <a:gd name="T44" fmla="*/ 2147483646 w 51"/>
                  <a:gd name="T45" fmla="*/ 2147483646 h 58"/>
                  <a:gd name="T46" fmla="*/ 2147483646 w 51"/>
                  <a:gd name="T47" fmla="*/ 2147483646 h 58"/>
                  <a:gd name="T48" fmla="*/ 2147483646 w 51"/>
                  <a:gd name="T49" fmla="*/ 0 h 58"/>
                  <a:gd name="T50" fmla="*/ 2147483646 w 51"/>
                  <a:gd name="T51" fmla="*/ 2147483646 h 58"/>
                  <a:gd name="T52" fmla="*/ 2147483646 w 51"/>
                  <a:gd name="T53" fmla="*/ 2147483646 h 58"/>
                  <a:gd name="T54" fmla="*/ 2147483646 w 51"/>
                  <a:gd name="T55" fmla="*/ 2147483646 h 58"/>
                  <a:gd name="T56" fmla="*/ 2147483646 w 51"/>
                  <a:gd name="T57" fmla="*/ 2147483646 h 58"/>
                  <a:gd name="T58" fmla="*/ 2147483646 w 51"/>
                  <a:gd name="T59" fmla="*/ 2147483646 h 58"/>
                  <a:gd name="T60" fmla="*/ 2147483646 w 51"/>
                  <a:gd name="T61" fmla="*/ 2147483646 h 58"/>
                  <a:gd name="T62" fmla="*/ 2147483646 w 51"/>
                  <a:gd name="T63" fmla="*/ 2147483646 h 58"/>
                  <a:gd name="T64" fmla="*/ 2147483646 w 51"/>
                  <a:gd name="T65" fmla="*/ 2147483646 h 58"/>
                  <a:gd name="T66" fmla="*/ 2147483646 w 51"/>
                  <a:gd name="T67" fmla="*/ 2147483646 h 58"/>
                  <a:gd name="T68" fmla="*/ 2147483646 w 51"/>
                  <a:gd name="T69" fmla="*/ 2147483646 h 58"/>
                  <a:gd name="T70" fmla="*/ 2147483646 w 51"/>
                  <a:gd name="T71" fmla="*/ 2147483646 h 58"/>
                  <a:gd name="T72" fmla="*/ 2147483646 w 51"/>
                  <a:gd name="T73" fmla="*/ 2147483646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9" name="Freeform 2549">
                <a:extLst>
                  <a:ext uri="{FF2B5EF4-FFF2-40B4-BE49-F238E27FC236}">
                    <a16:creationId xmlns:a16="http://schemas.microsoft.com/office/drawing/2014/main" id="{06F51271-DC66-4880-C0B2-63AD46BB9016}"/>
                  </a:ext>
                </a:extLst>
              </p:cNvPr>
              <p:cNvSpPr>
                <a:spLocks noChangeAspect="1"/>
              </p:cNvSpPr>
              <p:nvPr/>
            </p:nvSpPr>
            <p:spPr bwMode="auto">
              <a:xfrm>
                <a:off x="10327094" y="2246307"/>
                <a:ext cx="199421" cy="211725"/>
              </a:xfrm>
              <a:custGeom>
                <a:avLst/>
                <a:gdLst>
                  <a:gd name="T0" fmla="*/ 2147483646 w 42"/>
                  <a:gd name="T1" fmla="*/ 2147483646 h 52"/>
                  <a:gd name="T2" fmla="*/ 2147483646 w 42"/>
                  <a:gd name="T3" fmla="*/ 2147483646 h 52"/>
                  <a:gd name="T4" fmla="*/ 2147483646 w 42"/>
                  <a:gd name="T5" fmla="*/ 2147483646 h 52"/>
                  <a:gd name="T6" fmla="*/ 2147483646 w 42"/>
                  <a:gd name="T7" fmla="*/ 2147483646 h 52"/>
                  <a:gd name="T8" fmla="*/ 2147483646 w 42"/>
                  <a:gd name="T9" fmla="*/ 2147483646 h 52"/>
                  <a:gd name="T10" fmla="*/ 2147483646 w 42"/>
                  <a:gd name="T11" fmla="*/ 2147483646 h 52"/>
                  <a:gd name="T12" fmla="*/ 2147483646 w 42"/>
                  <a:gd name="T13" fmla="*/ 2147483646 h 52"/>
                  <a:gd name="T14" fmla="*/ 2147483646 w 42"/>
                  <a:gd name="T15" fmla="*/ 2147483646 h 52"/>
                  <a:gd name="T16" fmla="*/ 2147483646 w 42"/>
                  <a:gd name="T17" fmla="*/ 2147483646 h 52"/>
                  <a:gd name="T18" fmla="*/ 2147483646 w 42"/>
                  <a:gd name="T19" fmla="*/ 2147483646 h 52"/>
                  <a:gd name="T20" fmla="*/ 2147483646 w 42"/>
                  <a:gd name="T21" fmla="*/ 2147483646 h 52"/>
                  <a:gd name="T22" fmla="*/ 2147483646 w 42"/>
                  <a:gd name="T23" fmla="*/ 2147483646 h 52"/>
                  <a:gd name="T24" fmla="*/ 2147483646 w 42"/>
                  <a:gd name="T25" fmla="*/ 2147483646 h 52"/>
                  <a:gd name="T26" fmla="*/ 2147483646 w 42"/>
                  <a:gd name="T27" fmla="*/ 2147483646 h 52"/>
                  <a:gd name="T28" fmla="*/ 0 w 42"/>
                  <a:gd name="T29" fmla="*/ 2147483646 h 52"/>
                  <a:gd name="T30" fmla="*/ 2147483646 w 42"/>
                  <a:gd name="T31" fmla="*/ 2147483646 h 52"/>
                  <a:gd name="T32" fmla="*/ 2147483646 w 42"/>
                  <a:gd name="T33" fmla="*/ 2147483646 h 52"/>
                  <a:gd name="T34" fmla="*/ 2147483646 w 42"/>
                  <a:gd name="T35" fmla="*/ 2147483646 h 52"/>
                  <a:gd name="T36" fmla="*/ 2147483646 w 42"/>
                  <a:gd name="T37" fmla="*/ 2147483646 h 52"/>
                  <a:gd name="T38" fmla="*/ 2147483646 w 42"/>
                  <a:gd name="T39" fmla="*/ 2147483646 h 52"/>
                  <a:gd name="T40" fmla="*/ 2147483646 w 42"/>
                  <a:gd name="T41" fmla="*/ 2147483646 h 52"/>
                  <a:gd name="T42" fmla="*/ 2147483646 w 42"/>
                  <a:gd name="T43" fmla="*/ 2147483646 h 52"/>
                  <a:gd name="T44" fmla="*/ 2147483646 w 42"/>
                  <a:gd name="T45" fmla="*/ 2147483646 h 52"/>
                  <a:gd name="T46" fmla="*/ 2147483646 w 42"/>
                  <a:gd name="T47" fmla="*/ 2147483646 h 52"/>
                  <a:gd name="T48" fmla="*/ 2147483646 w 42"/>
                  <a:gd name="T49" fmla="*/ 2147483646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0" name="Freeform 3202">
                <a:extLst>
                  <a:ext uri="{FF2B5EF4-FFF2-40B4-BE49-F238E27FC236}">
                    <a16:creationId xmlns:a16="http://schemas.microsoft.com/office/drawing/2014/main" id="{B687189D-4A4B-1766-6A11-6E3498210A12}"/>
                  </a:ext>
                </a:extLst>
              </p:cNvPr>
              <p:cNvSpPr>
                <a:spLocks noChangeAspect="1"/>
              </p:cNvSpPr>
              <p:nvPr/>
            </p:nvSpPr>
            <p:spPr bwMode="auto">
              <a:xfrm>
                <a:off x="10550446" y="2594630"/>
                <a:ext cx="19941" cy="20490"/>
              </a:xfrm>
              <a:custGeom>
                <a:avLst/>
                <a:gdLst>
                  <a:gd name="T0" fmla="*/ 5 w 4"/>
                  <a:gd name="T1" fmla="*/ 7 h 5"/>
                  <a:gd name="T2" fmla="*/ 1 w 4"/>
                  <a:gd name="T3" fmla="*/ 8 h 5"/>
                  <a:gd name="T4" fmla="*/ 1 w 4"/>
                  <a:gd name="T5" fmla="*/ 6 h 5"/>
                  <a:gd name="T6" fmla="*/ 8 w 4"/>
                  <a:gd name="T7" fmla="*/ 1 h 5"/>
                  <a:gd name="T8" fmla="*/ 5 w 4"/>
                  <a:gd name="T9" fmla="*/ 7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1" name="Freeform 3203">
                <a:extLst>
                  <a:ext uri="{FF2B5EF4-FFF2-40B4-BE49-F238E27FC236}">
                    <a16:creationId xmlns:a16="http://schemas.microsoft.com/office/drawing/2014/main" id="{F29306DC-5CAC-8DC3-AC09-65BC1EDA1477}"/>
                  </a:ext>
                </a:extLst>
              </p:cNvPr>
              <p:cNvSpPr>
                <a:spLocks noChangeAspect="1"/>
              </p:cNvSpPr>
              <p:nvPr/>
            </p:nvSpPr>
            <p:spPr bwMode="auto">
              <a:xfrm>
                <a:off x="10542469" y="2580970"/>
                <a:ext cx="23931" cy="23906"/>
              </a:xfrm>
              <a:custGeom>
                <a:avLst/>
                <a:gdLst>
                  <a:gd name="T0" fmla="*/ 6 w 5"/>
                  <a:gd name="T1" fmla="*/ 7 h 6"/>
                  <a:gd name="T2" fmla="*/ 1 w 5"/>
                  <a:gd name="T3" fmla="*/ 8 h 6"/>
                  <a:gd name="T4" fmla="*/ 2 w 5"/>
                  <a:gd name="T5" fmla="*/ 6 h 6"/>
                  <a:gd name="T6" fmla="*/ 7 w 5"/>
                  <a:gd name="T7" fmla="*/ 1 h 6"/>
                  <a:gd name="T8" fmla="*/ 6 w 5"/>
                  <a:gd name="T9" fmla="*/ 7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2" name="Freeform 3204">
                <a:extLst>
                  <a:ext uri="{FF2B5EF4-FFF2-40B4-BE49-F238E27FC236}">
                    <a16:creationId xmlns:a16="http://schemas.microsoft.com/office/drawing/2014/main" id="{23E8727B-E97A-5749-9F38-EDC4B2598B4F}"/>
                  </a:ext>
                </a:extLst>
              </p:cNvPr>
              <p:cNvSpPr>
                <a:spLocks noChangeAspect="1"/>
              </p:cNvSpPr>
              <p:nvPr/>
            </p:nvSpPr>
            <p:spPr bwMode="auto">
              <a:xfrm>
                <a:off x="10582351" y="2444371"/>
                <a:ext cx="15954" cy="17076"/>
              </a:xfrm>
              <a:custGeom>
                <a:avLst/>
                <a:gdLst>
                  <a:gd name="T0" fmla="*/ 3 w 3"/>
                  <a:gd name="T1" fmla="*/ 5 h 4"/>
                  <a:gd name="T2" fmla="*/ 3 w 3"/>
                  <a:gd name="T3" fmla="*/ 8 h 4"/>
                  <a:gd name="T4" fmla="*/ 1 w 3"/>
                  <a:gd name="T5" fmla="*/ 6 h 4"/>
                  <a:gd name="T6" fmla="*/ 0 w 3"/>
                  <a:gd name="T7" fmla="*/ 0 h 4"/>
                  <a:gd name="T8" fmla="*/ 3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3" name="Freeform 3206">
                <a:extLst>
                  <a:ext uri="{FF2B5EF4-FFF2-40B4-BE49-F238E27FC236}">
                    <a16:creationId xmlns:a16="http://schemas.microsoft.com/office/drawing/2014/main" id="{2DD62756-0A55-8EBE-9209-6FE01ED2648D}"/>
                  </a:ext>
                </a:extLst>
              </p:cNvPr>
              <p:cNvSpPr>
                <a:spLocks noChangeAspect="1"/>
              </p:cNvSpPr>
              <p:nvPr/>
            </p:nvSpPr>
            <p:spPr bwMode="auto">
              <a:xfrm>
                <a:off x="9361892" y="5408527"/>
                <a:ext cx="11964" cy="20490"/>
              </a:xfrm>
              <a:custGeom>
                <a:avLst/>
                <a:gdLst>
                  <a:gd name="T0" fmla="*/ 8 w 2"/>
                  <a:gd name="T1" fmla="*/ 6 h 5"/>
                  <a:gd name="T2" fmla="*/ 8 w 2"/>
                  <a:gd name="T3" fmla="*/ 8 h 5"/>
                  <a:gd name="T4" fmla="*/ 0 w 2"/>
                  <a:gd name="T5" fmla="*/ 6 h 5"/>
                  <a:gd name="T6" fmla="*/ 0 w 2"/>
                  <a:gd name="T7" fmla="*/ 0 h 5"/>
                  <a:gd name="T8" fmla="*/ 8 w 2"/>
                  <a:gd name="T9" fmla="*/ 6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0" y="4"/>
                      <a:pt x="0" y="3"/>
                    </a:cubicBezTo>
                    <a:cubicBezTo>
                      <a:pt x="0" y="2"/>
                      <a:pt x="0" y="0"/>
                      <a:pt x="0" y="0"/>
                    </a:cubicBezTo>
                    <a:cubicBezTo>
                      <a:pt x="1" y="0"/>
                      <a:pt x="2"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4" name="Freeform 3207">
                <a:extLst>
                  <a:ext uri="{FF2B5EF4-FFF2-40B4-BE49-F238E27FC236}">
                    <a16:creationId xmlns:a16="http://schemas.microsoft.com/office/drawing/2014/main" id="{7399907F-C948-EC7E-E516-8156D2255226}"/>
                  </a:ext>
                </a:extLst>
              </p:cNvPr>
              <p:cNvSpPr>
                <a:spLocks noChangeAspect="1"/>
              </p:cNvSpPr>
              <p:nvPr/>
            </p:nvSpPr>
            <p:spPr bwMode="auto">
              <a:xfrm>
                <a:off x="9361894" y="5295834"/>
                <a:ext cx="19941" cy="10244"/>
              </a:xfrm>
              <a:custGeom>
                <a:avLst/>
                <a:gdLst>
                  <a:gd name="T0" fmla="*/ 5 w 4"/>
                  <a:gd name="T1" fmla="*/ 3 h 3"/>
                  <a:gd name="T2" fmla="*/ 0 w 4"/>
                  <a:gd name="T3" fmla="*/ 3 h 3"/>
                  <a:gd name="T4" fmla="*/ 1 w 4"/>
                  <a:gd name="T5" fmla="*/ 1 h 3"/>
                  <a:gd name="T6" fmla="*/ 8 w 4"/>
                  <a:gd name="T7" fmla="*/ 1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0" y="3"/>
                      <a:pt x="0" y="3"/>
                    </a:cubicBezTo>
                    <a:cubicBezTo>
                      <a:pt x="0" y="2"/>
                      <a:pt x="1" y="1"/>
                      <a:pt x="1" y="1"/>
                    </a:cubicBezTo>
                    <a:cubicBezTo>
                      <a:pt x="2" y="1"/>
                      <a:pt x="4" y="0"/>
                      <a:pt x="4" y="1"/>
                    </a:cubicBezTo>
                    <a:cubicBezTo>
                      <a:pt x="4" y="2"/>
                      <a:pt x="3"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5" name="Freeform 3208">
                <a:extLst>
                  <a:ext uri="{FF2B5EF4-FFF2-40B4-BE49-F238E27FC236}">
                    <a16:creationId xmlns:a16="http://schemas.microsoft.com/office/drawing/2014/main" id="{D125083D-5D09-3E86-4B6A-CF0385A88F1F}"/>
                  </a:ext>
                </a:extLst>
              </p:cNvPr>
              <p:cNvSpPr>
                <a:spLocks noChangeAspect="1"/>
              </p:cNvSpPr>
              <p:nvPr/>
            </p:nvSpPr>
            <p:spPr bwMode="auto">
              <a:xfrm>
                <a:off x="9337964" y="5285590"/>
                <a:ext cx="23931" cy="20490"/>
              </a:xfrm>
              <a:custGeom>
                <a:avLst/>
                <a:gdLst>
                  <a:gd name="T0" fmla="*/ 2 w 5"/>
                  <a:gd name="T1" fmla="*/ 7 h 5"/>
                  <a:gd name="T2" fmla="*/ 0 w 5"/>
                  <a:gd name="T3" fmla="*/ 7 h 5"/>
                  <a:gd name="T4" fmla="*/ 2 w 5"/>
                  <a:gd name="T5" fmla="*/ 2 h 5"/>
                  <a:gd name="T6" fmla="*/ 8 w 5"/>
                  <a:gd name="T7" fmla="*/ 1 h 5"/>
                  <a:gd name="T8" fmla="*/ 2 w 5"/>
                  <a:gd name="T9" fmla="*/ 7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2" y="4"/>
                    </a:moveTo>
                    <a:cubicBezTo>
                      <a:pt x="2" y="4"/>
                      <a:pt x="0" y="5"/>
                      <a:pt x="0" y="4"/>
                    </a:cubicBezTo>
                    <a:cubicBezTo>
                      <a:pt x="0" y="3"/>
                      <a:pt x="1" y="2"/>
                      <a:pt x="2" y="2"/>
                    </a:cubicBezTo>
                    <a:cubicBezTo>
                      <a:pt x="3" y="1"/>
                      <a:pt x="5" y="0"/>
                      <a:pt x="5" y="1"/>
                    </a:cubicBezTo>
                    <a:cubicBezTo>
                      <a:pt x="5" y="2"/>
                      <a:pt x="4" y="3"/>
                      <a:pt x="2" y="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6" name="Freeform 3209">
                <a:extLst>
                  <a:ext uri="{FF2B5EF4-FFF2-40B4-BE49-F238E27FC236}">
                    <a16:creationId xmlns:a16="http://schemas.microsoft.com/office/drawing/2014/main" id="{BA51CD3D-95A2-D268-BBF1-759180308855}"/>
                  </a:ext>
                </a:extLst>
              </p:cNvPr>
              <p:cNvSpPr>
                <a:spLocks noChangeAspect="1"/>
              </p:cNvSpPr>
              <p:nvPr/>
            </p:nvSpPr>
            <p:spPr bwMode="auto">
              <a:xfrm>
                <a:off x="9345940" y="5572443"/>
                <a:ext cx="23931" cy="20490"/>
              </a:xfrm>
              <a:custGeom>
                <a:avLst/>
                <a:gdLst>
                  <a:gd name="T0" fmla="*/ 6 w 4"/>
                  <a:gd name="T1" fmla="*/ 6 h 5"/>
                  <a:gd name="T2" fmla="*/ 6 w 4"/>
                  <a:gd name="T3" fmla="*/ 8 h 5"/>
                  <a:gd name="T4" fmla="*/ 1 w 4"/>
                  <a:gd name="T5" fmla="*/ 6 h 5"/>
                  <a:gd name="T6" fmla="*/ 1 w 4"/>
                  <a:gd name="T7" fmla="*/ 1 h 5"/>
                  <a:gd name="T8" fmla="*/ 6 w 4"/>
                  <a:gd name="T9" fmla="*/ 6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2" y="5"/>
                      <a:pt x="2" y="4"/>
                      <a:pt x="1" y="3"/>
                    </a:cubicBezTo>
                    <a:cubicBezTo>
                      <a:pt x="1" y="2"/>
                      <a:pt x="0" y="1"/>
                      <a:pt x="1" y="1"/>
                    </a:cubicBezTo>
                    <a:cubicBezTo>
                      <a:pt x="2" y="0"/>
                      <a:pt x="2" y="2"/>
                      <a:pt x="3"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7" name="Freeform 3210">
                <a:extLst>
                  <a:ext uri="{FF2B5EF4-FFF2-40B4-BE49-F238E27FC236}">
                    <a16:creationId xmlns:a16="http://schemas.microsoft.com/office/drawing/2014/main" id="{4900F151-1A2F-5CD1-F708-806236454DFE}"/>
                  </a:ext>
                </a:extLst>
              </p:cNvPr>
              <p:cNvSpPr>
                <a:spLocks noChangeAspect="1"/>
              </p:cNvSpPr>
              <p:nvPr/>
            </p:nvSpPr>
            <p:spPr bwMode="auto">
              <a:xfrm>
                <a:off x="9385822" y="5818318"/>
                <a:ext cx="15954" cy="20490"/>
              </a:xfrm>
              <a:custGeom>
                <a:avLst/>
                <a:gdLst>
                  <a:gd name="T0" fmla="*/ 5 w 3"/>
                  <a:gd name="T1" fmla="*/ 6 h 5"/>
                  <a:gd name="T2" fmla="*/ 0 w 3"/>
                  <a:gd name="T3" fmla="*/ 7 h 5"/>
                  <a:gd name="T4" fmla="*/ 1 w 3"/>
                  <a:gd name="T5" fmla="*/ 2 h 5"/>
                  <a:gd name="T6" fmla="*/ 5 w 3"/>
                  <a:gd name="T7" fmla="*/ 0 h 5"/>
                  <a:gd name="T8" fmla="*/ 5 w 3"/>
                  <a:gd name="T9" fmla="*/ 6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4"/>
                    </a:cubicBezTo>
                    <a:cubicBezTo>
                      <a:pt x="0" y="4"/>
                      <a:pt x="0" y="3"/>
                      <a:pt x="1" y="2"/>
                    </a:cubicBezTo>
                    <a:cubicBezTo>
                      <a:pt x="1" y="1"/>
                      <a:pt x="2" y="0"/>
                      <a:pt x="2" y="0"/>
                    </a:cubicBezTo>
                    <a:cubicBezTo>
                      <a:pt x="3" y="1"/>
                      <a:pt x="2"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8" name="Freeform 3211">
                <a:extLst>
                  <a:ext uri="{FF2B5EF4-FFF2-40B4-BE49-F238E27FC236}">
                    <a16:creationId xmlns:a16="http://schemas.microsoft.com/office/drawing/2014/main" id="{A5A5A8B6-1D9A-E2BA-A25B-78B6FBA7BEDD}"/>
                  </a:ext>
                </a:extLst>
              </p:cNvPr>
              <p:cNvSpPr>
                <a:spLocks noChangeAspect="1"/>
              </p:cNvSpPr>
              <p:nvPr/>
            </p:nvSpPr>
            <p:spPr bwMode="auto">
              <a:xfrm>
                <a:off x="9345938" y="5705627"/>
                <a:ext cx="11964" cy="17074"/>
              </a:xfrm>
              <a:custGeom>
                <a:avLst/>
                <a:gdLst>
                  <a:gd name="T0" fmla="*/ 3 w 3"/>
                  <a:gd name="T1" fmla="*/ 5 h 4"/>
                  <a:gd name="T2" fmla="*/ 3 w 3"/>
                  <a:gd name="T3" fmla="*/ 8 h 4"/>
                  <a:gd name="T4" fmla="*/ 1 w 3"/>
                  <a:gd name="T5" fmla="*/ 5 h 4"/>
                  <a:gd name="T6" fmla="*/ 1 w 3"/>
                  <a:gd name="T7" fmla="*/ 0 h 4"/>
                  <a:gd name="T8" fmla="*/ 3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2" y="3"/>
                      <a:pt x="1" y="2"/>
                    </a:cubicBezTo>
                    <a:cubicBezTo>
                      <a:pt x="1" y="1"/>
                      <a:pt x="0" y="0"/>
                      <a:pt x="1" y="0"/>
                    </a:cubicBezTo>
                    <a:cubicBezTo>
                      <a:pt x="2"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79" name="Freeform 3212">
                <a:extLst>
                  <a:ext uri="{FF2B5EF4-FFF2-40B4-BE49-F238E27FC236}">
                    <a16:creationId xmlns:a16="http://schemas.microsoft.com/office/drawing/2014/main" id="{AFAD0BF3-C683-F9DD-0A0E-9CEA81318177}"/>
                  </a:ext>
                </a:extLst>
              </p:cNvPr>
              <p:cNvSpPr>
                <a:spLocks noChangeAspect="1"/>
              </p:cNvSpPr>
              <p:nvPr/>
            </p:nvSpPr>
            <p:spPr bwMode="auto">
              <a:xfrm>
                <a:off x="9417730" y="5767095"/>
                <a:ext cx="15954" cy="20490"/>
              </a:xfrm>
              <a:custGeom>
                <a:avLst/>
                <a:gdLst>
                  <a:gd name="T0" fmla="*/ 3 w 4"/>
                  <a:gd name="T1" fmla="*/ 6 h 5"/>
                  <a:gd name="T2" fmla="*/ 3 w 4"/>
                  <a:gd name="T3" fmla="*/ 8 h 5"/>
                  <a:gd name="T4" fmla="*/ 2 w 4"/>
                  <a:gd name="T5" fmla="*/ 6 h 5"/>
                  <a:gd name="T6" fmla="*/ 1 w 4"/>
                  <a:gd name="T7" fmla="*/ 1 h 5"/>
                  <a:gd name="T8" fmla="*/ 3 w 4"/>
                  <a:gd name="T9" fmla="*/ 6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3" y="5"/>
                      <a:pt x="2" y="4"/>
                      <a:pt x="2" y="3"/>
                    </a:cubicBezTo>
                    <a:cubicBezTo>
                      <a:pt x="1" y="2"/>
                      <a:pt x="0" y="1"/>
                      <a:pt x="1" y="1"/>
                    </a:cubicBezTo>
                    <a:cubicBezTo>
                      <a:pt x="2" y="0"/>
                      <a:pt x="2" y="2"/>
                      <a:pt x="3"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0" name="Freeform 3213">
                <a:extLst>
                  <a:ext uri="{FF2B5EF4-FFF2-40B4-BE49-F238E27FC236}">
                    <a16:creationId xmlns:a16="http://schemas.microsoft.com/office/drawing/2014/main" id="{1EB5D9CD-52DA-110B-981E-92842C637467}"/>
                  </a:ext>
                </a:extLst>
              </p:cNvPr>
              <p:cNvSpPr>
                <a:spLocks noChangeAspect="1"/>
              </p:cNvSpPr>
              <p:nvPr/>
            </p:nvSpPr>
            <p:spPr bwMode="auto">
              <a:xfrm>
                <a:off x="9401779" y="5818316"/>
                <a:ext cx="23931" cy="13660"/>
              </a:xfrm>
              <a:custGeom>
                <a:avLst/>
                <a:gdLst>
                  <a:gd name="T0" fmla="*/ 5 w 4"/>
                  <a:gd name="T1" fmla="*/ 5 h 3"/>
                  <a:gd name="T2" fmla="*/ 0 w 4"/>
                  <a:gd name="T3" fmla="*/ 5 h 3"/>
                  <a:gd name="T4" fmla="*/ 5 w 4"/>
                  <a:gd name="T5" fmla="*/ 1 h 3"/>
                  <a:gd name="T6" fmla="*/ 8 w 4"/>
                  <a:gd name="T7" fmla="*/ 0 h 3"/>
                  <a:gd name="T8" fmla="*/ 5 w 4"/>
                  <a:gd name="T9" fmla="*/ 5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2"/>
                      <a:pt x="0" y="3"/>
                      <a:pt x="0" y="2"/>
                    </a:cubicBezTo>
                    <a:cubicBezTo>
                      <a:pt x="0" y="2"/>
                      <a:pt x="1" y="1"/>
                      <a:pt x="2" y="1"/>
                    </a:cubicBezTo>
                    <a:cubicBezTo>
                      <a:pt x="2" y="0"/>
                      <a:pt x="4" y="0"/>
                      <a:pt x="4" y="0"/>
                    </a:cubicBezTo>
                    <a:cubicBezTo>
                      <a:pt x="4" y="1"/>
                      <a:pt x="3"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1" name="Freeform 3214">
                <a:extLst>
                  <a:ext uri="{FF2B5EF4-FFF2-40B4-BE49-F238E27FC236}">
                    <a16:creationId xmlns:a16="http://schemas.microsoft.com/office/drawing/2014/main" id="{E781CAF7-BCC8-5E3F-A2A6-B7C5ADBE1AAC}"/>
                  </a:ext>
                </a:extLst>
              </p:cNvPr>
              <p:cNvSpPr>
                <a:spLocks noChangeAspect="1"/>
              </p:cNvSpPr>
              <p:nvPr/>
            </p:nvSpPr>
            <p:spPr bwMode="auto">
              <a:xfrm>
                <a:off x="9401776" y="5838808"/>
                <a:ext cx="15954" cy="37565"/>
              </a:xfrm>
              <a:custGeom>
                <a:avLst/>
                <a:gdLst>
                  <a:gd name="T0" fmla="*/ 5 w 2"/>
                  <a:gd name="T1" fmla="*/ 11 h 9"/>
                  <a:gd name="T2" fmla="*/ 0 w 2"/>
                  <a:gd name="T3" fmla="*/ 16 h 9"/>
                  <a:gd name="T4" fmla="*/ 0 w 2"/>
                  <a:gd name="T5" fmla="*/ 9 h 9"/>
                  <a:gd name="T6" fmla="*/ 5 w 2"/>
                  <a:gd name="T7" fmla="*/ 1 h 9"/>
                  <a:gd name="T8" fmla="*/ 5 w 2"/>
                  <a:gd name="T9" fmla="*/ 11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1" y="6"/>
                    </a:moveTo>
                    <a:cubicBezTo>
                      <a:pt x="1" y="7"/>
                      <a:pt x="1" y="9"/>
                      <a:pt x="0" y="9"/>
                    </a:cubicBezTo>
                    <a:cubicBezTo>
                      <a:pt x="0" y="8"/>
                      <a:pt x="0" y="6"/>
                      <a:pt x="0" y="5"/>
                    </a:cubicBezTo>
                    <a:cubicBezTo>
                      <a:pt x="0" y="3"/>
                      <a:pt x="1" y="0"/>
                      <a:pt x="1" y="1"/>
                    </a:cubicBezTo>
                    <a:cubicBezTo>
                      <a:pt x="2" y="1"/>
                      <a:pt x="2" y="4"/>
                      <a:pt x="1" y="6"/>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2" name="Freeform 3215">
                <a:extLst>
                  <a:ext uri="{FF2B5EF4-FFF2-40B4-BE49-F238E27FC236}">
                    <a16:creationId xmlns:a16="http://schemas.microsoft.com/office/drawing/2014/main" id="{8051E652-F483-5FFF-DA5E-F4942A3B4DB0}"/>
                  </a:ext>
                </a:extLst>
              </p:cNvPr>
              <p:cNvSpPr>
                <a:spLocks noChangeAspect="1"/>
              </p:cNvSpPr>
              <p:nvPr/>
            </p:nvSpPr>
            <p:spPr bwMode="auto">
              <a:xfrm>
                <a:off x="9417732" y="5852467"/>
                <a:ext cx="7977" cy="23906"/>
              </a:xfrm>
              <a:custGeom>
                <a:avLst/>
                <a:gdLst>
                  <a:gd name="T0" fmla="*/ 1 w 1"/>
                  <a:gd name="T1" fmla="*/ 7 h 6"/>
                  <a:gd name="T2" fmla="*/ 0 w 1"/>
                  <a:gd name="T3" fmla="*/ 9 h 6"/>
                  <a:gd name="T4" fmla="*/ 0 w 1"/>
                  <a:gd name="T5" fmla="*/ 6 h 6"/>
                  <a:gd name="T6" fmla="*/ 0 w 1"/>
                  <a:gd name="T7" fmla="*/ 0 h 6"/>
                  <a:gd name="T8" fmla="*/ 1 w 1"/>
                  <a:gd name="T9" fmla="*/ 7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0"/>
                      <a:pt x="1" y="3"/>
                      <a:pt x="1" y="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3" name="Freeform 3216">
                <a:extLst>
                  <a:ext uri="{FF2B5EF4-FFF2-40B4-BE49-F238E27FC236}">
                    <a16:creationId xmlns:a16="http://schemas.microsoft.com/office/drawing/2014/main" id="{5928073C-8CD5-A447-D202-BD43D715F46B}"/>
                  </a:ext>
                </a:extLst>
              </p:cNvPr>
              <p:cNvSpPr>
                <a:spLocks noChangeAspect="1"/>
              </p:cNvSpPr>
              <p:nvPr/>
            </p:nvSpPr>
            <p:spPr bwMode="auto">
              <a:xfrm>
                <a:off x="9465591" y="5886614"/>
                <a:ext cx="15954" cy="13660"/>
              </a:xfrm>
              <a:custGeom>
                <a:avLst/>
                <a:gdLst>
                  <a:gd name="T0" fmla="*/ 3 w 4"/>
                  <a:gd name="T1" fmla="*/ 2 h 4"/>
                  <a:gd name="T2" fmla="*/ 4 w 4"/>
                  <a:gd name="T3" fmla="*/ 3 h 4"/>
                  <a:gd name="T4" fmla="*/ 2 w 4"/>
                  <a:gd name="T5" fmla="*/ 3 h 4"/>
                  <a:gd name="T6" fmla="*/ 1 w 4"/>
                  <a:gd name="T7" fmla="*/ 0 h 4"/>
                  <a:gd name="T8" fmla="*/ 3 w 4"/>
                  <a:gd name="T9" fmla="*/ 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3" y="4"/>
                      <a:pt x="2" y="3"/>
                      <a:pt x="2" y="3"/>
                    </a:cubicBezTo>
                    <a:cubicBezTo>
                      <a:pt x="1" y="2"/>
                      <a:pt x="0" y="1"/>
                      <a:pt x="1" y="0"/>
                    </a:cubicBezTo>
                    <a:cubicBezTo>
                      <a:pt x="1"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4" name="Freeform 3217">
                <a:extLst>
                  <a:ext uri="{FF2B5EF4-FFF2-40B4-BE49-F238E27FC236}">
                    <a16:creationId xmlns:a16="http://schemas.microsoft.com/office/drawing/2014/main" id="{516DF0D2-2AA3-51B7-2C6F-9CA3CAE016D8}"/>
                  </a:ext>
                </a:extLst>
              </p:cNvPr>
              <p:cNvSpPr>
                <a:spLocks noChangeAspect="1"/>
              </p:cNvSpPr>
              <p:nvPr/>
            </p:nvSpPr>
            <p:spPr bwMode="auto">
              <a:xfrm>
                <a:off x="9449640" y="5866125"/>
                <a:ext cx="23931" cy="13660"/>
              </a:xfrm>
              <a:custGeom>
                <a:avLst/>
                <a:gdLst>
                  <a:gd name="T0" fmla="*/ 6 w 5"/>
                  <a:gd name="T1" fmla="*/ 2 h 4"/>
                  <a:gd name="T2" fmla="*/ 7 w 5"/>
                  <a:gd name="T3" fmla="*/ 4 h 4"/>
                  <a:gd name="T4" fmla="*/ 2 w 5"/>
                  <a:gd name="T5" fmla="*/ 3 h 4"/>
                  <a:gd name="T6" fmla="*/ 1 w 5"/>
                  <a:gd name="T7" fmla="*/ 1 h 4"/>
                  <a:gd name="T8" fmla="*/ 6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4"/>
                    </a:cubicBezTo>
                    <a:cubicBezTo>
                      <a:pt x="4" y="4"/>
                      <a:pt x="3" y="3"/>
                      <a:pt x="2" y="3"/>
                    </a:cubicBezTo>
                    <a:cubicBezTo>
                      <a:pt x="1" y="2"/>
                      <a:pt x="0" y="1"/>
                      <a:pt x="1" y="1"/>
                    </a:cubicBezTo>
                    <a:cubicBezTo>
                      <a:pt x="1" y="0"/>
                      <a:pt x="3"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5" name="Freeform 3218">
                <a:extLst>
                  <a:ext uri="{FF2B5EF4-FFF2-40B4-BE49-F238E27FC236}">
                    <a16:creationId xmlns:a16="http://schemas.microsoft.com/office/drawing/2014/main" id="{3526AD2F-A81C-130C-1D7A-79B0BA026F2D}"/>
                  </a:ext>
                </a:extLst>
              </p:cNvPr>
              <p:cNvSpPr>
                <a:spLocks noChangeAspect="1"/>
              </p:cNvSpPr>
              <p:nvPr/>
            </p:nvSpPr>
            <p:spPr bwMode="auto">
              <a:xfrm>
                <a:off x="9425709" y="5849053"/>
                <a:ext cx="23931" cy="17074"/>
              </a:xfrm>
              <a:custGeom>
                <a:avLst/>
                <a:gdLst>
                  <a:gd name="T0" fmla="*/ 6 w 4"/>
                  <a:gd name="T1" fmla="*/ 5 h 4"/>
                  <a:gd name="T2" fmla="*/ 8 w 4"/>
                  <a:gd name="T3" fmla="*/ 6 h 4"/>
                  <a:gd name="T4" fmla="*/ 5 w 4"/>
                  <a:gd name="T5" fmla="*/ 5 h 4"/>
                  <a:gd name="T6" fmla="*/ 1 w 4"/>
                  <a:gd name="T7" fmla="*/ 0 h 4"/>
                  <a:gd name="T8" fmla="*/ 6 w 4"/>
                  <a:gd name="T9" fmla="*/ 5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4" y="4"/>
                      <a:pt x="3" y="3"/>
                      <a:pt x="2" y="2"/>
                    </a:cubicBezTo>
                    <a:cubicBezTo>
                      <a:pt x="1" y="2"/>
                      <a:pt x="0" y="1"/>
                      <a:pt x="1" y="0"/>
                    </a:cubicBezTo>
                    <a:cubicBezTo>
                      <a:pt x="1" y="0"/>
                      <a:pt x="2"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6" name="Freeform 3219">
                <a:extLst>
                  <a:ext uri="{FF2B5EF4-FFF2-40B4-BE49-F238E27FC236}">
                    <a16:creationId xmlns:a16="http://schemas.microsoft.com/office/drawing/2014/main" id="{0CCAEB2F-5675-A434-FFE4-268B42476FD7}"/>
                  </a:ext>
                </a:extLst>
              </p:cNvPr>
              <p:cNvSpPr>
                <a:spLocks noChangeAspect="1"/>
              </p:cNvSpPr>
              <p:nvPr/>
            </p:nvSpPr>
            <p:spPr bwMode="auto">
              <a:xfrm>
                <a:off x="9521431" y="6057363"/>
                <a:ext cx="23931" cy="6830"/>
              </a:xfrm>
              <a:custGeom>
                <a:avLst/>
                <a:gdLst>
                  <a:gd name="T0" fmla="*/ 2 w 5"/>
                  <a:gd name="T1" fmla="*/ 2 h 2"/>
                  <a:gd name="T2" fmla="*/ 0 w 5"/>
                  <a:gd name="T3" fmla="*/ 1 h 2"/>
                  <a:gd name="T4" fmla="*/ 2 w 5"/>
                  <a:gd name="T5" fmla="*/ 0 h 2"/>
                  <a:gd name="T6" fmla="*/ 8 w 5"/>
                  <a:gd name="T7" fmla="*/ 1 h 2"/>
                  <a:gd name="T8" fmla="*/ 2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1"/>
                      <a:pt x="0" y="1"/>
                    </a:cubicBezTo>
                    <a:cubicBezTo>
                      <a:pt x="0" y="0"/>
                      <a:pt x="1" y="0"/>
                      <a:pt x="2" y="0"/>
                    </a:cubicBezTo>
                    <a:cubicBezTo>
                      <a:pt x="3" y="0"/>
                      <a:pt x="5" y="0"/>
                      <a:pt x="5" y="1"/>
                    </a:cubicBezTo>
                    <a:cubicBezTo>
                      <a:pt x="4" y="2"/>
                      <a:pt x="3"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7" name="Freeform 3263">
                <a:extLst>
                  <a:ext uri="{FF2B5EF4-FFF2-40B4-BE49-F238E27FC236}">
                    <a16:creationId xmlns:a16="http://schemas.microsoft.com/office/drawing/2014/main" id="{D09F4A14-5EB7-9E68-ECA8-C7C3CB2E6608}"/>
                  </a:ext>
                </a:extLst>
              </p:cNvPr>
              <p:cNvSpPr>
                <a:spLocks noChangeAspect="1"/>
              </p:cNvSpPr>
              <p:nvPr/>
            </p:nvSpPr>
            <p:spPr bwMode="auto">
              <a:xfrm>
                <a:off x="10630215" y="2577554"/>
                <a:ext cx="23931" cy="10244"/>
              </a:xfrm>
              <a:custGeom>
                <a:avLst/>
                <a:gdLst>
                  <a:gd name="T0" fmla="*/ 2 w 5"/>
                  <a:gd name="T1" fmla="*/ 3 h 3"/>
                  <a:gd name="T2" fmla="*/ 0 w 5"/>
                  <a:gd name="T3" fmla="*/ 2 h 3"/>
                  <a:gd name="T4" fmla="*/ 2 w 5"/>
                  <a:gd name="T5" fmla="*/ 0 h 3"/>
                  <a:gd name="T6" fmla="*/ 8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8" name="Freeform 3265">
                <a:extLst>
                  <a:ext uri="{FF2B5EF4-FFF2-40B4-BE49-F238E27FC236}">
                    <a16:creationId xmlns:a16="http://schemas.microsoft.com/office/drawing/2014/main" id="{36BBBEAD-D1ED-7C41-A1C2-DED59B488416}"/>
                  </a:ext>
                </a:extLst>
              </p:cNvPr>
              <p:cNvSpPr>
                <a:spLocks noChangeAspect="1"/>
              </p:cNvSpPr>
              <p:nvPr/>
            </p:nvSpPr>
            <p:spPr bwMode="auto">
              <a:xfrm>
                <a:off x="9361894" y="5746604"/>
                <a:ext cx="19941" cy="10244"/>
              </a:xfrm>
              <a:custGeom>
                <a:avLst/>
                <a:gdLst>
                  <a:gd name="T0" fmla="*/ 5 w 4"/>
                  <a:gd name="T1" fmla="*/ 2 h 3"/>
                  <a:gd name="T2" fmla="*/ 1 w 4"/>
                  <a:gd name="T3" fmla="*/ 3 h 3"/>
                  <a:gd name="T4" fmla="*/ 1 w 4"/>
                  <a:gd name="T5" fmla="*/ 1 h 3"/>
                  <a:gd name="T6" fmla="*/ 6 w 4"/>
                  <a:gd name="T7" fmla="*/ 0 h 3"/>
                  <a:gd name="T8" fmla="*/ 5 w 4"/>
                  <a:gd name="T9" fmla="*/ 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3"/>
                    </a:cubicBezTo>
                    <a:cubicBezTo>
                      <a:pt x="0" y="2"/>
                      <a:pt x="1" y="1"/>
                      <a:pt x="1" y="1"/>
                    </a:cubicBezTo>
                    <a:cubicBezTo>
                      <a:pt x="1" y="0"/>
                      <a:pt x="2" y="0"/>
                      <a:pt x="3" y="0"/>
                    </a:cubicBezTo>
                    <a:cubicBezTo>
                      <a:pt x="4" y="1"/>
                      <a:pt x="3"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89" name="Freeform 3266">
                <a:extLst>
                  <a:ext uri="{FF2B5EF4-FFF2-40B4-BE49-F238E27FC236}">
                    <a16:creationId xmlns:a16="http://schemas.microsoft.com/office/drawing/2014/main" id="{F730D946-9D12-4E6A-B00B-780449494836}"/>
                  </a:ext>
                </a:extLst>
              </p:cNvPr>
              <p:cNvSpPr>
                <a:spLocks noChangeAspect="1"/>
              </p:cNvSpPr>
              <p:nvPr/>
            </p:nvSpPr>
            <p:spPr bwMode="auto">
              <a:xfrm>
                <a:off x="9369871" y="5763679"/>
                <a:ext cx="7977" cy="20490"/>
              </a:xfrm>
              <a:custGeom>
                <a:avLst/>
                <a:gdLst>
                  <a:gd name="T0" fmla="*/ 2 w 2"/>
                  <a:gd name="T1" fmla="*/ 6 h 5"/>
                  <a:gd name="T2" fmla="*/ 1 w 2"/>
                  <a:gd name="T3" fmla="*/ 8 h 5"/>
                  <a:gd name="T4" fmla="*/ 0 w 2"/>
                  <a:gd name="T5" fmla="*/ 6 h 5"/>
                  <a:gd name="T6" fmla="*/ 1 w 2"/>
                  <a:gd name="T7" fmla="*/ 0 h 5"/>
                  <a:gd name="T8" fmla="*/ 2 w 2"/>
                  <a:gd name="T9" fmla="*/ 6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5"/>
                      <a:pt x="0" y="4"/>
                      <a:pt x="0" y="3"/>
                    </a:cubicBezTo>
                    <a:cubicBezTo>
                      <a:pt x="0" y="2"/>
                      <a:pt x="0" y="0"/>
                      <a:pt x="1" y="0"/>
                    </a:cubicBezTo>
                    <a:cubicBezTo>
                      <a:pt x="2" y="1"/>
                      <a:pt x="2"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0" name="Freeform 3267">
                <a:extLst>
                  <a:ext uri="{FF2B5EF4-FFF2-40B4-BE49-F238E27FC236}">
                    <a16:creationId xmlns:a16="http://schemas.microsoft.com/office/drawing/2014/main" id="{6F0211EC-9C6D-D566-E616-680D70BE578D}"/>
                  </a:ext>
                </a:extLst>
              </p:cNvPr>
              <p:cNvSpPr>
                <a:spLocks noChangeAspect="1"/>
              </p:cNvSpPr>
              <p:nvPr/>
            </p:nvSpPr>
            <p:spPr bwMode="auto">
              <a:xfrm>
                <a:off x="9473568" y="5910522"/>
                <a:ext cx="15954" cy="17074"/>
              </a:xfrm>
              <a:custGeom>
                <a:avLst/>
                <a:gdLst>
                  <a:gd name="T0" fmla="*/ 8 w 2"/>
                  <a:gd name="T1" fmla="*/ 6 h 4"/>
                  <a:gd name="T2" fmla="*/ 5 w 2"/>
                  <a:gd name="T3" fmla="*/ 8 h 4"/>
                  <a:gd name="T4" fmla="*/ 0 w 2"/>
                  <a:gd name="T5" fmla="*/ 5 h 4"/>
                  <a:gd name="T6" fmla="*/ 5 w 2"/>
                  <a:gd name="T7" fmla="*/ 0 h 4"/>
                  <a:gd name="T8" fmla="*/ 8 w 2"/>
                  <a:gd name="T9" fmla="*/ 6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1"/>
                      <a:pt x="0" y="0"/>
                      <a:pt x="1" y="0"/>
                    </a:cubicBezTo>
                    <a:cubicBezTo>
                      <a:pt x="2" y="0"/>
                      <a:pt x="2" y="2"/>
                      <a:pt x="2"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1" name="Freeform 3268">
                <a:extLst>
                  <a:ext uri="{FF2B5EF4-FFF2-40B4-BE49-F238E27FC236}">
                    <a16:creationId xmlns:a16="http://schemas.microsoft.com/office/drawing/2014/main" id="{FA915F9B-70B4-F18F-9D9B-68D30EE896FD}"/>
                  </a:ext>
                </a:extLst>
              </p:cNvPr>
              <p:cNvSpPr>
                <a:spLocks noChangeAspect="1"/>
              </p:cNvSpPr>
              <p:nvPr/>
            </p:nvSpPr>
            <p:spPr bwMode="auto">
              <a:xfrm>
                <a:off x="9880390" y="6159808"/>
                <a:ext cx="7977" cy="17076"/>
              </a:xfrm>
              <a:custGeom>
                <a:avLst/>
                <a:gdLst>
                  <a:gd name="T0" fmla="*/ 2 w 2"/>
                  <a:gd name="T1" fmla="*/ 5 h 4"/>
                  <a:gd name="T2" fmla="*/ 1 w 2"/>
                  <a:gd name="T3" fmla="*/ 8 h 4"/>
                  <a:gd name="T4" fmla="*/ 0 w 2"/>
                  <a:gd name="T5" fmla="*/ 5 h 4"/>
                  <a:gd name="T6" fmla="*/ 1 w 2"/>
                  <a:gd name="T7" fmla="*/ 0 h 4"/>
                  <a:gd name="T8" fmla="*/ 2 w 2"/>
                  <a:gd name="T9" fmla="*/ 5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0" y="3"/>
                      <a:pt x="0" y="3"/>
                      <a:pt x="0" y="2"/>
                    </a:cubicBezTo>
                    <a:cubicBezTo>
                      <a:pt x="0" y="1"/>
                      <a:pt x="0" y="0"/>
                      <a:pt x="1" y="0"/>
                    </a:cubicBezTo>
                    <a:cubicBezTo>
                      <a:pt x="2"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2" name="Freeform 3269">
                <a:extLst>
                  <a:ext uri="{FF2B5EF4-FFF2-40B4-BE49-F238E27FC236}">
                    <a16:creationId xmlns:a16="http://schemas.microsoft.com/office/drawing/2014/main" id="{84837420-51A2-FD03-655F-2B1AEE1D5F5C}"/>
                  </a:ext>
                </a:extLst>
              </p:cNvPr>
              <p:cNvSpPr>
                <a:spLocks noChangeAspect="1"/>
              </p:cNvSpPr>
              <p:nvPr/>
            </p:nvSpPr>
            <p:spPr bwMode="auto">
              <a:xfrm>
                <a:off x="9649059" y="6091512"/>
                <a:ext cx="15954" cy="6830"/>
              </a:xfrm>
              <a:custGeom>
                <a:avLst/>
                <a:gdLst>
                  <a:gd name="T0" fmla="*/ 5 w 3"/>
                  <a:gd name="T1" fmla="*/ 0 h 2"/>
                  <a:gd name="T2" fmla="*/ 7 w 3"/>
                  <a:gd name="T3" fmla="*/ 1 h 2"/>
                  <a:gd name="T4" fmla="*/ 5 w 3"/>
                  <a:gd name="T5" fmla="*/ 2 h 2"/>
                  <a:gd name="T6" fmla="*/ 0 w 3"/>
                  <a:gd name="T7" fmla="*/ 1 h 2"/>
                  <a:gd name="T8" fmla="*/ 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2"/>
                      <a:pt x="0" y="2"/>
                      <a:pt x="0" y="1"/>
                    </a:cubicBezTo>
                    <a:cubicBezTo>
                      <a:pt x="0" y="0"/>
                      <a:pt x="1" y="0"/>
                      <a:pt x="2"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3" name="Freeform 3366">
                <a:extLst>
                  <a:ext uri="{FF2B5EF4-FFF2-40B4-BE49-F238E27FC236}">
                    <a16:creationId xmlns:a16="http://schemas.microsoft.com/office/drawing/2014/main" id="{6804606B-3776-082C-0EA4-41666C7A3411}"/>
                  </a:ext>
                </a:extLst>
              </p:cNvPr>
              <p:cNvSpPr>
                <a:spLocks noChangeAspect="1"/>
              </p:cNvSpPr>
              <p:nvPr/>
            </p:nvSpPr>
            <p:spPr bwMode="auto">
              <a:xfrm>
                <a:off x="10598305" y="2539989"/>
                <a:ext cx="15954" cy="13660"/>
              </a:xfrm>
              <a:custGeom>
                <a:avLst/>
                <a:gdLst>
                  <a:gd name="T0" fmla="*/ 5 w 3"/>
                  <a:gd name="T1" fmla="*/ 5 h 3"/>
                  <a:gd name="T2" fmla="*/ 1 w 3"/>
                  <a:gd name="T3" fmla="*/ 5 h 3"/>
                  <a:gd name="T4" fmla="*/ 1 w 3"/>
                  <a:gd name="T5" fmla="*/ 1 h 3"/>
                  <a:gd name="T6" fmla="*/ 5 w 3"/>
                  <a:gd name="T7" fmla="*/ 0 h 3"/>
                  <a:gd name="T8" fmla="*/ 5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4" name="Freeform 3369">
                <a:extLst>
                  <a:ext uri="{FF2B5EF4-FFF2-40B4-BE49-F238E27FC236}">
                    <a16:creationId xmlns:a16="http://schemas.microsoft.com/office/drawing/2014/main" id="{C1925F8F-2E80-382A-ABBB-877BD8A63B7F}"/>
                  </a:ext>
                </a:extLst>
              </p:cNvPr>
              <p:cNvSpPr>
                <a:spLocks noChangeAspect="1"/>
              </p:cNvSpPr>
              <p:nvPr/>
            </p:nvSpPr>
            <p:spPr bwMode="auto">
              <a:xfrm>
                <a:off x="8771607" y="2744886"/>
                <a:ext cx="7977" cy="6830"/>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5" name="Freeform 3370">
                <a:extLst>
                  <a:ext uri="{FF2B5EF4-FFF2-40B4-BE49-F238E27FC236}">
                    <a16:creationId xmlns:a16="http://schemas.microsoft.com/office/drawing/2014/main" id="{B7EB9BC4-C39E-349B-EF9D-CB05281483EA}"/>
                  </a:ext>
                </a:extLst>
              </p:cNvPr>
              <p:cNvSpPr>
                <a:spLocks noChangeAspect="1"/>
              </p:cNvSpPr>
              <p:nvPr/>
            </p:nvSpPr>
            <p:spPr bwMode="auto">
              <a:xfrm>
                <a:off x="8787558" y="2738056"/>
                <a:ext cx="15954" cy="6830"/>
              </a:xfrm>
              <a:custGeom>
                <a:avLst/>
                <a:gdLst>
                  <a:gd name="T0" fmla="*/ 1 w 3"/>
                  <a:gd name="T1" fmla="*/ 2 h 2"/>
                  <a:gd name="T2" fmla="*/ 0 w 3"/>
                  <a:gd name="T3" fmla="*/ 1 h 2"/>
                  <a:gd name="T4" fmla="*/ 1 w 3"/>
                  <a:gd name="T5" fmla="*/ 0 h 2"/>
                  <a:gd name="T6" fmla="*/ 5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6" name="Freeform 3371">
                <a:extLst>
                  <a:ext uri="{FF2B5EF4-FFF2-40B4-BE49-F238E27FC236}">
                    <a16:creationId xmlns:a16="http://schemas.microsoft.com/office/drawing/2014/main" id="{9220D60D-D94F-EDA0-23AE-D31980455EA5}"/>
                  </a:ext>
                </a:extLst>
              </p:cNvPr>
              <p:cNvSpPr>
                <a:spLocks noChangeAspect="1"/>
              </p:cNvSpPr>
              <p:nvPr/>
            </p:nvSpPr>
            <p:spPr bwMode="auto">
              <a:xfrm>
                <a:off x="9401779" y="5439263"/>
                <a:ext cx="7977" cy="6830"/>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7" name="Freeform 3372">
                <a:extLst>
                  <a:ext uri="{FF2B5EF4-FFF2-40B4-BE49-F238E27FC236}">
                    <a16:creationId xmlns:a16="http://schemas.microsoft.com/office/drawing/2014/main" id="{F0AC52A5-AADF-EA50-BE99-714F6DB3F29B}"/>
                  </a:ext>
                </a:extLst>
              </p:cNvPr>
              <p:cNvSpPr>
                <a:spLocks noChangeAspect="1"/>
              </p:cNvSpPr>
              <p:nvPr/>
            </p:nvSpPr>
            <p:spPr bwMode="auto">
              <a:xfrm>
                <a:off x="9401776" y="5196802"/>
                <a:ext cx="15954" cy="10246"/>
              </a:xfrm>
              <a:custGeom>
                <a:avLst/>
                <a:gdLst>
                  <a:gd name="T0" fmla="*/ 8 w 2"/>
                  <a:gd name="T1" fmla="*/ 2 h 3"/>
                  <a:gd name="T2" fmla="*/ 5 w 2"/>
                  <a:gd name="T3" fmla="*/ 3 h 3"/>
                  <a:gd name="T4" fmla="*/ 0 w 2"/>
                  <a:gd name="T5" fmla="*/ 2 h 3"/>
                  <a:gd name="T6" fmla="*/ 5 w 2"/>
                  <a:gd name="T7" fmla="*/ 0 h 3"/>
                  <a:gd name="T8" fmla="*/ 8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8" name="Freeform 3373">
                <a:extLst>
                  <a:ext uri="{FF2B5EF4-FFF2-40B4-BE49-F238E27FC236}">
                    <a16:creationId xmlns:a16="http://schemas.microsoft.com/office/drawing/2014/main" id="{AC4247CF-D6C9-C3BB-30BF-C34278F9EA00}"/>
                  </a:ext>
                </a:extLst>
              </p:cNvPr>
              <p:cNvSpPr>
                <a:spLocks noChangeAspect="1"/>
              </p:cNvSpPr>
              <p:nvPr/>
            </p:nvSpPr>
            <p:spPr bwMode="auto">
              <a:xfrm>
                <a:off x="9345940" y="5340229"/>
                <a:ext cx="7977" cy="6830"/>
              </a:xfrm>
              <a:custGeom>
                <a:avLst/>
                <a:gdLst>
                  <a:gd name="T0" fmla="*/ 1 w 2"/>
                  <a:gd name="T1" fmla="*/ 2 h 2"/>
                  <a:gd name="T2" fmla="*/ 0 w 2"/>
                  <a:gd name="T3" fmla="*/ 2 h 2"/>
                  <a:gd name="T4" fmla="*/ 0 w 2"/>
                  <a:gd name="T5" fmla="*/ 1 h 2"/>
                  <a:gd name="T6" fmla="*/ 2 w 2"/>
                  <a:gd name="T7" fmla="*/ 0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2" y="0"/>
                      <a:pt x="2" y="0"/>
                    </a:cubicBezTo>
                    <a:cubicBezTo>
                      <a:pt x="2" y="1"/>
                      <a:pt x="2"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99" name="Freeform 3374">
                <a:extLst>
                  <a:ext uri="{FF2B5EF4-FFF2-40B4-BE49-F238E27FC236}">
                    <a16:creationId xmlns:a16="http://schemas.microsoft.com/office/drawing/2014/main" id="{3A43D900-3016-60CE-2400-C11F9ED7CE67}"/>
                  </a:ext>
                </a:extLst>
              </p:cNvPr>
              <p:cNvSpPr>
                <a:spLocks noChangeAspect="1"/>
              </p:cNvSpPr>
              <p:nvPr/>
            </p:nvSpPr>
            <p:spPr bwMode="auto">
              <a:xfrm>
                <a:off x="9369869" y="5377794"/>
                <a:ext cx="11964" cy="6830"/>
              </a:xfrm>
              <a:custGeom>
                <a:avLst/>
                <a:gdLst>
                  <a:gd name="T0" fmla="*/ 2 w 3"/>
                  <a:gd name="T1" fmla="*/ 2 h 2"/>
                  <a:gd name="T2" fmla="*/ 0 w 3"/>
                  <a:gd name="T3" fmla="*/ 1 h 2"/>
                  <a:gd name="T4" fmla="*/ 1 w 3"/>
                  <a:gd name="T5" fmla="*/ 0 h 2"/>
                  <a:gd name="T6" fmla="*/ 3 w 3"/>
                  <a:gd name="T7" fmla="*/ 1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1"/>
                    </a:cubicBezTo>
                    <a:cubicBezTo>
                      <a:pt x="0" y="1"/>
                      <a:pt x="1" y="0"/>
                      <a:pt x="1" y="0"/>
                    </a:cubicBezTo>
                    <a:cubicBezTo>
                      <a:pt x="2" y="0"/>
                      <a:pt x="3" y="0"/>
                      <a:pt x="3" y="1"/>
                    </a:cubicBezTo>
                    <a:cubicBezTo>
                      <a:pt x="3" y="1"/>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0" name="Freeform 3375">
                <a:extLst>
                  <a:ext uri="{FF2B5EF4-FFF2-40B4-BE49-F238E27FC236}">
                    <a16:creationId xmlns:a16="http://schemas.microsoft.com/office/drawing/2014/main" id="{DFED08AF-F939-62B2-FD45-291D928AAA2C}"/>
                  </a:ext>
                </a:extLst>
              </p:cNvPr>
              <p:cNvSpPr>
                <a:spLocks noChangeAspect="1"/>
              </p:cNvSpPr>
              <p:nvPr/>
            </p:nvSpPr>
            <p:spPr bwMode="auto">
              <a:xfrm>
                <a:off x="9353915" y="5391451"/>
                <a:ext cx="15954" cy="10244"/>
              </a:xfrm>
              <a:custGeom>
                <a:avLst/>
                <a:gdLst>
                  <a:gd name="T0" fmla="*/ 1 w 3"/>
                  <a:gd name="T1" fmla="*/ 8 h 2"/>
                  <a:gd name="T2" fmla="*/ 0 w 3"/>
                  <a:gd name="T3" fmla="*/ 8 h 2"/>
                  <a:gd name="T4" fmla="*/ 1 w 3"/>
                  <a:gd name="T5" fmla="*/ 5 h 2"/>
                  <a:gd name="T6" fmla="*/ 5 w 3"/>
                  <a:gd name="T7" fmla="*/ 0 h 2"/>
                  <a:gd name="T8" fmla="*/ 1 w 3"/>
                  <a:gd name="T9" fmla="*/ 8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1"/>
                      <a:pt x="1" y="1"/>
                    </a:cubicBezTo>
                    <a:cubicBezTo>
                      <a:pt x="1" y="0"/>
                      <a:pt x="2" y="0"/>
                      <a:pt x="2" y="0"/>
                    </a:cubicBezTo>
                    <a:cubicBezTo>
                      <a:pt x="3" y="1"/>
                      <a:pt x="2"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1" name="Freeform 3376">
                <a:extLst>
                  <a:ext uri="{FF2B5EF4-FFF2-40B4-BE49-F238E27FC236}">
                    <a16:creationId xmlns:a16="http://schemas.microsoft.com/office/drawing/2014/main" id="{738D1A7B-995F-D3D2-7A4D-B1CEACE54CEE}"/>
                  </a:ext>
                </a:extLst>
              </p:cNvPr>
              <p:cNvSpPr>
                <a:spLocks noChangeAspect="1"/>
              </p:cNvSpPr>
              <p:nvPr/>
            </p:nvSpPr>
            <p:spPr bwMode="auto">
              <a:xfrm>
                <a:off x="9393802" y="5357302"/>
                <a:ext cx="7977" cy="10244"/>
              </a:xfrm>
              <a:custGeom>
                <a:avLst/>
                <a:gdLst>
                  <a:gd name="T0" fmla="*/ 1 w 2"/>
                  <a:gd name="T1" fmla="*/ 2 h 3"/>
                  <a:gd name="T2" fmla="*/ 1 w 2"/>
                  <a:gd name="T3" fmla="*/ 3 h 3"/>
                  <a:gd name="T4" fmla="*/ 0 w 2"/>
                  <a:gd name="T5" fmla="*/ 2 h 3"/>
                  <a:gd name="T6" fmla="*/ 1 w 2"/>
                  <a:gd name="T7" fmla="*/ 0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2" name="Oval 3377">
                <a:extLst>
                  <a:ext uri="{FF2B5EF4-FFF2-40B4-BE49-F238E27FC236}">
                    <a16:creationId xmlns:a16="http://schemas.microsoft.com/office/drawing/2014/main" id="{98816657-0818-FD0C-DF21-0423C2B6727D}"/>
                  </a:ext>
                </a:extLst>
              </p:cNvPr>
              <p:cNvSpPr>
                <a:spLocks noChangeAspect="1" noChangeArrowheads="1"/>
              </p:cNvSpPr>
              <p:nvPr/>
            </p:nvSpPr>
            <p:spPr bwMode="auto">
              <a:xfrm>
                <a:off x="9393802" y="5367546"/>
                <a:ext cx="3987" cy="13660"/>
              </a:xfrm>
              <a:prstGeom prst="ellipse">
                <a:avLst/>
              </a:pr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3" name="Freeform 3378">
                <a:extLst>
                  <a:ext uri="{FF2B5EF4-FFF2-40B4-BE49-F238E27FC236}">
                    <a16:creationId xmlns:a16="http://schemas.microsoft.com/office/drawing/2014/main" id="{211A9903-45FB-490F-FE33-62CC7BF2C41D}"/>
                  </a:ext>
                </a:extLst>
              </p:cNvPr>
              <p:cNvSpPr>
                <a:spLocks noChangeAspect="1"/>
              </p:cNvSpPr>
              <p:nvPr/>
            </p:nvSpPr>
            <p:spPr bwMode="auto">
              <a:xfrm>
                <a:off x="9393802" y="5309493"/>
                <a:ext cx="7977" cy="13660"/>
              </a:xfrm>
              <a:custGeom>
                <a:avLst/>
                <a:gdLst>
                  <a:gd name="T0" fmla="*/ 2 w 2"/>
                  <a:gd name="T1" fmla="*/ 5 h 3"/>
                  <a:gd name="T2" fmla="*/ 2 w 2"/>
                  <a:gd name="T3" fmla="*/ 7 h 3"/>
                  <a:gd name="T4" fmla="*/ 0 w 2"/>
                  <a:gd name="T5" fmla="*/ 5 h 3"/>
                  <a:gd name="T6" fmla="*/ 1 w 2"/>
                  <a:gd name="T7" fmla="*/ 1 h 3"/>
                  <a:gd name="T8" fmla="*/ 2 w 2"/>
                  <a:gd name="T9" fmla="*/ 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2" y="3"/>
                    </a:cubicBezTo>
                    <a:cubicBezTo>
                      <a:pt x="1" y="3"/>
                      <a:pt x="1" y="3"/>
                      <a:pt x="0" y="2"/>
                    </a:cubicBezTo>
                    <a:cubicBezTo>
                      <a:pt x="0" y="2"/>
                      <a:pt x="0" y="1"/>
                      <a:pt x="1" y="1"/>
                    </a:cubicBezTo>
                    <a:cubicBezTo>
                      <a:pt x="1"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4" name="Freeform 3379">
                <a:extLst>
                  <a:ext uri="{FF2B5EF4-FFF2-40B4-BE49-F238E27FC236}">
                    <a16:creationId xmlns:a16="http://schemas.microsoft.com/office/drawing/2014/main" id="{79E07984-89F9-E181-2D6D-E6BD7329991F}"/>
                  </a:ext>
                </a:extLst>
              </p:cNvPr>
              <p:cNvSpPr>
                <a:spLocks noChangeAspect="1"/>
              </p:cNvSpPr>
              <p:nvPr/>
            </p:nvSpPr>
            <p:spPr bwMode="auto">
              <a:xfrm>
                <a:off x="9385822" y="5411941"/>
                <a:ext cx="11964" cy="10244"/>
              </a:xfrm>
              <a:custGeom>
                <a:avLst/>
                <a:gdLst>
                  <a:gd name="T0" fmla="*/ 5 w 2"/>
                  <a:gd name="T1" fmla="*/ 0 h 2"/>
                  <a:gd name="T2" fmla="*/ 8 w 2"/>
                  <a:gd name="T3" fmla="*/ 5 h 2"/>
                  <a:gd name="T4" fmla="*/ 5 w 2"/>
                  <a:gd name="T5" fmla="*/ 5 h 2"/>
                  <a:gd name="T6" fmla="*/ 0 w 2"/>
                  <a:gd name="T7" fmla="*/ 0 h 2"/>
                  <a:gd name="T8" fmla="*/ 5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1"/>
                    </a:cubicBezTo>
                    <a:cubicBezTo>
                      <a:pt x="2" y="2"/>
                      <a:pt x="1" y="2"/>
                      <a:pt x="1" y="1"/>
                    </a:cubicBezTo>
                    <a:cubicBezTo>
                      <a:pt x="0" y="1"/>
                      <a:pt x="0" y="1"/>
                      <a:pt x="0" y="0"/>
                    </a:cubicBezTo>
                    <a:cubicBezTo>
                      <a:pt x="0" y="0"/>
                      <a:pt x="1" y="0"/>
                      <a:pt x="1"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5" name="Freeform 3380">
                <a:extLst>
                  <a:ext uri="{FF2B5EF4-FFF2-40B4-BE49-F238E27FC236}">
                    <a16:creationId xmlns:a16="http://schemas.microsoft.com/office/drawing/2014/main" id="{C22C0D7B-7AB9-1C9D-4AC5-1821CBD6002B}"/>
                  </a:ext>
                </a:extLst>
              </p:cNvPr>
              <p:cNvSpPr>
                <a:spLocks noChangeAspect="1"/>
              </p:cNvSpPr>
              <p:nvPr/>
            </p:nvSpPr>
            <p:spPr bwMode="auto">
              <a:xfrm>
                <a:off x="9377845" y="5401697"/>
                <a:ext cx="15954" cy="6830"/>
              </a:xfrm>
              <a:custGeom>
                <a:avLst/>
                <a:gdLst>
                  <a:gd name="T0" fmla="*/ 5 w 3"/>
                  <a:gd name="T1" fmla="*/ 0 h 2"/>
                  <a:gd name="T2" fmla="*/ 5 w 3"/>
                  <a:gd name="T3" fmla="*/ 1 h 2"/>
                  <a:gd name="T4" fmla="*/ 1 w 3"/>
                  <a:gd name="T5" fmla="*/ 1 h 2"/>
                  <a:gd name="T6" fmla="*/ 0 w 3"/>
                  <a:gd name="T7" fmla="*/ 0 h 2"/>
                  <a:gd name="T8" fmla="*/ 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1"/>
                    </a:cubicBezTo>
                    <a:cubicBezTo>
                      <a:pt x="1" y="1"/>
                      <a:pt x="0" y="1"/>
                      <a:pt x="0" y="0"/>
                    </a:cubicBezTo>
                    <a:cubicBezTo>
                      <a:pt x="0" y="0"/>
                      <a:pt x="1" y="0"/>
                      <a:pt x="2"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6" name="Freeform 3381">
                <a:extLst>
                  <a:ext uri="{FF2B5EF4-FFF2-40B4-BE49-F238E27FC236}">
                    <a16:creationId xmlns:a16="http://schemas.microsoft.com/office/drawing/2014/main" id="{C9AE0657-A09D-B74C-5FE5-B62E36BB1A4E}"/>
                  </a:ext>
                </a:extLst>
              </p:cNvPr>
              <p:cNvSpPr>
                <a:spLocks noChangeAspect="1"/>
              </p:cNvSpPr>
              <p:nvPr/>
            </p:nvSpPr>
            <p:spPr bwMode="auto">
              <a:xfrm>
                <a:off x="9377845" y="5388038"/>
                <a:ext cx="15954" cy="10246"/>
              </a:xfrm>
              <a:custGeom>
                <a:avLst/>
                <a:gdLst>
                  <a:gd name="T0" fmla="*/ 5 w 3"/>
                  <a:gd name="T1" fmla="*/ 0 h 2"/>
                  <a:gd name="T2" fmla="*/ 7 w 3"/>
                  <a:gd name="T3" fmla="*/ 5 h 2"/>
                  <a:gd name="T4" fmla="*/ 5 w 3"/>
                  <a:gd name="T5" fmla="*/ 8 h 2"/>
                  <a:gd name="T6" fmla="*/ 0 w 3"/>
                  <a:gd name="T7" fmla="*/ 0 h 2"/>
                  <a:gd name="T8" fmla="*/ 5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1"/>
                      <a:pt x="0" y="1"/>
                      <a:pt x="0" y="0"/>
                    </a:cubicBezTo>
                    <a:cubicBezTo>
                      <a:pt x="1" y="0"/>
                      <a:pt x="2" y="0"/>
                      <a:pt x="2"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7" name="Oval 3382">
                <a:extLst>
                  <a:ext uri="{FF2B5EF4-FFF2-40B4-BE49-F238E27FC236}">
                    <a16:creationId xmlns:a16="http://schemas.microsoft.com/office/drawing/2014/main" id="{54672565-7C5E-F118-7CC2-8852D89CD7BE}"/>
                  </a:ext>
                </a:extLst>
              </p:cNvPr>
              <p:cNvSpPr>
                <a:spLocks noChangeAspect="1" noChangeArrowheads="1"/>
              </p:cNvSpPr>
              <p:nvPr/>
            </p:nvSpPr>
            <p:spPr bwMode="auto">
              <a:xfrm>
                <a:off x="9314033" y="5367548"/>
                <a:ext cx="7977" cy="10246"/>
              </a:xfrm>
              <a:prstGeom prst="ellipse">
                <a:avLst/>
              </a:pr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8" name="Freeform 3383">
                <a:extLst>
                  <a:ext uri="{FF2B5EF4-FFF2-40B4-BE49-F238E27FC236}">
                    <a16:creationId xmlns:a16="http://schemas.microsoft.com/office/drawing/2014/main" id="{71EA208E-DAA1-C4F0-1A7D-E28E3FFBDB84}"/>
                  </a:ext>
                </a:extLst>
              </p:cNvPr>
              <p:cNvSpPr>
                <a:spLocks noChangeAspect="1"/>
              </p:cNvSpPr>
              <p:nvPr/>
            </p:nvSpPr>
            <p:spPr bwMode="auto">
              <a:xfrm>
                <a:off x="9314031" y="5285588"/>
                <a:ext cx="15954" cy="13660"/>
              </a:xfrm>
              <a:custGeom>
                <a:avLst/>
                <a:gdLst>
                  <a:gd name="T0" fmla="*/ 5 w 3"/>
                  <a:gd name="T1" fmla="*/ 5 h 3"/>
                  <a:gd name="T2" fmla="*/ 0 w 3"/>
                  <a:gd name="T3" fmla="*/ 5 h 3"/>
                  <a:gd name="T4" fmla="*/ 1 w 3"/>
                  <a:gd name="T5" fmla="*/ 1 h 3"/>
                  <a:gd name="T6" fmla="*/ 5 w 3"/>
                  <a:gd name="T7" fmla="*/ 1 h 3"/>
                  <a:gd name="T8" fmla="*/ 5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2"/>
                    </a:cubicBezTo>
                    <a:cubicBezTo>
                      <a:pt x="0" y="2"/>
                      <a:pt x="1" y="1"/>
                      <a:pt x="1" y="1"/>
                    </a:cubicBezTo>
                    <a:cubicBezTo>
                      <a:pt x="1" y="1"/>
                      <a:pt x="2" y="0"/>
                      <a:pt x="2" y="1"/>
                    </a:cubicBezTo>
                    <a:cubicBezTo>
                      <a:pt x="3" y="2"/>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09" name="Freeform 3384">
                <a:extLst>
                  <a:ext uri="{FF2B5EF4-FFF2-40B4-BE49-F238E27FC236}">
                    <a16:creationId xmlns:a16="http://schemas.microsoft.com/office/drawing/2014/main" id="{8B291218-4A6E-5058-A457-79040D1FB277}"/>
                  </a:ext>
                </a:extLst>
              </p:cNvPr>
              <p:cNvSpPr>
                <a:spLocks noChangeAspect="1"/>
              </p:cNvSpPr>
              <p:nvPr/>
            </p:nvSpPr>
            <p:spPr bwMode="auto">
              <a:xfrm>
                <a:off x="9433683" y="5575857"/>
                <a:ext cx="15954" cy="13660"/>
              </a:xfrm>
              <a:custGeom>
                <a:avLst/>
                <a:gdLst>
                  <a:gd name="T0" fmla="*/ 7 w 3"/>
                  <a:gd name="T1" fmla="*/ 5 h 3"/>
                  <a:gd name="T2" fmla="*/ 1 w 3"/>
                  <a:gd name="T3" fmla="*/ 7 h 3"/>
                  <a:gd name="T4" fmla="*/ 0 w 3"/>
                  <a:gd name="T5" fmla="*/ 5 h 3"/>
                  <a:gd name="T6" fmla="*/ 1 w 3"/>
                  <a:gd name="T7" fmla="*/ 0 h 3"/>
                  <a:gd name="T8" fmla="*/ 7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2"/>
                    </a:cubicBezTo>
                    <a:cubicBezTo>
                      <a:pt x="0" y="1"/>
                      <a:pt x="0" y="0"/>
                      <a:pt x="1" y="0"/>
                    </a:cubicBezTo>
                    <a:cubicBezTo>
                      <a:pt x="3" y="0"/>
                      <a:pt x="3" y="1"/>
                      <a:pt x="3"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0" name="Freeform 3385">
                <a:extLst>
                  <a:ext uri="{FF2B5EF4-FFF2-40B4-BE49-F238E27FC236}">
                    <a16:creationId xmlns:a16="http://schemas.microsoft.com/office/drawing/2014/main" id="{4F512DF1-C59A-E74B-DE8C-42F2CD23D718}"/>
                  </a:ext>
                </a:extLst>
              </p:cNvPr>
              <p:cNvSpPr>
                <a:spLocks noChangeAspect="1"/>
              </p:cNvSpPr>
              <p:nvPr/>
            </p:nvSpPr>
            <p:spPr bwMode="auto">
              <a:xfrm>
                <a:off x="9337961" y="5647572"/>
                <a:ext cx="11964" cy="6830"/>
              </a:xfrm>
              <a:custGeom>
                <a:avLst/>
                <a:gdLst>
                  <a:gd name="T0" fmla="*/ 8 w 2"/>
                  <a:gd name="T1" fmla="*/ 1 h 2"/>
                  <a:gd name="T2" fmla="*/ 5 w 2"/>
                  <a:gd name="T3" fmla="*/ 2 h 2"/>
                  <a:gd name="T4" fmla="*/ 0 w 2"/>
                  <a:gd name="T5" fmla="*/ 2 h 2"/>
                  <a:gd name="T6" fmla="*/ 0 w 2"/>
                  <a:gd name="T7" fmla="*/ 0 h 2"/>
                  <a:gd name="T8" fmla="*/ 8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0" y="2"/>
                      <a:pt x="0" y="2"/>
                    </a:cubicBezTo>
                    <a:cubicBezTo>
                      <a:pt x="0" y="1"/>
                      <a:pt x="0" y="0"/>
                      <a:pt x="0" y="0"/>
                    </a:cubicBezTo>
                    <a:cubicBezTo>
                      <a:pt x="1" y="0"/>
                      <a:pt x="1"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1" name="Freeform 3386">
                <a:extLst>
                  <a:ext uri="{FF2B5EF4-FFF2-40B4-BE49-F238E27FC236}">
                    <a16:creationId xmlns:a16="http://schemas.microsoft.com/office/drawing/2014/main" id="{A7ABA190-DFBE-D5B4-75F9-E5B07641FD91}"/>
                  </a:ext>
                </a:extLst>
              </p:cNvPr>
              <p:cNvSpPr>
                <a:spLocks noChangeAspect="1"/>
              </p:cNvSpPr>
              <p:nvPr/>
            </p:nvSpPr>
            <p:spPr bwMode="auto">
              <a:xfrm>
                <a:off x="9329984" y="5661232"/>
                <a:ext cx="15954" cy="10246"/>
              </a:xfrm>
              <a:custGeom>
                <a:avLst/>
                <a:gdLst>
                  <a:gd name="T0" fmla="*/ 5 w 2"/>
                  <a:gd name="T1" fmla="*/ 2 h 3"/>
                  <a:gd name="T2" fmla="*/ 5 w 2"/>
                  <a:gd name="T3" fmla="*/ 3 h 3"/>
                  <a:gd name="T4" fmla="*/ 0 w 2"/>
                  <a:gd name="T5" fmla="*/ 2 h 3"/>
                  <a:gd name="T6" fmla="*/ 5 w 2"/>
                  <a:gd name="T7" fmla="*/ 0 h 3"/>
                  <a:gd name="T8" fmla="*/ 5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1"/>
                      <a:pt x="1"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2" name="Freeform 3387">
                <a:extLst>
                  <a:ext uri="{FF2B5EF4-FFF2-40B4-BE49-F238E27FC236}">
                    <a16:creationId xmlns:a16="http://schemas.microsoft.com/office/drawing/2014/main" id="{5398E3DD-15A5-D2A1-B294-00EB7C97AF69}"/>
                  </a:ext>
                </a:extLst>
              </p:cNvPr>
              <p:cNvSpPr>
                <a:spLocks noChangeAspect="1"/>
              </p:cNvSpPr>
              <p:nvPr/>
            </p:nvSpPr>
            <p:spPr bwMode="auto">
              <a:xfrm>
                <a:off x="9345940" y="5640742"/>
                <a:ext cx="7977" cy="10246"/>
              </a:xfrm>
              <a:custGeom>
                <a:avLst/>
                <a:gdLst>
                  <a:gd name="T0" fmla="*/ 2 w 2"/>
                  <a:gd name="T1" fmla="*/ 2 h 3"/>
                  <a:gd name="T2" fmla="*/ 1 w 2"/>
                  <a:gd name="T3" fmla="*/ 3 h 3"/>
                  <a:gd name="T4" fmla="*/ 0 w 2"/>
                  <a:gd name="T5" fmla="*/ 2 h 3"/>
                  <a:gd name="T6" fmla="*/ 1 w 2"/>
                  <a:gd name="T7" fmla="*/ 1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3" name="Freeform 3388">
                <a:extLst>
                  <a:ext uri="{FF2B5EF4-FFF2-40B4-BE49-F238E27FC236}">
                    <a16:creationId xmlns:a16="http://schemas.microsoft.com/office/drawing/2014/main" id="{7772801F-E449-E2D9-3081-093464A61635}"/>
                  </a:ext>
                </a:extLst>
              </p:cNvPr>
              <p:cNvSpPr>
                <a:spLocks noChangeAspect="1"/>
              </p:cNvSpPr>
              <p:nvPr/>
            </p:nvSpPr>
            <p:spPr bwMode="auto">
              <a:xfrm>
                <a:off x="9353917" y="5627080"/>
                <a:ext cx="7977" cy="13660"/>
              </a:xfrm>
              <a:custGeom>
                <a:avLst/>
                <a:gdLst>
                  <a:gd name="T0" fmla="*/ 2 w 2"/>
                  <a:gd name="T1" fmla="*/ 5 h 3"/>
                  <a:gd name="T2" fmla="*/ 1 w 2"/>
                  <a:gd name="T3" fmla="*/ 7 h 3"/>
                  <a:gd name="T4" fmla="*/ 0 w 2"/>
                  <a:gd name="T5" fmla="*/ 5 h 3"/>
                  <a:gd name="T6" fmla="*/ 1 w 2"/>
                  <a:gd name="T7" fmla="*/ 0 h 3"/>
                  <a:gd name="T8" fmla="*/ 2 w 2"/>
                  <a:gd name="T9" fmla="*/ 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1"/>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4" name="Freeform 3389">
                <a:extLst>
                  <a:ext uri="{FF2B5EF4-FFF2-40B4-BE49-F238E27FC236}">
                    <a16:creationId xmlns:a16="http://schemas.microsoft.com/office/drawing/2014/main" id="{7B74C07D-914B-8F04-A0BB-42CE4B73F209}"/>
                  </a:ext>
                </a:extLst>
              </p:cNvPr>
              <p:cNvSpPr>
                <a:spLocks noChangeAspect="1"/>
              </p:cNvSpPr>
              <p:nvPr/>
            </p:nvSpPr>
            <p:spPr bwMode="auto">
              <a:xfrm>
                <a:off x="9353915" y="5654400"/>
                <a:ext cx="15954" cy="13660"/>
              </a:xfrm>
              <a:custGeom>
                <a:avLst/>
                <a:gdLst>
                  <a:gd name="T0" fmla="*/ 8 w 2"/>
                  <a:gd name="T1" fmla="*/ 5 h 3"/>
                  <a:gd name="T2" fmla="*/ 5 w 2"/>
                  <a:gd name="T3" fmla="*/ 7 h 3"/>
                  <a:gd name="T4" fmla="*/ 0 w 2"/>
                  <a:gd name="T5" fmla="*/ 5 h 3"/>
                  <a:gd name="T6" fmla="*/ 5 w 2"/>
                  <a:gd name="T7" fmla="*/ 0 h 3"/>
                  <a:gd name="T8" fmla="*/ 8 w 2"/>
                  <a:gd name="T9" fmla="*/ 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5" name="Oval 3390">
                <a:extLst>
                  <a:ext uri="{FF2B5EF4-FFF2-40B4-BE49-F238E27FC236}">
                    <a16:creationId xmlns:a16="http://schemas.microsoft.com/office/drawing/2014/main" id="{F60F801F-C975-6591-4EDD-591267EBA772}"/>
                  </a:ext>
                </a:extLst>
              </p:cNvPr>
              <p:cNvSpPr>
                <a:spLocks noChangeAspect="1" noChangeArrowheads="1"/>
              </p:cNvSpPr>
              <p:nvPr/>
            </p:nvSpPr>
            <p:spPr bwMode="auto">
              <a:xfrm>
                <a:off x="9353917" y="5592931"/>
                <a:ext cx="3987" cy="13660"/>
              </a:xfrm>
              <a:prstGeom prst="ellipse">
                <a:avLst/>
              </a:pr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6" name="Freeform 3391">
                <a:extLst>
                  <a:ext uri="{FF2B5EF4-FFF2-40B4-BE49-F238E27FC236}">
                    <a16:creationId xmlns:a16="http://schemas.microsoft.com/office/drawing/2014/main" id="{DBBE793D-1018-DECA-6097-3182F500DCE1}"/>
                  </a:ext>
                </a:extLst>
              </p:cNvPr>
              <p:cNvSpPr>
                <a:spLocks noChangeAspect="1"/>
              </p:cNvSpPr>
              <p:nvPr/>
            </p:nvSpPr>
            <p:spPr bwMode="auto">
              <a:xfrm>
                <a:off x="9337961" y="5562200"/>
                <a:ext cx="15954" cy="6830"/>
              </a:xfrm>
              <a:custGeom>
                <a:avLst/>
                <a:gdLst>
                  <a:gd name="T0" fmla="*/ 1 w 3"/>
                  <a:gd name="T1" fmla="*/ 1 h 2"/>
                  <a:gd name="T2" fmla="*/ 0 w 3"/>
                  <a:gd name="T3" fmla="*/ 1 h 2"/>
                  <a:gd name="T4" fmla="*/ 1 w 3"/>
                  <a:gd name="T5" fmla="*/ 0 h 2"/>
                  <a:gd name="T6" fmla="*/ 7 w 3"/>
                  <a:gd name="T7" fmla="*/ 0 h 2"/>
                  <a:gd name="T8" fmla="*/ 1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2" y="0"/>
                      <a:pt x="3" y="0"/>
                      <a:pt x="3" y="0"/>
                    </a:cubicBezTo>
                    <a:cubicBezTo>
                      <a:pt x="3" y="1"/>
                      <a:pt x="2" y="1"/>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7" name="Freeform 3392">
                <a:extLst>
                  <a:ext uri="{FF2B5EF4-FFF2-40B4-BE49-F238E27FC236}">
                    <a16:creationId xmlns:a16="http://schemas.microsoft.com/office/drawing/2014/main" id="{37D2BCA6-2BDB-88FA-E09B-12307827DBA7}"/>
                  </a:ext>
                </a:extLst>
              </p:cNvPr>
              <p:cNvSpPr>
                <a:spLocks noChangeAspect="1"/>
              </p:cNvSpPr>
              <p:nvPr/>
            </p:nvSpPr>
            <p:spPr bwMode="auto">
              <a:xfrm>
                <a:off x="9369871" y="5514389"/>
                <a:ext cx="7977" cy="13660"/>
              </a:xfrm>
              <a:custGeom>
                <a:avLst/>
                <a:gdLst>
                  <a:gd name="T0" fmla="*/ 1 w 2"/>
                  <a:gd name="T1" fmla="*/ 7 h 3"/>
                  <a:gd name="T2" fmla="*/ 0 w 2"/>
                  <a:gd name="T3" fmla="*/ 7 h 3"/>
                  <a:gd name="T4" fmla="*/ 0 w 2"/>
                  <a:gd name="T5" fmla="*/ 1 h 3"/>
                  <a:gd name="T6" fmla="*/ 2 w 2"/>
                  <a:gd name="T7" fmla="*/ 1 h 3"/>
                  <a:gd name="T8" fmla="*/ 1 w 2"/>
                  <a:gd name="T9" fmla="*/ 7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2"/>
                      <a:pt x="0" y="2"/>
                      <a:pt x="0" y="1"/>
                    </a:cubicBezTo>
                    <a:cubicBezTo>
                      <a:pt x="1" y="1"/>
                      <a:pt x="1" y="0"/>
                      <a:pt x="2" y="1"/>
                    </a:cubicBezTo>
                    <a:cubicBezTo>
                      <a:pt x="2" y="1"/>
                      <a:pt x="2" y="2"/>
                      <a:pt x="1"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8" name="Freeform 3393">
                <a:extLst>
                  <a:ext uri="{FF2B5EF4-FFF2-40B4-BE49-F238E27FC236}">
                    <a16:creationId xmlns:a16="http://schemas.microsoft.com/office/drawing/2014/main" id="{2EF0E238-305B-4E6B-203B-E6E27FAE2FDA}"/>
                  </a:ext>
                </a:extLst>
              </p:cNvPr>
              <p:cNvSpPr>
                <a:spLocks noChangeAspect="1"/>
              </p:cNvSpPr>
              <p:nvPr/>
            </p:nvSpPr>
            <p:spPr bwMode="auto">
              <a:xfrm>
                <a:off x="9361892" y="5729530"/>
                <a:ext cx="15954" cy="6830"/>
              </a:xfrm>
              <a:custGeom>
                <a:avLst/>
                <a:gdLst>
                  <a:gd name="T0" fmla="*/ 5 w 3"/>
                  <a:gd name="T1" fmla="*/ 1 h 2"/>
                  <a:gd name="T2" fmla="*/ 5 w 3"/>
                  <a:gd name="T3" fmla="*/ 2 h 2"/>
                  <a:gd name="T4" fmla="*/ 1 w 3"/>
                  <a:gd name="T5" fmla="*/ 2 h 2"/>
                  <a:gd name="T6" fmla="*/ 0 w 3"/>
                  <a:gd name="T7" fmla="*/ 0 h 2"/>
                  <a:gd name="T8" fmla="*/ 5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0" y="1"/>
                      <a:pt x="0" y="1"/>
                      <a:pt x="0" y="0"/>
                    </a:cubicBezTo>
                    <a:cubicBezTo>
                      <a:pt x="1" y="0"/>
                      <a:pt x="2" y="0"/>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19" name="Freeform 3394">
                <a:extLst>
                  <a:ext uri="{FF2B5EF4-FFF2-40B4-BE49-F238E27FC236}">
                    <a16:creationId xmlns:a16="http://schemas.microsoft.com/office/drawing/2014/main" id="{48422525-68DE-C8E4-6846-8668C5673D58}"/>
                  </a:ext>
                </a:extLst>
              </p:cNvPr>
              <p:cNvSpPr>
                <a:spLocks noChangeAspect="1"/>
              </p:cNvSpPr>
              <p:nvPr/>
            </p:nvSpPr>
            <p:spPr bwMode="auto">
              <a:xfrm>
                <a:off x="9441663" y="5818316"/>
                <a:ext cx="7977" cy="13660"/>
              </a:xfrm>
              <a:custGeom>
                <a:avLst/>
                <a:gdLst>
                  <a:gd name="T0" fmla="*/ 2 w 2"/>
                  <a:gd name="T1" fmla="*/ 1 h 3"/>
                  <a:gd name="T2" fmla="*/ 1 w 2"/>
                  <a:gd name="T3" fmla="*/ 7 h 3"/>
                  <a:gd name="T4" fmla="*/ 0 w 2"/>
                  <a:gd name="T5" fmla="*/ 5 h 3"/>
                  <a:gd name="T6" fmla="*/ 0 w 2"/>
                  <a:gd name="T7" fmla="*/ 0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3"/>
                    </a:cubicBezTo>
                    <a:cubicBezTo>
                      <a:pt x="1" y="3"/>
                      <a:pt x="0" y="2"/>
                      <a:pt x="0" y="2"/>
                    </a:cubicBezTo>
                    <a:cubicBezTo>
                      <a:pt x="0" y="1"/>
                      <a:pt x="0" y="0"/>
                      <a:pt x="0" y="0"/>
                    </a:cubicBezTo>
                    <a:cubicBezTo>
                      <a:pt x="1" y="0"/>
                      <a:pt x="1"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20" name="Freeform 3395">
                <a:extLst>
                  <a:ext uri="{FF2B5EF4-FFF2-40B4-BE49-F238E27FC236}">
                    <a16:creationId xmlns:a16="http://schemas.microsoft.com/office/drawing/2014/main" id="{B7FA6FEC-E9FB-75C2-F054-BE50E6D08657}"/>
                  </a:ext>
                </a:extLst>
              </p:cNvPr>
              <p:cNvSpPr>
                <a:spLocks noChangeAspect="1"/>
              </p:cNvSpPr>
              <p:nvPr/>
            </p:nvSpPr>
            <p:spPr bwMode="auto">
              <a:xfrm>
                <a:off x="9393802" y="5753433"/>
                <a:ext cx="7977" cy="13660"/>
              </a:xfrm>
              <a:custGeom>
                <a:avLst/>
                <a:gdLst>
                  <a:gd name="T0" fmla="*/ 2 w 2"/>
                  <a:gd name="T1" fmla="*/ 5 h 3"/>
                  <a:gd name="T2" fmla="*/ 1 w 2"/>
                  <a:gd name="T3" fmla="*/ 5 h 3"/>
                  <a:gd name="T4" fmla="*/ 1 w 2"/>
                  <a:gd name="T5" fmla="*/ 1 h 3"/>
                  <a:gd name="T6" fmla="*/ 2 w 2"/>
                  <a:gd name="T7" fmla="*/ 0 h 3"/>
                  <a:gd name="T8" fmla="*/ 2 w 2"/>
                  <a:gd name="T9" fmla="*/ 5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1" y="1"/>
                    </a:cubicBezTo>
                    <a:cubicBezTo>
                      <a:pt x="1" y="1"/>
                      <a:pt x="1" y="0"/>
                      <a:pt x="2" y="0"/>
                    </a:cubicBezTo>
                    <a:cubicBezTo>
                      <a:pt x="2" y="0"/>
                      <a:pt x="2" y="1"/>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21" name="Freeform 3396">
                <a:extLst>
                  <a:ext uri="{FF2B5EF4-FFF2-40B4-BE49-F238E27FC236}">
                    <a16:creationId xmlns:a16="http://schemas.microsoft.com/office/drawing/2014/main" id="{462673AF-4B79-97A3-5BCC-9F47C6A361F5}"/>
                  </a:ext>
                </a:extLst>
              </p:cNvPr>
              <p:cNvSpPr>
                <a:spLocks noChangeAspect="1"/>
              </p:cNvSpPr>
              <p:nvPr/>
            </p:nvSpPr>
            <p:spPr bwMode="auto">
              <a:xfrm>
                <a:off x="9417730" y="5886617"/>
                <a:ext cx="11964" cy="6830"/>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22" name="Freeform 3397">
                <a:extLst>
                  <a:ext uri="{FF2B5EF4-FFF2-40B4-BE49-F238E27FC236}">
                    <a16:creationId xmlns:a16="http://schemas.microsoft.com/office/drawing/2014/main" id="{5BB3FEA4-1709-E9BA-7CD3-C9EC129E8AE3}"/>
                  </a:ext>
                </a:extLst>
              </p:cNvPr>
              <p:cNvSpPr>
                <a:spLocks noChangeAspect="1"/>
              </p:cNvSpPr>
              <p:nvPr/>
            </p:nvSpPr>
            <p:spPr bwMode="auto">
              <a:xfrm>
                <a:off x="9888364" y="6122245"/>
                <a:ext cx="15954" cy="13660"/>
              </a:xfrm>
              <a:custGeom>
                <a:avLst/>
                <a:gdLst>
                  <a:gd name="T0" fmla="*/ 5 w 3"/>
                  <a:gd name="T1" fmla="*/ 5 h 3"/>
                  <a:gd name="T2" fmla="*/ 1 w 3"/>
                  <a:gd name="T3" fmla="*/ 5 h 3"/>
                  <a:gd name="T4" fmla="*/ 1 w 3"/>
                  <a:gd name="T5" fmla="*/ 1 h 3"/>
                  <a:gd name="T6" fmla="*/ 5 w 3"/>
                  <a:gd name="T7" fmla="*/ 0 h 3"/>
                  <a:gd name="T8" fmla="*/ 5 w 3"/>
                  <a:gd name="T9" fmla="*/ 5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1"/>
                      <a:pt x="2" y="0"/>
                      <a:pt x="2" y="0"/>
                    </a:cubicBezTo>
                    <a:cubicBezTo>
                      <a:pt x="3" y="1"/>
                      <a:pt x="2" y="2"/>
                      <a:pt x="2"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23" name="Freeform 3398">
                <a:extLst>
                  <a:ext uri="{FF2B5EF4-FFF2-40B4-BE49-F238E27FC236}">
                    <a16:creationId xmlns:a16="http://schemas.microsoft.com/office/drawing/2014/main" id="{C9707980-4891-10C3-0BEA-C0EDABE185A9}"/>
                  </a:ext>
                </a:extLst>
              </p:cNvPr>
              <p:cNvSpPr>
                <a:spLocks noChangeAspect="1"/>
              </p:cNvSpPr>
              <p:nvPr/>
            </p:nvSpPr>
            <p:spPr bwMode="auto">
              <a:xfrm>
                <a:off x="9856457" y="6176886"/>
                <a:ext cx="15954" cy="6830"/>
              </a:xfrm>
              <a:custGeom>
                <a:avLst/>
                <a:gdLst>
                  <a:gd name="T0" fmla="*/ 1 w 3"/>
                  <a:gd name="T1" fmla="*/ 2 h 2"/>
                  <a:gd name="T2" fmla="*/ 0 w 3"/>
                  <a:gd name="T3" fmla="*/ 2 h 2"/>
                  <a:gd name="T4" fmla="*/ 1 w 3"/>
                  <a:gd name="T5" fmla="*/ 0 h 2"/>
                  <a:gd name="T6" fmla="*/ 5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0"/>
                      <a:pt x="1" y="0"/>
                    </a:cubicBezTo>
                    <a:cubicBezTo>
                      <a:pt x="1" y="0"/>
                      <a:pt x="2" y="0"/>
                      <a:pt x="2" y="0"/>
                    </a:cubicBezTo>
                    <a:cubicBezTo>
                      <a:pt x="3" y="1"/>
                      <a:pt x="2" y="1"/>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24" name="Freeform 3482">
                <a:extLst>
                  <a:ext uri="{FF2B5EF4-FFF2-40B4-BE49-F238E27FC236}">
                    <a16:creationId xmlns:a16="http://schemas.microsoft.com/office/drawing/2014/main" id="{CB96C484-87C4-EC49-349A-9CE88F37A8BA}"/>
                  </a:ext>
                </a:extLst>
              </p:cNvPr>
              <p:cNvSpPr>
                <a:spLocks noChangeAspect="1"/>
              </p:cNvSpPr>
              <p:nvPr/>
            </p:nvSpPr>
            <p:spPr bwMode="auto">
              <a:xfrm>
                <a:off x="9768714" y="5927596"/>
                <a:ext cx="227339" cy="184406"/>
              </a:xfrm>
              <a:custGeom>
                <a:avLst/>
                <a:gdLst>
                  <a:gd name="T0" fmla="*/ 2147483646 w 47"/>
                  <a:gd name="T1" fmla="*/ 2147483646 h 45"/>
                  <a:gd name="T2" fmla="*/ 2147483646 w 47"/>
                  <a:gd name="T3" fmla="*/ 2147483646 h 45"/>
                  <a:gd name="T4" fmla="*/ 2147483646 w 47"/>
                  <a:gd name="T5" fmla="*/ 2147483646 h 45"/>
                  <a:gd name="T6" fmla="*/ 2147483646 w 47"/>
                  <a:gd name="T7" fmla="*/ 2147483646 h 45"/>
                  <a:gd name="T8" fmla="*/ 2147483646 w 47"/>
                  <a:gd name="T9" fmla="*/ 2147483646 h 45"/>
                  <a:gd name="T10" fmla="*/ 2147483646 w 47"/>
                  <a:gd name="T11" fmla="*/ 2147483646 h 45"/>
                  <a:gd name="T12" fmla="*/ 2147483646 w 47"/>
                  <a:gd name="T13" fmla="*/ 2147483646 h 45"/>
                  <a:gd name="T14" fmla="*/ 2147483646 w 47"/>
                  <a:gd name="T15" fmla="*/ 2147483646 h 45"/>
                  <a:gd name="T16" fmla="*/ 2147483646 w 47"/>
                  <a:gd name="T17" fmla="*/ 2147483646 h 45"/>
                  <a:gd name="T18" fmla="*/ 2147483646 w 47"/>
                  <a:gd name="T19" fmla="*/ 2147483646 h 45"/>
                  <a:gd name="T20" fmla="*/ 2147483646 w 47"/>
                  <a:gd name="T21" fmla="*/ 2147483646 h 45"/>
                  <a:gd name="T22" fmla="*/ 0 w 47"/>
                  <a:gd name="T23" fmla="*/ 0 h 45"/>
                  <a:gd name="T24" fmla="*/ 2147483646 w 47"/>
                  <a:gd name="T25" fmla="*/ 2147483646 h 45"/>
                  <a:gd name="T26" fmla="*/ 2147483646 w 47"/>
                  <a:gd name="T27" fmla="*/ 2147483646 h 45"/>
                  <a:gd name="T28" fmla="*/ 2147483646 w 47"/>
                  <a:gd name="T29" fmla="*/ 2147483646 h 45"/>
                  <a:gd name="T30" fmla="*/ 2147483646 w 47"/>
                  <a:gd name="T31" fmla="*/ 2147483646 h 45"/>
                  <a:gd name="T32" fmla="*/ 2147483646 w 47"/>
                  <a:gd name="T33" fmla="*/ 2147483646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5" name="Freeform 3483">
                <a:extLst>
                  <a:ext uri="{FF2B5EF4-FFF2-40B4-BE49-F238E27FC236}">
                    <a16:creationId xmlns:a16="http://schemas.microsoft.com/office/drawing/2014/main" id="{FE1346A4-E403-D150-C3D7-589C7FCD3D10}"/>
                  </a:ext>
                </a:extLst>
              </p:cNvPr>
              <p:cNvSpPr>
                <a:spLocks noChangeAspect="1"/>
              </p:cNvSpPr>
              <p:nvPr/>
            </p:nvSpPr>
            <p:spPr bwMode="auto">
              <a:xfrm>
                <a:off x="9832529" y="6098340"/>
                <a:ext cx="55838" cy="27319"/>
              </a:xfrm>
              <a:custGeom>
                <a:avLst/>
                <a:gdLst>
                  <a:gd name="T0" fmla="*/ 2147483646 w 11"/>
                  <a:gd name="T1" fmla="*/ 2147483646 h 7"/>
                  <a:gd name="T2" fmla="*/ 2147483646 w 11"/>
                  <a:gd name="T3" fmla="*/ 2147483646 h 7"/>
                  <a:gd name="T4" fmla="*/ 2147483646 w 11"/>
                  <a:gd name="T5" fmla="*/ 2147483646 h 7"/>
                  <a:gd name="T6" fmla="*/ 2147483646 w 11"/>
                  <a:gd name="T7" fmla="*/ 2147483646 h 7"/>
                  <a:gd name="T8" fmla="*/ 0 w 11"/>
                  <a:gd name="T9" fmla="*/ 2147483646 h 7"/>
                  <a:gd name="T10" fmla="*/ 0 w 11"/>
                  <a:gd name="T11" fmla="*/ 0 h 7"/>
                  <a:gd name="T12" fmla="*/ 2147483646 w 11"/>
                  <a:gd name="T13" fmla="*/ 0 h 7"/>
                  <a:gd name="T14" fmla="*/ 2147483646 w 11"/>
                  <a:gd name="T15" fmla="*/ 2147483646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6" name="Freeform 3484">
                <a:extLst>
                  <a:ext uri="{FF2B5EF4-FFF2-40B4-BE49-F238E27FC236}">
                    <a16:creationId xmlns:a16="http://schemas.microsoft.com/office/drawing/2014/main" id="{0F371FFC-3589-EE18-DE63-AB292EFA6103}"/>
                  </a:ext>
                </a:extLst>
              </p:cNvPr>
              <p:cNvSpPr>
                <a:spLocks noChangeAspect="1"/>
              </p:cNvSpPr>
              <p:nvPr/>
            </p:nvSpPr>
            <p:spPr bwMode="auto">
              <a:xfrm>
                <a:off x="9545359" y="5849053"/>
                <a:ext cx="191445" cy="167330"/>
              </a:xfrm>
              <a:custGeom>
                <a:avLst/>
                <a:gdLst>
                  <a:gd name="T0" fmla="*/ 2147483646 w 40"/>
                  <a:gd name="T1" fmla="*/ 2147483646 h 41"/>
                  <a:gd name="T2" fmla="*/ 2147483646 w 40"/>
                  <a:gd name="T3" fmla="*/ 2147483646 h 41"/>
                  <a:gd name="T4" fmla="*/ 2147483646 w 40"/>
                  <a:gd name="T5" fmla="*/ 2147483646 h 41"/>
                  <a:gd name="T6" fmla="*/ 2147483646 w 40"/>
                  <a:gd name="T7" fmla="*/ 2147483646 h 41"/>
                  <a:gd name="T8" fmla="*/ 2147483646 w 40"/>
                  <a:gd name="T9" fmla="*/ 2147483646 h 41"/>
                  <a:gd name="T10" fmla="*/ 2147483646 w 40"/>
                  <a:gd name="T11" fmla="*/ 2147483646 h 41"/>
                  <a:gd name="T12" fmla="*/ 2147483646 w 40"/>
                  <a:gd name="T13" fmla="*/ 2147483646 h 41"/>
                  <a:gd name="T14" fmla="*/ 2147483646 w 40"/>
                  <a:gd name="T15" fmla="*/ 2147483646 h 41"/>
                  <a:gd name="T16" fmla="*/ 2147483646 w 40"/>
                  <a:gd name="T17" fmla="*/ 2147483646 h 41"/>
                  <a:gd name="T18" fmla="*/ 2147483646 w 40"/>
                  <a:gd name="T19" fmla="*/ 2147483646 h 41"/>
                  <a:gd name="T20" fmla="*/ 2147483646 w 40"/>
                  <a:gd name="T21" fmla="*/ 2147483646 h 41"/>
                  <a:gd name="T22" fmla="*/ 2147483646 w 40"/>
                  <a:gd name="T23" fmla="*/ 2147483646 h 41"/>
                  <a:gd name="T24" fmla="*/ 2147483646 w 40"/>
                  <a:gd name="T25" fmla="*/ 2147483646 h 41"/>
                  <a:gd name="T26" fmla="*/ 2147483646 w 40"/>
                  <a:gd name="T27" fmla="*/ 2147483646 h 41"/>
                  <a:gd name="T28" fmla="*/ 2147483646 w 40"/>
                  <a:gd name="T29" fmla="*/ 2147483646 h 41"/>
                  <a:gd name="T30" fmla="*/ 2147483646 w 40"/>
                  <a:gd name="T31" fmla="*/ 2147483646 h 41"/>
                  <a:gd name="T32" fmla="*/ 2147483646 w 40"/>
                  <a:gd name="T33" fmla="*/ 2147483646 h 41"/>
                  <a:gd name="T34" fmla="*/ 2147483646 w 40"/>
                  <a:gd name="T35" fmla="*/ 2147483646 h 41"/>
                  <a:gd name="T36" fmla="*/ 2147483646 w 40"/>
                  <a:gd name="T37" fmla="*/ 2147483646 h 41"/>
                  <a:gd name="T38" fmla="*/ 2147483646 w 40"/>
                  <a:gd name="T39" fmla="*/ 2147483646 h 41"/>
                  <a:gd name="T40" fmla="*/ 2147483646 w 40"/>
                  <a:gd name="T41" fmla="*/ 2147483646 h 41"/>
                  <a:gd name="T42" fmla="*/ 2147483646 w 40"/>
                  <a:gd name="T43" fmla="*/ 2147483646 h 41"/>
                  <a:gd name="T44" fmla="*/ 2147483646 w 40"/>
                  <a:gd name="T45" fmla="*/ 0 h 41"/>
                  <a:gd name="T46" fmla="*/ 2147483646 w 40"/>
                  <a:gd name="T47" fmla="*/ 2147483646 h 41"/>
                  <a:gd name="T48" fmla="*/ 2147483646 w 40"/>
                  <a:gd name="T49" fmla="*/ 2147483646 h 41"/>
                  <a:gd name="T50" fmla="*/ 2147483646 w 40"/>
                  <a:gd name="T51" fmla="*/ 2147483646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7" name="Freeform 3485">
                <a:extLst>
                  <a:ext uri="{FF2B5EF4-FFF2-40B4-BE49-F238E27FC236}">
                    <a16:creationId xmlns:a16="http://schemas.microsoft.com/office/drawing/2014/main" id="{E7E73E48-B674-4941-4619-06C31DE57363}"/>
                  </a:ext>
                </a:extLst>
              </p:cNvPr>
              <p:cNvSpPr>
                <a:spLocks noChangeAspect="1"/>
              </p:cNvSpPr>
              <p:nvPr/>
            </p:nvSpPr>
            <p:spPr bwMode="auto">
              <a:xfrm>
                <a:off x="9720853" y="6098340"/>
                <a:ext cx="135607" cy="68298"/>
              </a:xfrm>
              <a:custGeom>
                <a:avLst/>
                <a:gdLst>
                  <a:gd name="T0" fmla="*/ 2147483646 w 28"/>
                  <a:gd name="T1" fmla="*/ 2147483646 h 17"/>
                  <a:gd name="T2" fmla="*/ 2147483646 w 28"/>
                  <a:gd name="T3" fmla="*/ 2147483646 h 17"/>
                  <a:gd name="T4" fmla="*/ 2147483646 w 28"/>
                  <a:gd name="T5" fmla="*/ 2147483646 h 17"/>
                  <a:gd name="T6" fmla="*/ 2147483646 w 28"/>
                  <a:gd name="T7" fmla="*/ 2147483646 h 17"/>
                  <a:gd name="T8" fmla="*/ 2147483646 w 28"/>
                  <a:gd name="T9" fmla="*/ 2147483646 h 17"/>
                  <a:gd name="T10" fmla="*/ 2147483646 w 28"/>
                  <a:gd name="T11" fmla="*/ 2147483646 h 17"/>
                  <a:gd name="T12" fmla="*/ 2147483646 w 28"/>
                  <a:gd name="T13" fmla="*/ 2147483646 h 17"/>
                  <a:gd name="T14" fmla="*/ 2147483646 w 28"/>
                  <a:gd name="T15" fmla="*/ 2147483646 h 17"/>
                  <a:gd name="T16" fmla="*/ 2147483646 w 28"/>
                  <a:gd name="T17" fmla="*/ 2147483646 h 17"/>
                  <a:gd name="T18" fmla="*/ 2147483646 w 28"/>
                  <a:gd name="T19" fmla="*/ 2147483646 h 17"/>
                  <a:gd name="T20" fmla="*/ 2147483646 w 28"/>
                  <a:gd name="T21" fmla="*/ 2147483646 h 17"/>
                  <a:gd name="T22" fmla="*/ 2147483646 w 28"/>
                  <a:gd name="T23" fmla="*/ 2147483646 h 17"/>
                  <a:gd name="T24" fmla="*/ 2147483646 w 28"/>
                  <a:gd name="T25" fmla="*/ 2147483646 h 17"/>
                  <a:gd name="T26" fmla="*/ 2147483646 w 28"/>
                  <a:gd name="T27" fmla="*/ 2147483646 h 17"/>
                  <a:gd name="T28" fmla="*/ 2147483646 w 28"/>
                  <a:gd name="T29" fmla="*/ 2147483646 h 17"/>
                  <a:gd name="T30" fmla="*/ 2147483646 w 28"/>
                  <a:gd name="T31" fmla="*/ 2147483646 h 17"/>
                  <a:gd name="T32" fmla="*/ 2147483646 w 28"/>
                  <a:gd name="T33" fmla="*/ 2147483646 h 17"/>
                  <a:gd name="T34" fmla="*/ 2147483646 w 28"/>
                  <a:gd name="T35" fmla="*/ 2147483646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8" name="Freeform 3486">
                <a:extLst>
                  <a:ext uri="{FF2B5EF4-FFF2-40B4-BE49-F238E27FC236}">
                    <a16:creationId xmlns:a16="http://schemas.microsoft.com/office/drawing/2014/main" id="{C626130F-6E81-C162-3D32-20C020B71557}"/>
                  </a:ext>
                </a:extLst>
              </p:cNvPr>
              <p:cNvSpPr>
                <a:spLocks noChangeAspect="1"/>
              </p:cNvSpPr>
              <p:nvPr/>
            </p:nvSpPr>
            <p:spPr bwMode="auto">
              <a:xfrm>
                <a:off x="9497498" y="5978821"/>
                <a:ext cx="95722" cy="61469"/>
              </a:xfrm>
              <a:custGeom>
                <a:avLst/>
                <a:gdLst>
                  <a:gd name="T0" fmla="*/ 2147483646 w 20"/>
                  <a:gd name="T1" fmla="*/ 0 h 15"/>
                  <a:gd name="T2" fmla="*/ 2147483646 w 20"/>
                  <a:gd name="T3" fmla="*/ 2147483646 h 15"/>
                  <a:gd name="T4" fmla="*/ 2147483646 w 20"/>
                  <a:gd name="T5" fmla="*/ 2147483646 h 15"/>
                  <a:gd name="T6" fmla="*/ 2147483646 w 20"/>
                  <a:gd name="T7" fmla="*/ 2147483646 h 15"/>
                  <a:gd name="T8" fmla="*/ 2147483646 w 20"/>
                  <a:gd name="T9" fmla="*/ 2147483646 h 15"/>
                  <a:gd name="T10" fmla="*/ 2147483646 w 20"/>
                  <a:gd name="T11" fmla="*/ 2147483646 h 15"/>
                  <a:gd name="T12" fmla="*/ 2147483646 w 20"/>
                  <a:gd name="T13" fmla="*/ 2147483646 h 15"/>
                  <a:gd name="T14" fmla="*/ 2147483646 w 20"/>
                  <a:gd name="T15" fmla="*/ 2147483646 h 15"/>
                  <a:gd name="T16" fmla="*/ 2147483646 w 20"/>
                  <a:gd name="T17" fmla="*/ 2147483646 h 15"/>
                  <a:gd name="T18" fmla="*/ 0 w 20"/>
                  <a:gd name="T19" fmla="*/ 2147483646 h 15"/>
                  <a:gd name="T20" fmla="*/ 2147483646 w 20"/>
                  <a:gd name="T21" fmla="*/ 0 h 15"/>
                  <a:gd name="T22" fmla="*/ 2147483646 w 20"/>
                  <a:gd name="T23" fmla="*/ 2147483646 h 15"/>
                  <a:gd name="T24" fmla="*/ 2147483646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9" name="Freeform 3487">
                <a:extLst>
                  <a:ext uri="{FF2B5EF4-FFF2-40B4-BE49-F238E27FC236}">
                    <a16:creationId xmlns:a16="http://schemas.microsoft.com/office/drawing/2014/main" id="{BA02722A-F927-AEEE-0D41-9B2C54222809}"/>
                  </a:ext>
                </a:extLst>
              </p:cNvPr>
              <p:cNvSpPr>
                <a:spLocks noChangeAspect="1"/>
              </p:cNvSpPr>
              <p:nvPr/>
            </p:nvSpPr>
            <p:spPr bwMode="auto">
              <a:xfrm>
                <a:off x="9665015" y="5982234"/>
                <a:ext cx="39884" cy="61469"/>
              </a:xfrm>
              <a:custGeom>
                <a:avLst/>
                <a:gdLst>
                  <a:gd name="T0" fmla="*/ 2147483646 w 7"/>
                  <a:gd name="T1" fmla="*/ 2147483646 h 15"/>
                  <a:gd name="T2" fmla="*/ 2147483646 w 7"/>
                  <a:gd name="T3" fmla="*/ 2147483646 h 15"/>
                  <a:gd name="T4" fmla="*/ 2147483646 w 7"/>
                  <a:gd name="T5" fmla="*/ 2147483646 h 15"/>
                  <a:gd name="T6" fmla="*/ 0 w 7"/>
                  <a:gd name="T7" fmla="*/ 2147483646 h 15"/>
                  <a:gd name="T8" fmla="*/ 2147483646 w 7"/>
                  <a:gd name="T9" fmla="*/ 2147483646 h 15"/>
                  <a:gd name="T10" fmla="*/ 2147483646 w 7"/>
                  <a:gd name="T11" fmla="*/ 2147483646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0" name="Freeform 3488">
                <a:extLst>
                  <a:ext uri="{FF2B5EF4-FFF2-40B4-BE49-F238E27FC236}">
                    <a16:creationId xmlns:a16="http://schemas.microsoft.com/office/drawing/2014/main" id="{2A78141D-3F09-29F4-7357-809CD0EE0F1C}"/>
                  </a:ext>
                </a:extLst>
              </p:cNvPr>
              <p:cNvSpPr>
                <a:spLocks noChangeAspect="1"/>
              </p:cNvSpPr>
              <p:nvPr/>
            </p:nvSpPr>
            <p:spPr bwMode="auto">
              <a:xfrm>
                <a:off x="9593223" y="6012968"/>
                <a:ext cx="39884" cy="37563"/>
              </a:xfrm>
              <a:custGeom>
                <a:avLst/>
                <a:gdLst>
                  <a:gd name="T0" fmla="*/ 2147483646 w 8"/>
                  <a:gd name="T1" fmla="*/ 2147483646 h 9"/>
                  <a:gd name="T2" fmla="*/ 2147483646 w 8"/>
                  <a:gd name="T3" fmla="*/ 2147483646 h 9"/>
                  <a:gd name="T4" fmla="*/ 2147483646 w 8"/>
                  <a:gd name="T5" fmla="*/ 2147483646 h 9"/>
                  <a:gd name="T6" fmla="*/ 2147483646 w 8"/>
                  <a:gd name="T7" fmla="*/ 2147483646 h 9"/>
                  <a:gd name="T8" fmla="*/ 2147483646 w 8"/>
                  <a:gd name="T9" fmla="*/ 2147483646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3"/>
                    </a:moveTo>
                    <a:cubicBezTo>
                      <a:pt x="2" y="1"/>
                      <a:pt x="5" y="0"/>
                      <a:pt x="6" y="1"/>
                    </a:cubicBezTo>
                    <a:cubicBezTo>
                      <a:pt x="8" y="3"/>
                      <a:pt x="8" y="6"/>
                      <a:pt x="7" y="8"/>
                    </a:cubicBezTo>
                    <a:cubicBezTo>
                      <a:pt x="6" y="9"/>
                      <a:pt x="3" y="8"/>
                      <a:pt x="2" y="7"/>
                    </a:cubicBezTo>
                    <a:cubicBezTo>
                      <a:pt x="1" y="6"/>
                      <a:pt x="0" y="4"/>
                      <a:pt x="1"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1" name="Freeform 3489">
                <a:extLst>
                  <a:ext uri="{FF2B5EF4-FFF2-40B4-BE49-F238E27FC236}">
                    <a16:creationId xmlns:a16="http://schemas.microsoft.com/office/drawing/2014/main" id="{54CF46AF-1EDE-03B0-227D-CF0641C4E522}"/>
                  </a:ext>
                </a:extLst>
              </p:cNvPr>
              <p:cNvSpPr>
                <a:spLocks noChangeAspect="1"/>
              </p:cNvSpPr>
              <p:nvPr/>
            </p:nvSpPr>
            <p:spPr bwMode="auto">
              <a:xfrm>
                <a:off x="9633105" y="6023211"/>
                <a:ext cx="31907" cy="30735"/>
              </a:xfrm>
              <a:custGeom>
                <a:avLst/>
                <a:gdLst>
                  <a:gd name="T0" fmla="*/ 2 w 7"/>
                  <a:gd name="T1" fmla="*/ 1 h 7"/>
                  <a:gd name="T2" fmla="*/ 9 w 7"/>
                  <a:gd name="T3" fmla="*/ 8 h 7"/>
                  <a:gd name="T4" fmla="*/ 9 w 7"/>
                  <a:gd name="T5" fmla="*/ 15 h 7"/>
                  <a:gd name="T6" fmla="*/ 2 w 7"/>
                  <a:gd name="T7" fmla="*/ 8 h 7"/>
                  <a:gd name="T8" fmla="*/ 2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1"/>
                    </a:moveTo>
                    <a:cubicBezTo>
                      <a:pt x="3" y="0"/>
                      <a:pt x="5" y="2"/>
                      <a:pt x="6" y="4"/>
                    </a:cubicBezTo>
                    <a:cubicBezTo>
                      <a:pt x="6" y="5"/>
                      <a:pt x="7" y="7"/>
                      <a:pt x="6" y="7"/>
                    </a:cubicBezTo>
                    <a:cubicBezTo>
                      <a:pt x="4" y="7"/>
                      <a:pt x="3" y="6"/>
                      <a:pt x="2" y="4"/>
                    </a:cubicBezTo>
                    <a:cubicBezTo>
                      <a:pt x="1" y="3"/>
                      <a:pt x="0" y="1"/>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32" name="Freeform 3490">
                <a:extLst>
                  <a:ext uri="{FF2B5EF4-FFF2-40B4-BE49-F238E27FC236}">
                    <a16:creationId xmlns:a16="http://schemas.microsoft.com/office/drawing/2014/main" id="{D49D4470-B31A-7967-7BE0-5E88BB56C69D}"/>
                  </a:ext>
                </a:extLst>
              </p:cNvPr>
              <p:cNvSpPr>
                <a:spLocks noChangeAspect="1"/>
              </p:cNvSpPr>
              <p:nvPr/>
            </p:nvSpPr>
            <p:spPr bwMode="auto">
              <a:xfrm>
                <a:off x="9617151" y="6053949"/>
                <a:ext cx="47861" cy="20490"/>
              </a:xfrm>
              <a:custGeom>
                <a:avLst/>
                <a:gdLst>
                  <a:gd name="T0" fmla="*/ 2147483646 w 10"/>
                  <a:gd name="T1" fmla="*/ 2147483646 h 5"/>
                  <a:gd name="T2" fmla="*/ 2147483646 w 10"/>
                  <a:gd name="T3" fmla="*/ 2147483646 h 5"/>
                  <a:gd name="T4" fmla="*/ 2147483646 w 10"/>
                  <a:gd name="T5" fmla="*/ 2147483646 h 5"/>
                  <a:gd name="T6" fmla="*/ 2147483646 w 10"/>
                  <a:gd name="T7" fmla="*/ 2147483646 h 5"/>
                  <a:gd name="T8" fmla="*/ 2147483646 w 10"/>
                  <a:gd name="T9" fmla="*/ 2147483646 h 5"/>
                  <a:gd name="T10" fmla="*/ 0 60000 65536"/>
                  <a:gd name="T11" fmla="*/ 0 60000 65536"/>
                  <a:gd name="T12" fmla="*/ 0 60000 65536"/>
                  <a:gd name="T13" fmla="*/ 0 60000 65536"/>
                  <a:gd name="T14" fmla="*/ 0 60000 65536"/>
                  <a:gd name="T15" fmla="*/ 0 w 10"/>
                  <a:gd name="T16" fmla="*/ 0 h 5"/>
                  <a:gd name="T17" fmla="*/ 10 w 10"/>
                  <a:gd name="T18" fmla="*/ 5 h 5"/>
                </a:gdLst>
                <a:ahLst/>
                <a:cxnLst>
                  <a:cxn ang="T10">
                    <a:pos x="T0" y="T1"/>
                  </a:cxn>
                  <a:cxn ang="T11">
                    <a:pos x="T2" y="T3"/>
                  </a:cxn>
                  <a:cxn ang="T12">
                    <a:pos x="T4" y="T5"/>
                  </a:cxn>
                  <a:cxn ang="T13">
                    <a:pos x="T6" y="T7"/>
                  </a:cxn>
                  <a:cxn ang="T14">
                    <a:pos x="T8" y="T9"/>
                  </a:cxn>
                </a:cxnLst>
                <a:rect l="T15" t="T16" r="T17" b="T18"/>
                <a:pathLst>
                  <a:path w="10" h="5">
                    <a:moveTo>
                      <a:pt x="9" y="2"/>
                    </a:moveTo>
                    <a:cubicBezTo>
                      <a:pt x="9" y="3"/>
                      <a:pt x="10" y="4"/>
                      <a:pt x="9" y="5"/>
                    </a:cubicBezTo>
                    <a:cubicBezTo>
                      <a:pt x="6" y="5"/>
                      <a:pt x="3" y="5"/>
                      <a:pt x="1" y="4"/>
                    </a:cubicBezTo>
                    <a:cubicBezTo>
                      <a:pt x="0" y="4"/>
                      <a:pt x="0" y="1"/>
                      <a:pt x="1" y="1"/>
                    </a:cubicBezTo>
                    <a:cubicBezTo>
                      <a:pt x="3" y="0"/>
                      <a:pt x="6" y="1"/>
                      <a:pt x="9"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3" name="Freeform 3491">
                <a:extLst>
                  <a:ext uri="{FF2B5EF4-FFF2-40B4-BE49-F238E27FC236}">
                    <a16:creationId xmlns:a16="http://schemas.microsoft.com/office/drawing/2014/main" id="{D74E7579-4B56-C809-B11D-632AA2F919D0}"/>
                  </a:ext>
                </a:extLst>
              </p:cNvPr>
              <p:cNvSpPr>
                <a:spLocks noChangeAspect="1"/>
              </p:cNvSpPr>
              <p:nvPr/>
            </p:nvSpPr>
            <p:spPr bwMode="auto">
              <a:xfrm>
                <a:off x="9665012" y="6098340"/>
                <a:ext cx="47861" cy="27319"/>
              </a:xfrm>
              <a:custGeom>
                <a:avLst/>
                <a:gdLst>
                  <a:gd name="T0" fmla="*/ 2147483646 w 9"/>
                  <a:gd name="T1" fmla="*/ 0 h 7"/>
                  <a:gd name="T2" fmla="*/ 2147483646 w 9"/>
                  <a:gd name="T3" fmla="*/ 2147483646 h 7"/>
                  <a:gd name="T4" fmla="*/ 2147483646 w 9"/>
                  <a:gd name="T5" fmla="*/ 2147483646 h 7"/>
                  <a:gd name="T6" fmla="*/ 2147483646 w 9"/>
                  <a:gd name="T7" fmla="*/ 2147483646 h 7"/>
                  <a:gd name="T8" fmla="*/ 2147483646 w 9"/>
                  <a:gd name="T9" fmla="*/ 2147483646 h 7"/>
                  <a:gd name="T10" fmla="*/ 2147483646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5" y="0"/>
                    </a:moveTo>
                    <a:cubicBezTo>
                      <a:pt x="4" y="0"/>
                      <a:pt x="0" y="1"/>
                      <a:pt x="1" y="3"/>
                    </a:cubicBezTo>
                    <a:cubicBezTo>
                      <a:pt x="1" y="5"/>
                      <a:pt x="5" y="6"/>
                      <a:pt x="7" y="7"/>
                    </a:cubicBezTo>
                    <a:cubicBezTo>
                      <a:pt x="9" y="7"/>
                      <a:pt x="6" y="5"/>
                      <a:pt x="6" y="4"/>
                    </a:cubicBezTo>
                    <a:cubicBezTo>
                      <a:pt x="6" y="3"/>
                      <a:pt x="7" y="2"/>
                      <a:pt x="7" y="1"/>
                    </a:cubicBezTo>
                    <a:cubicBezTo>
                      <a:pt x="7" y="0"/>
                      <a:pt x="6" y="0"/>
                      <a:pt x="5"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4" name="Freeform 3492">
                <a:extLst>
                  <a:ext uri="{FF2B5EF4-FFF2-40B4-BE49-F238E27FC236}">
                    <a16:creationId xmlns:a16="http://schemas.microsoft.com/office/drawing/2014/main" id="{3C4D378E-C34F-02B0-2AE9-D17B58AADEC6}"/>
                  </a:ext>
                </a:extLst>
              </p:cNvPr>
              <p:cNvSpPr>
                <a:spLocks noChangeAspect="1"/>
              </p:cNvSpPr>
              <p:nvPr/>
            </p:nvSpPr>
            <p:spPr bwMode="auto">
              <a:xfrm>
                <a:off x="9720853" y="6094928"/>
                <a:ext cx="39884" cy="17074"/>
              </a:xfrm>
              <a:custGeom>
                <a:avLst/>
                <a:gdLst>
                  <a:gd name="T0" fmla="*/ 1 w 8"/>
                  <a:gd name="T1" fmla="*/ 1 h 4"/>
                  <a:gd name="T2" fmla="*/ 1 w 8"/>
                  <a:gd name="T3" fmla="*/ 8 h 4"/>
                  <a:gd name="T4" fmla="*/ 14 w 8"/>
                  <a:gd name="T5" fmla="*/ 5 h 4"/>
                  <a:gd name="T6" fmla="*/ 11 w 8"/>
                  <a:gd name="T7" fmla="*/ 1 h 4"/>
                  <a:gd name="T8" fmla="*/ 1 w 8"/>
                  <a:gd name="T9" fmla="*/ 1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1" y="1"/>
                    </a:moveTo>
                    <a:cubicBezTo>
                      <a:pt x="0" y="2"/>
                      <a:pt x="0" y="4"/>
                      <a:pt x="1" y="4"/>
                    </a:cubicBezTo>
                    <a:cubicBezTo>
                      <a:pt x="3" y="4"/>
                      <a:pt x="6" y="3"/>
                      <a:pt x="7" y="2"/>
                    </a:cubicBezTo>
                    <a:cubicBezTo>
                      <a:pt x="8" y="2"/>
                      <a:pt x="6" y="1"/>
                      <a:pt x="6" y="1"/>
                    </a:cubicBezTo>
                    <a:cubicBezTo>
                      <a:pt x="4" y="1"/>
                      <a:pt x="2" y="0"/>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35" name="Freeform 3493">
                <a:extLst>
                  <a:ext uri="{FF2B5EF4-FFF2-40B4-BE49-F238E27FC236}">
                    <a16:creationId xmlns:a16="http://schemas.microsoft.com/office/drawing/2014/main" id="{3BBEA808-CEF3-219D-77D8-B9DCA34344D0}"/>
                  </a:ext>
                </a:extLst>
              </p:cNvPr>
              <p:cNvSpPr>
                <a:spLocks noChangeAspect="1"/>
              </p:cNvSpPr>
              <p:nvPr/>
            </p:nvSpPr>
            <p:spPr bwMode="auto">
              <a:xfrm>
                <a:off x="9537383" y="5917350"/>
                <a:ext cx="79769" cy="64882"/>
              </a:xfrm>
              <a:custGeom>
                <a:avLst/>
                <a:gdLst>
                  <a:gd name="T0" fmla="*/ 2147483646 w 17"/>
                  <a:gd name="T1" fmla="*/ 0 h 16"/>
                  <a:gd name="T2" fmla="*/ 2147483646 w 17"/>
                  <a:gd name="T3" fmla="*/ 2147483646 h 16"/>
                  <a:gd name="T4" fmla="*/ 2147483646 w 17"/>
                  <a:gd name="T5" fmla="*/ 2147483646 h 16"/>
                  <a:gd name="T6" fmla="*/ 2147483646 w 17"/>
                  <a:gd name="T7" fmla="*/ 2147483646 h 16"/>
                  <a:gd name="T8" fmla="*/ 2147483646 w 17"/>
                  <a:gd name="T9" fmla="*/ 2147483646 h 16"/>
                  <a:gd name="T10" fmla="*/ 2147483646 w 17"/>
                  <a:gd name="T11" fmla="*/ 2147483646 h 16"/>
                  <a:gd name="T12" fmla="*/ 2147483646 w 17"/>
                  <a:gd name="T13" fmla="*/ 2147483646 h 16"/>
                  <a:gd name="T14" fmla="*/ 2147483646 w 17"/>
                  <a:gd name="T15" fmla="*/ 2147483646 h 16"/>
                  <a:gd name="T16" fmla="*/ 2147483646 w 17"/>
                  <a:gd name="T17" fmla="*/ 2147483646 h 16"/>
                  <a:gd name="T18" fmla="*/ 2147483646 w 17"/>
                  <a:gd name="T19" fmla="*/ 2147483646 h 16"/>
                  <a:gd name="T20" fmla="*/ 2147483646 w 17"/>
                  <a:gd name="T21" fmla="*/ 2147483646 h 16"/>
                  <a:gd name="T22" fmla="*/ 2147483646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6" name="Freeform 3494">
                <a:extLst>
                  <a:ext uri="{FF2B5EF4-FFF2-40B4-BE49-F238E27FC236}">
                    <a16:creationId xmlns:a16="http://schemas.microsoft.com/office/drawing/2014/main" id="{12456CCE-3B07-6E59-A89A-B478AE0C8BDE}"/>
                  </a:ext>
                </a:extLst>
              </p:cNvPr>
              <p:cNvSpPr>
                <a:spLocks noChangeAspect="1"/>
              </p:cNvSpPr>
              <p:nvPr/>
            </p:nvSpPr>
            <p:spPr bwMode="auto">
              <a:xfrm>
                <a:off x="9425707" y="5917350"/>
                <a:ext cx="111676" cy="51223"/>
              </a:xfrm>
              <a:custGeom>
                <a:avLst/>
                <a:gdLst>
                  <a:gd name="T0" fmla="*/ 2147483646 w 22"/>
                  <a:gd name="T1" fmla="*/ 2147483646 h 12"/>
                  <a:gd name="T2" fmla="*/ 2147483646 w 22"/>
                  <a:gd name="T3" fmla="*/ 2147483646 h 12"/>
                  <a:gd name="T4" fmla="*/ 2147483646 w 22"/>
                  <a:gd name="T5" fmla="*/ 2147483646 h 12"/>
                  <a:gd name="T6" fmla="*/ 2147483646 w 22"/>
                  <a:gd name="T7" fmla="*/ 2147483646 h 12"/>
                  <a:gd name="T8" fmla="*/ 2147483646 w 22"/>
                  <a:gd name="T9" fmla="*/ 2147483646 h 12"/>
                  <a:gd name="T10" fmla="*/ 2147483646 w 22"/>
                  <a:gd name="T11" fmla="*/ 2147483646 h 12"/>
                  <a:gd name="T12" fmla="*/ 2147483646 w 22"/>
                  <a:gd name="T13" fmla="*/ 2147483646 h 12"/>
                  <a:gd name="T14" fmla="*/ 2147483646 w 22"/>
                  <a:gd name="T15" fmla="*/ 2147483646 h 12"/>
                  <a:gd name="T16" fmla="*/ 2147483646 w 22"/>
                  <a:gd name="T17" fmla="*/ 2147483646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7" name="Freeform 3495">
                <a:extLst>
                  <a:ext uri="{FF2B5EF4-FFF2-40B4-BE49-F238E27FC236}">
                    <a16:creationId xmlns:a16="http://schemas.microsoft.com/office/drawing/2014/main" id="{E3BA9CEF-4839-0632-E4A7-EEC3BE3C52B3}"/>
                  </a:ext>
                </a:extLst>
              </p:cNvPr>
              <p:cNvSpPr>
                <a:spLocks noChangeAspect="1"/>
              </p:cNvSpPr>
              <p:nvPr/>
            </p:nvSpPr>
            <p:spPr bwMode="auto">
              <a:xfrm>
                <a:off x="9489524" y="5869541"/>
                <a:ext cx="55838" cy="78542"/>
              </a:xfrm>
              <a:custGeom>
                <a:avLst/>
                <a:gdLst>
                  <a:gd name="T0" fmla="*/ 2147483646 w 12"/>
                  <a:gd name="T1" fmla="*/ 0 h 19"/>
                  <a:gd name="T2" fmla="*/ 2147483646 w 12"/>
                  <a:gd name="T3" fmla="*/ 2147483646 h 19"/>
                  <a:gd name="T4" fmla="*/ 2147483646 w 12"/>
                  <a:gd name="T5" fmla="*/ 2147483646 h 19"/>
                  <a:gd name="T6" fmla="*/ 2147483646 w 12"/>
                  <a:gd name="T7" fmla="*/ 2147483646 h 19"/>
                  <a:gd name="T8" fmla="*/ 2147483646 w 12"/>
                  <a:gd name="T9" fmla="*/ 2147483646 h 19"/>
                  <a:gd name="T10" fmla="*/ 2147483646 w 12"/>
                  <a:gd name="T11" fmla="*/ 2147483646 h 19"/>
                  <a:gd name="T12" fmla="*/ 2147483646 w 12"/>
                  <a:gd name="T13" fmla="*/ 2147483646 h 19"/>
                  <a:gd name="T14" fmla="*/ 2147483646 w 12"/>
                  <a:gd name="T15" fmla="*/ 2147483646 h 19"/>
                  <a:gd name="T16" fmla="*/ 2147483646 w 12"/>
                  <a:gd name="T17" fmla="*/ 2147483646 h 19"/>
                  <a:gd name="T18" fmla="*/ 2147483646 w 12"/>
                  <a:gd name="T19" fmla="*/ 2147483646 h 19"/>
                  <a:gd name="T20" fmla="*/ 2147483646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8" name="Freeform 3496">
                <a:extLst>
                  <a:ext uri="{FF2B5EF4-FFF2-40B4-BE49-F238E27FC236}">
                    <a16:creationId xmlns:a16="http://schemas.microsoft.com/office/drawing/2014/main" id="{538A6820-E714-71FB-47DC-A39AEA8C43D3}"/>
                  </a:ext>
                </a:extLst>
              </p:cNvPr>
              <p:cNvSpPr>
                <a:spLocks noChangeAspect="1"/>
              </p:cNvSpPr>
              <p:nvPr/>
            </p:nvSpPr>
            <p:spPr bwMode="auto">
              <a:xfrm>
                <a:off x="9441663" y="5835392"/>
                <a:ext cx="23931" cy="23903"/>
              </a:xfrm>
              <a:custGeom>
                <a:avLst/>
                <a:gdLst>
                  <a:gd name="T0" fmla="*/ 1 w 5"/>
                  <a:gd name="T1" fmla="*/ 2 h 6"/>
                  <a:gd name="T2" fmla="*/ 8 w 5"/>
                  <a:gd name="T3" fmla="*/ 9 h 6"/>
                  <a:gd name="T4" fmla="*/ 8 w 5"/>
                  <a:gd name="T5" fmla="*/ 7 h 6"/>
                  <a:gd name="T6" fmla="*/ 6 w 5"/>
                  <a:gd name="T7" fmla="*/ 0 h 6"/>
                  <a:gd name="T8" fmla="*/ 1 w 5"/>
                  <a:gd name="T9" fmla="*/ 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2"/>
                    </a:moveTo>
                    <a:cubicBezTo>
                      <a:pt x="1" y="4"/>
                      <a:pt x="3" y="5"/>
                      <a:pt x="5" y="6"/>
                    </a:cubicBezTo>
                    <a:cubicBezTo>
                      <a:pt x="5" y="6"/>
                      <a:pt x="5" y="5"/>
                      <a:pt x="5" y="4"/>
                    </a:cubicBezTo>
                    <a:cubicBezTo>
                      <a:pt x="5" y="3"/>
                      <a:pt x="4" y="1"/>
                      <a:pt x="3" y="0"/>
                    </a:cubicBezTo>
                    <a:cubicBezTo>
                      <a:pt x="2" y="0"/>
                      <a:pt x="0" y="2"/>
                      <a:pt x="1"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39" name="Freeform 3497">
                <a:extLst>
                  <a:ext uri="{FF2B5EF4-FFF2-40B4-BE49-F238E27FC236}">
                    <a16:creationId xmlns:a16="http://schemas.microsoft.com/office/drawing/2014/main" id="{DDEF7659-8098-AAEB-3281-E2CED6CB1BE5}"/>
                  </a:ext>
                </a:extLst>
              </p:cNvPr>
              <p:cNvSpPr>
                <a:spLocks noChangeAspect="1"/>
              </p:cNvSpPr>
              <p:nvPr/>
            </p:nvSpPr>
            <p:spPr bwMode="auto">
              <a:xfrm>
                <a:off x="9393799" y="5773923"/>
                <a:ext cx="31907" cy="37563"/>
              </a:xfrm>
              <a:custGeom>
                <a:avLst/>
                <a:gdLst>
                  <a:gd name="T0" fmla="*/ 2147483646 w 7"/>
                  <a:gd name="T1" fmla="*/ 0 h 9"/>
                  <a:gd name="T2" fmla="*/ 2147483646 w 7"/>
                  <a:gd name="T3" fmla="*/ 2147483646 h 9"/>
                  <a:gd name="T4" fmla="*/ 2147483646 w 7"/>
                  <a:gd name="T5" fmla="*/ 2147483646 h 9"/>
                  <a:gd name="T6" fmla="*/ 2147483646 w 7"/>
                  <a:gd name="T7" fmla="*/ 2147483646 h 9"/>
                  <a:gd name="T8" fmla="*/ 2147483646 w 7"/>
                  <a:gd name="T9" fmla="*/ 2147483646 h 9"/>
                  <a:gd name="T10" fmla="*/ 2147483646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1" y="0"/>
                    </a:moveTo>
                    <a:cubicBezTo>
                      <a:pt x="3" y="0"/>
                      <a:pt x="5" y="1"/>
                      <a:pt x="6" y="2"/>
                    </a:cubicBezTo>
                    <a:cubicBezTo>
                      <a:pt x="7" y="4"/>
                      <a:pt x="7" y="6"/>
                      <a:pt x="7" y="8"/>
                    </a:cubicBezTo>
                    <a:cubicBezTo>
                      <a:pt x="6" y="9"/>
                      <a:pt x="4" y="8"/>
                      <a:pt x="3" y="8"/>
                    </a:cubicBezTo>
                    <a:cubicBezTo>
                      <a:pt x="2" y="7"/>
                      <a:pt x="2" y="6"/>
                      <a:pt x="1" y="5"/>
                    </a:cubicBezTo>
                    <a:cubicBezTo>
                      <a:pt x="1" y="3"/>
                      <a:pt x="0" y="1"/>
                      <a:pt x="1" y="0"/>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0" name="Freeform 3498">
                <a:extLst>
                  <a:ext uri="{FF2B5EF4-FFF2-40B4-BE49-F238E27FC236}">
                    <a16:creationId xmlns:a16="http://schemas.microsoft.com/office/drawing/2014/main" id="{3D2744DC-668A-2204-C3FE-F1BB4A270250}"/>
                  </a:ext>
                </a:extLst>
              </p:cNvPr>
              <p:cNvSpPr>
                <a:spLocks noChangeAspect="1"/>
              </p:cNvSpPr>
              <p:nvPr/>
            </p:nvSpPr>
            <p:spPr bwMode="auto">
              <a:xfrm>
                <a:off x="9345938" y="5630498"/>
                <a:ext cx="63815" cy="102448"/>
              </a:xfrm>
              <a:custGeom>
                <a:avLst/>
                <a:gdLst>
                  <a:gd name="T0" fmla="*/ 2147483646 w 14"/>
                  <a:gd name="T1" fmla="*/ 2147483646 h 25"/>
                  <a:gd name="T2" fmla="*/ 2147483646 w 14"/>
                  <a:gd name="T3" fmla="*/ 2147483646 h 25"/>
                  <a:gd name="T4" fmla="*/ 2147483646 w 14"/>
                  <a:gd name="T5" fmla="*/ 2147483646 h 25"/>
                  <a:gd name="T6" fmla="*/ 2147483646 w 14"/>
                  <a:gd name="T7" fmla="*/ 2147483646 h 25"/>
                  <a:gd name="T8" fmla="*/ 2147483646 w 14"/>
                  <a:gd name="T9" fmla="*/ 2147483646 h 25"/>
                  <a:gd name="T10" fmla="*/ 2147483646 w 14"/>
                  <a:gd name="T11" fmla="*/ 2147483646 h 25"/>
                  <a:gd name="T12" fmla="*/ 2147483646 w 14"/>
                  <a:gd name="T13" fmla="*/ 2147483646 h 25"/>
                  <a:gd name="T14" fmla="*/ 2147483646 w 14"/>
                  <a:gd name="T15" fmla="*/ 2147483646 h 25"/>
                  <a:gd name="T16" fmla="*/ 2147483646 w 14"/>
                  <a:gd name="T17" fmla="*/ 2147483646 h 25"/>
                  <a:gd name="T18" fmla="*/ 2147483646 w 14"/>
                  <a:gd name="T19" fmla="*/ 2147483646 h 25"/>
                  <a:gd name="T20" fmla="*/ 2147483646 w 14"/>
                  <a:gd name="T21" fmla="*/ 2147483646 h 25"/>
                  <a:gd name="T22" fmla="*/ 2147483646 w 14"/>
                  <a:gd name="T23" fmla="*/ 2147483646 h 25"/>
                  <a:gd name="T24" fmla="*/ 2147483646 w 14"/>
                  <a:gd name="T25" fmla="*/ 2147483646 h 25"/>
                  <a:gd name="T26" fmla="*/ 2147483646 w 14"/>
                  <a:gd name="T27" fmla="*/ 2147483646 h 25"/>
                  <a:gd name="T28" fmla="*/ 2147483646 w 14"/>
                  <a:gd name="T29" fmla="*/ 2147483646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1" name="Freeform 3499">
                <a:extLst>
                  <a:ext uri="{FF2B5EF4-FFF2-40B4-BE49-F238E27FC236}">
                    <a16:creationId xmlns:a16="http://schemas.microsoft.com/office/drawing/2014/main" id="{A98316C5-A70C-E9FA-7777-5040027F497E}"/>
                  </a:ext>
                </a:extLst>
              </p:cNvPr>
              <p:cNvSpPr>
                <a:spLocks noChangeAspect="1"/>
              </p:cNvSpPr>
              <p:nvPr/>
            </p:nvSpPr>
            <p:spPr bwMode="auto">
              <a:xfrm>
                <a:off x="9329987" y="5586101"/>
                <a:ext cx="23931" cy="54639"/>
              </a:xfrm>
              <a:custGeom>
                <a:avLst/>
                <a:gdLst>
                  <a:gd name="T0" fmla="*/ 2147483646 w 5"/>
                  <a:gd name="T1" fmla="*/ 2147483646 h 13"/>
                  <a:gd name="T2" fmla="*/ 0 w 5"/>
                  <a:gd name="T3" fmla="*/ 2147483646 h 13"/>
                  <a:gd name="T4" fmla="*/ 2147483646 w 5"/>
                  <a:gd name="T5" fmla="*/ 2147483646 h 13"/>
                  <a:gd name="T6" fmla="*/ 2147483646 w 5"/>
                  <a:gd name="T7" fmla="*/ 2147483646 h 13"/>
                  <a:gd name="T8" fmla="*/ 2147483646 w 5"/>
                  <a:gd name="T9" fmla="*/ 2147483646 h 13"/>
                  <a:gd name="T10" fmla="*/ 2147483646 w 5"/>
                  <a:gd name="T11" fmla="*/ 2147483646 h 13"/>
                  <a:gd name="T12" fmla="*/ 2147483646 w 5"/>
                  <a:gd name="T13" fmla="*/ 2147483646 h 13"/>
                  <a:gd name="T14" fmla="*/ 0 60000 65536"/>
                  <a:gd name="T15" fmla="*/ 0 60000 65536"/>
                  <a:gd name="T16" fmla="*/ 0 60000 65536"/>
                  <a:gd name="T17" fmla="*/ 0 60000 65536"/>
                  <a:gd name="T18" fmla="*/ 0 60000 65536"/>
                  <a:gd name="T19" fmla="*/ 0 60000 65536"/>
                  <a:gd name="T20" fmla="*/ 0 60000 65536"/>
                  <a:gd name="T21" fmla="*/ 0 w 5"/>
                  <a:gd name="T22" fmla="*/ 0 h 13"/>
                  <a:gd name="T23" fmla="*/ 5 w 5"/>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3">
                    <a:moveTo>
                      <a:pt x="2" y="1"/>
                    </a:moveTo>
                    <a:cubicBezTo>
                      <a:pt x="2" y="0"/>
                      <a:pt x="0" y="0"/>
                      <a:pt x="0" y="1"/>
                    </a:cubicBezTo>
                    <a:cubicBezTo>
                      <a:pt x="0" y="3"/>
                      <a:pt x="2" y="4"/>
                      <a:pt x="2" y="6"/>
                    </a:cubicBezTo>
                    <a:cubicBezTo>
                      <a:pt x="2" y="8"/>
                      <a:pt x="1" y="10"/>
                      <a:pt x="2" y="12"/>
                    </a:cubicBezTo>
                    <a:cubicBezTo>
                      <a:pt x="2" y="13"/>
                      <a:pt x="3" y="12"/>
                      <a:pt x="4" y="11"/>
                    </a:cubicBezTo>
                    <a:cubicBezTo>
                      <a:pt x="4" y="10"/>
                      <a:pt x="5" y="9"/>
                      <a:pt x="5" y="8"/>
                    </a:cubicBezTo>
                    <a:cubicBezTo>
                      <a:pt x="4" y="5"/>
                      <a:pt x="4" y="3"/>
                      <a:pt x="2"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2" name="Freeform 3500">
                <a:extLst>
                  <a:ext uri="{FF2B5EF4-FFF2-40B4-BE49-F238E27FC236}">
                    <a16:creationId xmlns:a16="http://schemas.microsoft.com/office/drawing/2014/main" id="{94D37875-1E8A-6C7A-87CD-275B4B5E7167}"/>
                  </a:ext>
                </a:extLst>
              </p:cNvPr>
              <p:cNvSpPr>
                <a:spLocks noChangeAspect="1"/>
              </p:cNvSpPr>
              <p:nvPr/>
            </p:nvSpPr>
            <p:spPr bwMode="auto">
              <a:xfrm>
                <a:off x="9361894" y="5603177"/>
                <a:ext cx="23931" cy="23903"/>
              </a:xfrm>
              <a:custGeom>
                <a:avLst/>
                <a:gdLst>
                  <a:gd name="T0" fmla="*/ 0 w 5"/>
                  <a:gd name="T1" fmla="*/ 6 h 6"/>
                  <a:gd name="T2" fmla="*/ 7 w 5"/>
                  <a:gd name="T3" fmla="*/ 9 h 6"/>
                  <a:gd name="T4" fmla="*/ 7 w 5"/>
                  <a:gd name="T5" fmla="*/ 6 h 6"/>
                  <a:gd name="T6" fmla="*/ 6 w 5"/>
                  <a:gd name="T7" fmla="*/ 0 h 6"/>
                  <a:gd name="T8" fmla="*/ 0 w 5"/>
                  <a:gd name="T9" fmla="*/ 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3"/>
                    </a:moveTo>
                    <a:cubicBezTo>
                      <a:pt x="1" y="4"/>
                      <a:pt x="3" y="6"/>
                      <a:pt x="4" y="6"/>
                    </a:cubicBezTo>
                    <a:cubicBezTo>
                      <a:pt x="5" y="6"/>
                      <a:pt x="4" y="4"/>
                      <a:pt x="4" y="3"/>
                    </a:cubicBezTo>
                    <a:cubicBezTo>
                      <a:pt x="4" y="2"/>
                      <a:pt x="4" y="0"/>
                      <a:pt x="3" y="0"/>
                    </a:cubicBezTo>
                    <a:cubicBezTo>
                      <a:pt x="2" y="0"/>
                      <a:pt x="0" y="2"/>
                      <a:pt x="0"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43" name="Freeform 3501">
                <a:extLst>
                  <a:ext uri="{FF2B5EF4-FFF2-40B4-BE49-F238E27FC236}">
                    <a16:creationId xmlns:a16="http://schemas.microsoft.com/office/drawing/2014/main" id="{6608E6BF-4FEF-FB6F-53B6-ADAB6627F58B}"/>
                  </a:ext>
                </a:extLst>
              </p:cNvPr>
              <p:cNvSpPr>
                <a:spLocks noChangeAspect="1"/>
              </p:cNvSpPr>
              <p:nvPr/>
            </p:nvSpPr>
            <p:spPr bwMode="auto">
              <a:xfrm>
                <a:off x="9329984" y="5166069"/>
                <a:ext cx="63815" cy="116107"/>
              </a:xfrm>
              <a:custGeom>
                <a:avLst/>
                <a:gdLst>
                  <a:gd name="T0" fmla="*/ 2147483646 w 12"/>
                  <a:gd name="T1" fmla="*/ 2147483646 h 28"/>
                  <a:gd name="T2" fmla="*/ 2147483646 w 12"/>
                  <a:gd name="T3" fmla="*/ 2147483646 h 28"/>
                  <a:gd name="T4" fmla="*/ 2147483646 w 12"/>
                  <a:gd name="T5" fmla="*/ 2147483646 h 28"/>
                  <a:gd name="T6" fmla="*/ 2147483646 w 12"/>
                  <a:gd name="T7" fmla="*/ 2147483646 h 28"/>
                  <a:gd name="T8" fmla="*/ 2147483646 w 12"/>
                  <a:gd name="T9" fmla="*/ 2147483646 h 28"/>
                  <a:gd name="T10" fmla="*/ 2147483646 w 12"/>
                  <a:gd name="T11" fmla="*/ 2147483646 h 28"/>
                  <a:gd name="T12" fmla="*/ 2147483646 w 12"/>
                  <a:gd name="T13" fmla="*/ 2147483646 h 28"/>
                  <a:gd name="T14" fmla="*/ 2147483646 w 12"/>
                  <a:gd name="T15" fmla="*/ 2147483646 h 28"/>
                  <a:gd name="T16" fmla="*/ 2147483646 w 12"/>
                  <a:gd name="T17" fmla="*/ 2147483646 h 28"/>
                  <a:gd name="T18" fmla="*/ 2147483646 w 12"/>
                  <a:gd name="T19" fmla="*/ 2147483646 h 28"/>
                  <a:gd name="T20" fmla="*/ 2147483646 w 12"/>
                  <a:gd name="T21" fmla="*/ 2147483646 h 28"/>
                  <a:gd name="T22" fmla="*/ 2147483646 w 12"/>
                  <a:gd name="T23" fmla="*/ 2147483646 h 28"/>
                  <a:gd name="T24" fmla="*/ 2147483646 w 12"/>
                  <a:gd name="T25" fmla="*/ 2147483646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4" name="Freeform 3502">
                <a:extLst>
                  <a:ext uri="{FF2B5EF4-FFF2-40B4-BE49-F238E27FC236}">
                    <a16:creationId xmlns:a16="http://schemas.microsoft.com/office/drawing/2014/main" id="{3E7B739D-7E88-2727-055A-FFF6B1C1F8AC}"/>
                  </a:ext>
                </a:extLst>
              </p:cNvPr>
              <p:cNvSpPr>
                <a:spLocks noChangeAspect="1"/>
              </p:cNvSpPr>
              <p:nvPr/>
            </p:nvSpPr>
            <p:spPr bwMode="auto">
              <a:xfrm>
                <a:off x="9417730" y="5347058"/>
                <a:ext cx="31907" cy="34149"/>
              </a:xfrm>
              <a:custGeom>
                <a:avLst/>
                <a:gdLst>
                  <a:gd name="T0" fmla="*/ 2147483646 w 7"/>
                  <a:gd name="T1" fmla="*/ 2147483646 h 8"/>
                  <a:gd name="T2" fmla="*/ 2147483646 w 7"/>
                  <a:gd name="T3" fmla="*/ 2147483646 h 8"/>
                  <a:gd name="T4" fmla="*/ 2147483646 w 7"/>
                  <a:gd name="T5" fmla="*/ 2147483646 h 8"/>
                  <a:gd name="T6" fmla="*/ 2147483646 w 7"/>
                  <a:gd name="T7" fmla="*/ 0 h 8"/>
                  <a:gd name="T8" fmla="*/ 0 w 7"/>
                  <a:gd name="T9" fmla="*/ 2147483646 h 8"/>
                  <a:gd name="T10" fmla="*/ 2147483646 w 7"/>
                  <a:gd name="T11" fmla="*/ 2147483646 h 8"/>
                  <a:gd name="T12" fmla="*/ 2147483646 w 7"/>
                  <a:gd name="T13" fmla="*/ 2147483646 h 8"/>
                  <a:gd name="T14" fmla="*/ 0 60000 65536"/>
                  <a:gd name="T15" fmla="*/ 0 60000 65536"/>
                  <a:gd name="T16" fmla="*/ 0 60000 65536"/>
                  <a:gd name="T17" fmla="*/ 0 60000 65536"/>
                  <a:gd name="T18" fmla="*/ 0 60000 65536"/>
                  <a:gd name="T19" fmla="*/ 0 60000 65536"/>
                  <a:gd name="T20" fmla="*/ 0 60000 65536"/>
                  <a:gd name="T21" fmla="*/ 0 w 7"/>
                  <a:gd name="T22" fmla="*/ 0 h 8"/>
                  <a:gd name="T23" fmla="*/ 7 w 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8">
                    <a:moveTo>
                      <a:pt x="2" y="7"/>
                    </a:moveTo>
                    <a:cubicBezTo>
                      <a:pt x="4" y="7"/>
                      <a:pt x="5" y="6"/>
                      <a:pt x="5" y="5"/>
                    </a:cubicBezTo>
                    <a:cubicBezTo>
                      <a:pt x="6" y="4"/>
                      <a:pt x="7" y="2"/>
                      <a:pt x="6" y="1"/>
                    </a:cubicBezTo>
                    <a:cubicBezTo>
                      <a:pt x="5" y="0"/>
                      <a:pt x="4" y="0"/>
                      <a:pt x="2" y="0"/>
                    </a:cubicBezTo>
                    <a:cubicBezTo>
                      <a:pt x="1" y="0"/>
                      <a:pt x="0" y="2"/>
                      <a:pt x="0" y="3"/>
                    </a:cubicBezTo>
                    <a:cubicBezTo>
                      <a:pt x="0" y="4"/>
                      <a:pt x="0" y="5"/>
                      <a:pt x="1" y="6"/>
                    </a:cubicBezTo>
                    <a:cubicBezTo>
                      <a:pt x="1" y="7"/>
                      <a:pt x="2" y="8"/>
                      <a:pt x="2" y="7"/>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5" name="Freeform 3503">
                <a:extLst>
                  <a:ext uri="{FF2B5EF4-FFF2-40B4-BE49-F238E27FC236}">
                    <a16:creationId xmlns:a16="http://schemas.microsoft.com/office/drawing/2014/main" id="{6F04BDE2-8697-51E0-4725-560144400AE0}"/>
                  </a:ext>
                </a:extLst>
              </p:cNvPr>
              <p:cNvSpPr>
                <a:spLocks noChangeAspect="1"/>
              </p:cNvSpPr>
              <p:nvPr/>
            </p:nvSpPr>
            <p:spPr bwMode="auto">
              <a:xfrm>
                <a:off x="9417732" y="5405113"/>
                <a:ext cx="23931" cy="20490"/>
              </a:xfrm>
              <a:custGeom>
                <a:avLst/>
                <a:gdLst>
                  <a:gd name="T0" fmla="*/ 0 w 5"/>
                  <a:gd name="T1" fmla="*/ 1 h 5"/>
                  <a:gd name="T2" fmla="*/ 1 w 5"/>
                  <a:gd name="T3" fmla="*/ 7 h 5"/>
                  <a:gd name="T4" fmla="*/ 7 w 5"/>
                  <a:gd name="T5" fmla="*/ 6 h 5"/>
                  <a:gd name="T6" fmla="*/ 2 w 5"/>
                  <a:gd name="T7" fmla="*/ 1 h 5"/>
                  <a:gd name="T8" fmla="*/ 0 w 5"/>
                  <a:gd name="T9" fmla="*/ 1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1"/>
                    </a:moveTo>
                    <a:cubicBezTo>
                      <a:pt x="0" y="2"/>
                      <a:pt x="0" y="4"/>
                      <a:pt x="1" y="4"/>
                    </a:cubicBezTo>
                    <a:cubicBezTo>
                      <a:pt x="2" y="5"/>
                      <a:pt x="4" y="4"/>
                      <a:pt x="4" y="3"/>
                    </a:cubicBezTo>
                    <a:cubicBezTo>
                      <a:pt x="5" y="2"/>
                      <a:pt x="3" y="1"/>
                      <a:pt x="2" y="1"/>
                    </a:cubicBezTo>
                    <a:cubicBezTo>
                      <a:pt x="2" y="1"/>
                      <a:pt x="0" y="0"/>
                      <a:pt x="0"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46" name="Freeform 3504">
                <a:extLst>
                  <a:ext uri="{FF2B5EF4-FFF2-40B4-BE49-F238E27FC236}">
                    <a16:creationId xmlns:a16="http://schemas.microsoft.com/office/drawing/2014/main" id="{DD537163-A0E7-9526-D67A-17C34D45BE81}"/>
                  </a:ext>
                </a:extLst>
              </p:cNvPr>
              <p:cNvSpPr>
                <a:spLocks noChangeAspect="1"/>
              </p:cNvSpPr>
              <p:nvPr/>
            </p:nvSpPr>
            <p:spPr bwMode="auto">
              <a:xfrm>
                <a:off x="9353915" y="5350474"/>
                <a:ext cx="31907" cy="20490"/>
              </a:xfrm>
              <a:custGeom>
                <a:avLst/>
                <a:gdLst>
                  <a:gd name="T0" fmla="*/ 2147483646 w 6"/>
                  <a:gd name="T1" fmla="*/ 2147483646 h 5"/>
                  <a:gd name="T2" fmla="*/ 2147483646 w 6"/>
                  <a:gd name="T3" fmla="*/ 2147483646 h 5"/>
                  <a:gd name="T4" fmla="*/ 2147483646 w 6"/>
                  <a:gd name="T5" fmla="*/ 2147483646 h 5"/>
                  <a:gd name="T6" fmla="*/ 2147483646 w 6"/>
                  <a:gd name="T7" fmla="*/ 2147483646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2" y="0"/>
                      <a:pt x="5" y="1"/>
                      <a:pt x="5" y="2"/>
                    </a:cubicBezTo>
                    <a:cubicBezTo>
                      <a:pt x="6" y="4"/>
                      <a:pt x="3" y="5"/>
                      <a:pt x="1" y="4"/>
                    </a:cubicBezTo>
                    <a:cubicBezTo>
                      <a:pt x="0" y="4"/>
                      <a:pt x="0" y="1"/>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7" name="Freeform 3506">
                <a:extLst>
                  <a:ext uri="{FF2B5EF4-FFF2-40B4-BE49-F238E27FC236}">
                    <a16:creationId xmlns:a16="http://schemas.microsoft.com/office/drawing/2014/main" id="{68BF3201-0D82-03DB-EF49-80439683E974}"/>
                  </a:ext>
                </a:extLst>
              </p:cNvPr>
              <p:cNvSpPr>
                <a:spLocks noChangeAspect="1"/>
              </p:cNvSpPr>
              <p:nvPr/>
            </p:nvSpPr>
            <p:spPr bwMode="auto">
              <a:xfrm>
                <a:off x="10502585" y="2615119"/>
                <a:ext cx="39884" cy="47809"/>
              </a:xfrm>
              <a:custGeom>
                <a:avLst/>
                <a:gdLst>
                  <a:gd name="T0" fmla="*/ 0 w 7"/>
                  <a:gd name="T1" fmla="*/ 19 h 12"/>
                  <a:gd name="T2" fmla="*/ 1 w 7"/>
                  <a:gd name="T3" fmla="*/ 19 h 12"/>
                  <a:gd name="T4" fmla="*/ 10 w 7"/>
                  <a:gd name="T5" fmla="*/ 11 h 12"/>
                  <a:gd name="T6" fmla="*/ 15 w 7"/>
                  <a:gd name="T7" fmla="*/ 1 h 12"/>
                  <a:gd name="T8" fmla="*/ 8 w 7"/>
                  <a:gd name="T9" fmla="*/ 6 h 12"/>
                  <a:gd name="T10" fmla="*/ 6 w 7"/>
                  <a:gd name="T11" fmla="*/ 13 h 12"/>
                  <a:gd name="T12" fmla="*/ 0 w 7"/>
                  <a:gd name="T13" fmla="*/ 19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48" name="Freeform 3507">
                <a:extLst>
                  <a:ext uri="{FF2B5EF4-FFF2-40B4-BE49-F238E27FC236}">
                    <a16:creationId xmlns:a16="http://schemas.microsoft.com/office/drawing/2014/main" id="{66611F7A-D7AC-4C80-F96F-774C70C1B176}"/>
                  </a:ext>
                </a:extLst>
              </p:cNvPr>
              <p:cNvSpPr>
                <a:spLocks noChangeAspect="1"/>
              </p:cNvSpPr>
              <p:nvPr/>
            </p:nvSpPr>
            <p:spPr bwMode="auto">
              <a:xfrm>
                <a:off x="10590331" y="2560480"/>
                <a:ext cx="39884" cy="20490"/>
              </a:xfrm>
              <a:custGeom>
                <a:avLst/>
                <a:gdLst>
                  <a:gd name="T0" fmla="*/ 2147483646 w 8"/>
                  <a:gd name="T1" fmla="*/ 2147483646 h 5"/>
                  <a:gd name="T2" fmla="*/ 2147483646 w 8"/>
                  <a:gd name="T3" fmla="*/ 2147483646 h 5"/>
                  <a:gd name="T4" fmla="*/ 2147483646 w 8"/>
                  <a:gd name="T5" fmla="*/ 2147483646 h 5"/>
                  <a:gd name="T6" fmla="*/ 2147483646 w 8"/>
                  <a:gd name="T7" fmla="*/ 2147483646 h 5"/>
                  <a:gd name="T8" fmla="*/ 2147483646 w 8"/>
                  <a:gd name="T9" fmla="*/ 2147483646 h 5"/>
                  <a:gd name="T10" fmla="*/ 2147483646 w 8"/>
                  <a:gd name="T11" fmla="*/ 2147483646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9" name="Freeform 3508">
                <a:extLst>
                  <a:ext uri="{FF2B5EF4-FFF2-40B4-BE49-F238E27FC236}">
                    <a16:creationId xmlns:a16="http://schemas.microsoft.com/office/drawing/2014/main" id="{F77BC0B5-E1AA-9110-E5A4-E80F5ADE8A9F}"/>
                  </a:ext>
                </a:extLst>
              </p:cNvPr>
              <p:cNvSpPr>
                <a:spLocks noChangeAspect="1"/>
              </p:cNvSpPr>
              <p:nvPr/>
            </p:nvSpPr>
            <p:spPr bwMode="auto">
              <a:xfrm>
                <a:off x="10574377" y="2563896"/>
                <a:ext cx="19941" cy="20490"/>
              </a:xfrm>
              <a:custGeom>
                <a:avLst/>
                <a:gdLst>
                  <a:gd name="T0" fmla="*/ 0 w 4"/>
                  <a:gd name="T1" fmla="*/ 2 h 5"/>
                  <a:gd name="T2" fmla="*/ 5 w 4"/>
                  <a:gd name="T3" fmla="*/ 7 h 5"/>
                  <a:gd name="T4" fmla="*/ 6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50" name="Freeform 3646">
                <a:extLst>
                  <a:ext uri="{FF2B5EF4-FFF2-40B4-BE49-F238E27FC236}">
                    <a16:creationId xmlns:a16="http://schemas.microsoft.com/office/drawing/2014/main" id="{B0C5C20C-9D27-DD58-51CB-F4E9EB28E48F}"/>
                  </a:ext>
                </a:extLst>
              </p:cNvPr>
              <p:cNvSpPr>
                <a:spLocks noChangeAspect="1"/>
              </p:cNvSpPr>
              <p:nvPr/>
            </p:nvSpPr>
            <p:spPr bwMode="auto">
              <a:xfrm>
                <a:off x="10191485" y="5835392"/>
                <a:ext cx="95722" cy="64882"/>
              </a:xfrm>
              <a:custGeom>
                <a:avLst/>
                <a:gdLst>
                  <a:gd name="T0" fmla="*/ 2147483646 w 20"/>
                  <a:gd name="T1" fmla="*/ 2147483646 h 16"/>
                  <a:gd name="T2" fmla="*/ 2147483646 w 20"/>
                  <a:gd name="T3" fmla="*/ 2147483646 h 16"/>
                  <a:gd name="T4" fmla="*/ 2147483646 w 20"/>
                  <a:gd name="T5" fmla="*/ 0 h 16"/>
                  <a:gd name="T6" fmla="*/ 2147483646 w 20"/>
                  <a:gd name="T7" fmla="*/ 2147483646 h 16"/>
                  <a:gd name="T8" fmla="*/ 2147483646 w 20"/>
                  <a:gd name="T9" fmla="*/ 2147483646 h 16"/>
                  <a:gd name="T10" fmla="*/ 2147483646 w 20"/>
                  <a:gd name="T11" fmla="*/ 2147483646 h 16"/>
                  <a:gd name="T12" fmla="*/ 2147483646 w 20"/>
                  <a:gd name="T13" fmla="*/ 2147483646 h 16"/>
                  <a:gd name="T14" fmla="*/ 2147483646 w 20"/>
                  <a:gd name="T15" fmla="*/ 2147483646 h 16"/>
                  <a:gd name="T16" fmla="*/ 2147483646 w 20"/>
                  <a:gd name="T17" fmla="*/ 2147483646 h 16"/>
                  <a:gd name="T18" fmla="*/ 0 w 20"/>
                  <a:gd name="T19" fmla="*/ 2147483646 h 16"/>
                  <a:gd name="T20" fmla="*/ 2147483646 w 20"/>
                  <a:gd name="T21" fmla="*/ 214748364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51" name="Freeform 3647">
                <a:extLst>
                  <a:ext uri="{FF2B5EF4-FFF2-40B4-BE49-F238E27FC236}">
                    <a16:creationId xmlns:a16="http://schemas.microsoft.com/office/drawing/2014/main" id="{0D432AD5-9AE7-26CD-15BB-EB764A988790}"/>
                  </a:ext>
                </a:extLst>
              </p:cNvPr>
              <p:cNvSpPr>
                <a:spLocks noChangeAspect="1"/>
              </p:cNvSpPr>
              <p:nvPr/>
            </p:nvSpPr>
            <p:spPr bwMode="auto">
              <a:xfrm>
                <a:off x="10271254" y="5835394"/>
                <a:ext cx="111676" cy="71712"/>
              </a:xfrm>
              <a:custGeom>
                <a:avLst/>
                <a:gdLst>
                  <a:gd name="T0" fmla="*/ 2147483646 w 23"/>
                  <a:gd name="T1" fmla="*/ 2147483646 h 17"/>
                  <a:gd name="T2" fmla="*/ 2147483646 w 23"/>
                  <a:gd name="T3" fmla="*/ 2147483646 h 17"/>
                  <a:gd name="T4" fmla="*/ 2147483646 w 23"/>
                  <a:gd name="T5" fmla="*/ 2147483646 h 17"/>
                  <a:gd name="T6" fmla="*/ 2147483646 w 23"/>
                  <a:gd name="T7" fmla="*/ 2147483646 h 17"/>
                  <a:gd name="T8" fmla="*/ 2147483646 w 23"/>
                  <a:gd name="T9" fmla="*/ 2147483646 h 17"/>
                  <a:gd name="T10" fmla="*/ 2147483646 w 23"/>
                  <a:gd name="T11" fmla="*/ 2147483646 h 17"/>
                  <a:gd name="T12" fmla="*/ 2147483646 w 23"/>
                  <a:gd name="T13" fmla="*/ 2147483646 h 17"/>
                  <a:gd name="T14" fmla="*/ 2147483646 w 23"/>
                  <a:gd name="T15" fmla="*/ 2147483646 h 17"/>
                  <a:gd name="T16" fmla="*/ 2147483646 w 23"/>
                  <a:gd name="T17" fmla="*/ 2147483646 h 17"/>
                  <a:gd name="T18" fmla="*/ 2147483646 w 23"/>
                  <a:gd name="T19" fmla="*/ 214748364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52" name="Freeform 3652">
                <a:extLst>
                  <a:ext uri="{FF2B5EF4-FFF2-40B4-BE49-F238E27FC236}">
                    <a16:creationId xmlns:a16="http://schemas.microsoft.com/office/drawing/2014/main" id="{F55A0E7F-9583-12BA-2814-ABDEBCE74828}"/>
                  </a:ext>
                </a:extLst>
              </p:cNvPr>
              <p:cNvSpPr>
                <a:spLocks noChangeAspect="1"/>
              </p:cNvSpPr>
              <p:nvPr/>
            </p:nvSpPr>
            <p:spPr bwMode="auto">
              <a:xfrm>
                <a:off x="10015994" y="6081268"/>
                <a:ext cx="63815" cy="20490"/>
              </a:xfrm>
              <a:custGeom>
                <a:avLst/>
                <a:gdLst>
                  <a:gd name="T0" fmla="*/ 2147483646 w 13"/>
                  <a:gd name="T1" fmla="*/ 2147483646 h 5"/>
                  <a:gd name="T2" fmla="*/ 2147483646 w 13"/>
                  <a:gd name="T3" fmla="*/ 2147483646 h 5"/>
                  <a:gd name="T4" fmla="*/ 2147483646 w 13"/>
                  <a:gd name="T5" fmla="*/ 2147483646 h 5"/>
                  <a:gd name="T6" fmla="*/ 2147483646 w 13"/>
                  <a:gd name="T7" fmla="*/ 2147483646 h 5"/>
                  <a:gd name="T8" fmla="*/ 2147483646 w 13"/>
                  <a:gd name="T9" fmla="*/ 2147483646 h 5"/>
                  <a:gd name="T10" fmla="*/ 2147483646 w 13"/>
                  <a:gd name="T11" fmla="*/ 2147483646 h 5"/>
                  <a:gd name="T12" fmla="*/ 2147483646 w 13"/>
                  <a:gd name="T13" fmla="*/ 2147483646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grpFill/>
              <a:ln w="3175" cap="rnd">
                <a:solidFill>
                  <a:schemeClr val="accent5">
                    <a:lumMod val="75000"/>
                  </a:schemeClr>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656" name="Title 1">
            <a:extLst>
              <a:ext uri="{FF2B5EF4-FFF2-40B4-BE49-F238E27FC236}">
                <a16:creationId xmlns:a16="http://schemas.microsoft.com/office/drawing/2014/main" id="{DFC033E9-7FAC-C88E-16DD-DD47C8F8126C}"/>
              </a:ext>
            </a:extLst>
          </p:cNvPr>
          <p:cNvSpPr>
            <a:spLocks noGrp="1"/>
          </p:cNvSpPr>
          <p:nvPr>
            <p:ph type="title"/>
          </p:nvPr>
        </p:nvSpPr>
        <p:spPr>
          <a:xfrm>
            <a:off x="3499563" y="139592"/>
            <a:ext cx="3670213" cy="411592"/>
          </a:xfrm>
        </p:spPr>
        <p:txBody>
          <a:bodyPr anchor="ctr"/>
          <a:lstStyle/>
          <a:p>
            <a:pPr algn="ctr"/>
            <a:r>
              <a:rPr lang="en-US"/>
              <a:t>Americas</a:t>
            </a:r>
          </a:p>
        </p:txBody>
      </p:sp>
      <p:pic>
        <p:nvPicPr>
          <p:cNvPr id="657" name="Graphic 656">
            <a:extLst>
              <a:ext uri="{FF2B5EF4-FFF2-40B4-BE49-F238E27FC236}">
                <a16:creationId xmlns:a16="http://schemas.microsoft.com/office/drawing/2014/main" id="{341FEAF4-053D-34F1-BA3F-10D7DF701823}"/>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95300" y="6127790"/>
            <a:ext cx="2571750" cy="419100"/>
          </a:xfrm>
          <a:prstGeom prst="rect">
            <a:avLst/>
          </a:prstGeom>
        </p:spPr>
      </p:pic>
      <p:sp>
        <p:nvSpPr>
          <p:cNvPr id="7" name="TextBox 6">
            <a:extLst>
              <a:ext uri="{FF2B5EF4-FFF2-40B4-BE49-F238E27FC236}">
                <a16:creationId xmlns:a16="http://schemas.microsoft.com/office/drawing/2014/main" id="{93B5D4D8-AE25-6C50-04F1-FE1A85A78DE1}"/>
              </a:ext>
            </a:extLst>
          </p:cNvPr>
          <p:cNvSpPr txBox="1"/>
          <p:nvPr/>
        </p:nvSpPr>
        <p:spPr>
          <a:xfrm>
            <a:off x="2089614" y="5204816"/>
            <a:ext cx="2230884" cy="707886"/>
          </a:xfrm>
          <a:prstGeom prst="rect">
            <a:avLst/>
          </a:prstGeom>
          <a:noFill/>
        </p:spPr>
        <p:txBody>
          <a:bodyPr wrap="square" rtlCol="0">
            <a:spAutoFit/>
          </a:bodyPr>
          <a:lstStyle/>
          <a:p>
            <a:r>
              <a:rPr lang="en-US" sz="1000" b="1">
                <a:latin typeface="Honeywell Sans Web" panose="02010503040101060203" pitchFamily="2" charset="0"/>
              </a:rPr>
              <a:t>Dania Arellano</a:t>
            </a:r>
          </a:p>
          <a:p>
            <a:r>
              <a:rPr lang="en-US" sz="1000" b="1">
                <a:latin typeface="Honeywell Sans Web" panose="02010503040101060203" pitchFamily="2" charset="0"/>
              </a:rPr>
              <a:t>Mexicali, Mexico</a:t>
            </a:r>
          </a:p>
          <a:p>
            <a:r>
              <a:rPr lang="en-US" altLang="en-US" sz="1000">
                <a:latin typeface="Honeywell Sans Web" panose="02010503040101060203" pitchFamily="2" charset="0"/>
              </a:rPr>
              <a:t>Mobile: </a:t>
            </a:r>
            <a:r>
              <a:rPr kumimoji="0" lang="en-US" altLang="en-US" sz="1000" b="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602-781-1637</a:t>
            </a:r>
            <a:endParaRPr lang="en-US" altLang="en-US" sz="1000">
              <a:latin typeface="Honeywell Sans Web" panose="02010503040101060203" pitchFamily="2" charset="0"/>
            </a:endParaRPr>
          </a:p>
          <a:p>
            <a:r>
              <a:rPr lang="en-US" altLang="en-US" sz="1000">
                <a:latin typeface="Honeywell Sans Web" panose="02010503040101060203" pitchFamily="2" charset="0"/>
              </a:rPr>
              <a:t>Dania.arellano@honeywell.com</a:t>
            </a:r>
          </a:p>
        </p:txBody>
      </p:sp>
      <p:sp>
        <p:nvSpPr>
          <p:cNvPr id="8" name="Arrow: Chevron 7">
            <a:extLst>
              <a:ext uri="{FF2B5EF4-FFF2-40B4-BE49-F238E27FC236}">
                <a16:creationId xmlns:a16="http://schemas.microsoft.com/office/drawing/2014/main" id="{8D351A0B-06C9-7835-F35E-D7C6782F805D}"/>
              </a:ext>
            </a:extLst>
          </p:cNvPr>
          <p:cNvSpPr/>
          <p:nvPr/>
        </p:nvSpPr>
        <p:spPr>
          <a:xfrm>
            <a:off x="4080018" y="5188236"/>
            <a:ext cx="271173" cy="719411"/>
          </a:xfrm>
          <a:prstGeom prst="chevron">
            <a:avLst>
              <a:gd name="adj" fmla="val 76165"/>
            </a:avLst>
          </a:prstGeom>
          <a:solidFill>
            <a:srgbClr val="92D050"/>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9" name="Picture 8">
            <a:extLst>
              <a:ext uri="{FF2B5EF4-FFF2-40B4-BE49-F238E27FC236}">
                <a16:creationId xmlns:a16="http://schemas.microsoft.com/office/drawing/2014/main" id="{68B7753B-E556-31E1-CFA1-380846A58A86}"/>
              </a:ext>
            </a:extLst>
          </p:cNvPr>
          <p:cNvPicPr>
            <a:picLocks noChangeAspect="1"/>
          </p:cNvPicPr>
          <p:nvPr/>
        </p:nvPicPr>
        <p:blipFill>
          <a:blip r:embed="rId16"/>
          <a:stretch>
            <a:fillRect/>
          </a:stretch>
        </p:blipFill>
        <p:spPr>
          <a:xfrm>
            <a:off x="1450062" y="5145400"/>
            <a:ext cx="672879" cy="72094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337929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5326EF5-E6B3-BCD4-6FB7-935640706E0D}"/>
              </a:ext>
            </a:extLst>
          </p:cNvPr>
          <p:cNvSpPr>
            <a:spLocks noGrp="1"/>
          </p:cNvSpPr>
          <p:nvPr>
            <p:ph type="title"/>
          </p:nvPr>
        </p:nvSpPr>
        <p:spPr>
          <a:xfrm>
            <a:off x="495301" y="385346"/>
            <a:ext cx="11201401" cy="411592"/>
          </a:xfrm>
        </p:spPr>
        <p:txBody>
          <a:bodyPr/>
          <a:lstStyle/>
          <a:p>
            <a:r>
              <a:rPr lang="en-US"/>
              <a:t>Europe – Middle East – Africa - India</a:t>
            </a:r>
          </a:p>
        </p:txBody>
      </p:sp>
      <p:pic>
        <p:nvPicPr>
          <p:cNvPr id="7" name="Picture 6">
            <a:extLst>
              <a:ext uri="{FF2B5EF4-FFF2-40B4-BE49-F238E27FC236}">
                <a16:creationId xmlns:a16="http://schemas.microsoft.com/office/drawing/2014/main" id="{AD0E2D66-F6F6-A994-7076-8850311AB246}"/>
              </a:ext>
            </a:extLst>
          </p:cNvPr>
          <p:cNvPicPr>
            <a:picLocks noChangeAspect="1"/>
          </p:cNvPicPr>
          <p:nvPr/>
        </p:nvPicPr>
        <p:blipFill rotWithShape="1">
          <a:blip r:embed="rId3"/>
          <a:srcRect l="16044" t="551" r="5812" b="12953"/>
          <a:stretch/>
        </p:blipFill>
        <p:spPr>
          <a:xfrm>
            <a:off x="214310" y="685623"/>
            <a:ext cx="8443913" cy="4976916"/>
          </a:xfrm>
          <a:prstGeom prst="rect">
            <a:avLst/>
          </a:prstGeom>
          <a:noFill/>
        </p:spPr>
      </p:pic>
      <p:sp>
        <p:nvSpPr>
          <p:cNvPr id="14" name="Slide Number Placeholder 3">
            <a:extLst>
              <a:ext uri="{FF2B5EF4-FFF2-40B4-BE49-F238E27FC236}">
                <a16:creationId xmlns:a16="http://schemas.microsoft.com/office/drawing/2014/main" id="{5C98119C-2ADF-9DF7-26E4-49591D975BEE}"/>
              </a:ext>
            </a:extLst>
          </p:cNvPr>
          <p:cNvSpPr>
            <a:spLocks noGrp="1"/>
          </p:cNvSpPr>
          <p:nvPr>
            <p:ph type="sldNum" sz="quarter" idx="12"/>
          </p:nvPr>
        </p:nvSpPr>
        <p:spPr>
          <a:xfrm>
            <a:off x="11199757" y="6480166"/>
            <a:ext cx="496945" cy="237617"/>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D73CD4DD-F77B-4388-B740-5338CD83A384}" type="slidenum">
              <a:rPr kumimoji="0" lang="en-US"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23</a:t>
            </a:fld>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3" name="Picture 2" descr="A qr code with text&#10;&#10;Description automatically generated">
            <a:extLst>
              <a:ext uri="{FF2B5EF4-FFF2-40B4-BE49-F238E27FC236}">
                <a16:creationId xmlns:a16="http://schemas.microsoft.com/office/drawing/2014/main" id="{D83F4616-2604-FBE4-8590-14740EE9097F}"/>
              </a:ext>
            </a:extLst>
          </p:cNvPr>
          <p:cNvPicPr>
            <a:picLocks noChangeAspect="1"/>
          </p:cNvPicPr>
          <p:nvPr/>
        </p:nvPicPr>
        <p:blipFill>
          <a:blip r:embed="rId4"/>
          <a:stretch>
            <a:fillRect/>
          </a:stretch>
        </p:blipFill>
        <p:spPr>
          <a:xfrm>
            <a:off x="2824163" y="5551224"/>
            <a:ext cx="2047875" cy="1047750"/>
          </a:xfrm>
          <a:prstGeom prst="rect">
            <a:avLst/>
          </a:prstGeom>
        </p:spPr>
      </p:pic>
      <p:pic>
        <p:nvPicPr>
          <p:cNvPr id="15" name="Picture 14">
            <a:extLst>
              <a:ext uri="{FF2B5EF4-FFF2-40B4-BE49-F238E27FC236}">
                <a16:creationId xmlns:a16="http://schemas.microsoft.com/office/drawing/2014/main" id="{2F299407-C290-51AB-EF29-9D5F48E48FEA}"/>
              </a:ext>
            </a:extLst>
          </p:cNvPr>
          <p:cNvPicPr>
            <a:picLocks noChangeAspect="1"/>
          </p:cNvPicPr>
          <p:nvPr/>
        </p:nvPicPr>
        <p:blipFill rotWithShape="1">
          <a:blip r:embed="rId5"/>
          <a:srcRect l="14611" t="10534" r="69299" b="73366"/>
          <a:stretch/>
        </p:blipFill>
        <p:spPr>
          <a:xfrm>
            <a:off x="9010813" y="112421"/>
            <a:ext cx="1448547" cy="962025"/>
          </a:xfrm>
          <a:prstGeom prst="rect">
            <a:avLst/>
          </a:prstGeom>
        </p:spPr>
      </p:pic>
      <p:pic>
        <p:nvPicPr>
          <p:cNvPr id="16" name="Picture 15">
            <a:extLst>
              <a:ext uri="{FF2B5EF4-FFF2-40B4-BE49-F238E27FC236}">
                <a16:creationId xmlns:a16="http://schemas.microsoft.com/office/drawing/2014/main" id="{9A9C6EDD-AF04-8B6E-6184-8A421FBB52B9}"/>
              </a:ext>
            </a:extLst>
          </p:cNvPr>
          <p:cNvPicPr>
            <a:picLocks noChangeAspect="1"/>
          </p:cNvPicPr>
          <p:nvPr/>
        </p:nvPicPr>
        <p:blipFill rotWithShape="1">
          <a:blip r:embed="rId5"/>
          <a:srcRect l="36448" t="10677" r="48036" b="72870"/>
          <a:stretch/>
        </p:blipFill>
        <p:spPr>
          <a:xfrm>
            <a:off x="10587790" y="112421"/>
            <a:ext cx="1366840" cy="962025"/>
          </a:xfrm>
          <a:prstGeom prst="rect">
            <a:avLst/>
          </a:prstGeom>
        </p:spPr>
      </p:pic>
      <p:pic>
        <p:nvPicPr>
          <p:cNvPr id="17" name="Picture 16">
            <a:extLst>
              <a:ext uri="{FF2B5EF4-FFF2-40B4-BE49-F238E27FC236}">
                <a16:creationId xmlns:a16="http://schemas.microsoft.com/office/drawing/2014/main" id="{44B84685-B138-0066-DBF0-50D2D3F9FF9B}"/>
              </a:ext>
            </a:extLst>
          </p:cNvPr>
          <p:cNvPicPr>
            <a:picLocks noChangeAspect="1"/>
          </p:cNvPicPr>
          <p:nvPr/>
        </p:nvPicPr>
        <p:blipFill rotWithShape="1">
          <a:blip r:embed="rId5"/>
          <a:srcRect l="58572" t="34759" r="26296" b="44011"/>
          <a:stretch/>
        </p:blipFill>
        <p:spPr>
          <a:xfrm>
            <a:off x="10514123" y="4445359"/>
            <a:ext cx="1504952" cy="1401364"/>
          </a:xfrm>
          <a:prstGeom prst="rect">
            <a:avLst/>
          </a:prstGeom>
        </p:spPr>
      </p:pic>
      <p:pic>
        <p:nvPicPr>
          <p:cNvPr id="18" name="Picture 17">
            <a:extLst>
              <a:ext uri="{FF2B5EF4-FFF2-40B4-BE49-F238E27FC236}">
                <a16:creationId xmlns:a16="http://schemas.microsoft.com/office/drawing/2014/main" id="{95F86C0E-34AF-523B-B2E7-2A0C7DB2ED0C}"/>
              </a:ext>
            </a:extLst>
          </p:cNvPr>
          <p:cNvPicPr>
            <a:picLocks noChangeAspect="1"/>
          </p:cNvPicPr>
          <p:nvPr/>
        </p:nvPicPr>
        <p:blipFill rotWithShape="1">
          <a:blip r:embed="rId5"/>
          <a:srcRect l="79450" t="10967" r="4460" b="73169"/>
          <a:stretch/>
        </p:blipFill>
        <p:spPr>
          <a:xfrm>
            <a:off x="8929076" y="2364739"/>
            <a:ext cx="1600200" cy="1047158"/>
          </a:xfrm>
          <a:prstGeom prst="rect">
            <a:avLst/>
          </a:prstGeom>
        </p:spPr>
      </p:pic>
      <p:pic>
        <p:nvPicPr>
          <p:cNvPr id="19" name="Picture 18">
            <a:extLst>
              <a:ext uri="{FF2B5EF4-FFF2-40B4-BE49-F238E27FC236}">
                <a16:creationId xmlns:a16="http://schemas.microsoft.com/office/drawing/2014/main" id="{91A4A94F-393B-7FAC-45A5-54C399BC882D}"/>
              </a:ext>
            </a:extLst>
          </p:cNvPr>
          <p:cNvPicPr>
            <a:picLocks noChangeAspect="1"/>
          </p:cNvPicPr>
          <p:nvPr/>
        </p:nvPicPr>
        <p:blipFill rotWithShape="1">
          <a:blip r:embed="rId5"/>
          <a:srcRect l="79450" t="35067" r="4460" b="37880"/>
          <a:stretch/>
        </p:blipFill>
        <p:spPr>
          <a:xfrm>
            <a:off x="8969863" y="3395621"/>
            <a:ext cx="1600200" cy="1785699"/>
          </a:xfrm>
          <a:prstGeom prst="rect">
            <a:avLst/>
          </a:prstGeom>
        </p:spPr>
      </p:pic>
      <p:pic>
        <p:nvPicPr>
          <p:cNvPr id="20" name="Picture 19">
            <a:extLst>
              <a:ext uri="{FF2B5EF4-FFF2-40B4-BE49-F238E27FC236}">
                <a16:creationId xmlns:a16="http://schemas.microsoft.com/office/drawing/2014/main" id="{76240982-7389-C06B-3A70-EBE5602F495D}"/>
              </a:ext>
            </a:extLst>
          </p:cNvPr>
          <p:cNvPicPr>
            <a:picLocks noChangeAspect="1"/>
          </p:cNvPicPr>
          <p:nvPr/>
        </p:nvPicPr>
        <p:blipFill rotWithShape="1">
          <a:blip r:embed="rId5"/>
          <a:srcRect l="79450" t="61864" r="4460" b="12626"/>
          <a:stretch/>
        </p:blipFill>
        <p:spPr>
          <a:xfrm>
            <a:off x="8977096" y="5174114"/>
            <a:ext cx="1600200" cy="1683886"/>
          </a:xfrm>
          <a:prstGeom prst="rect">
            <a:avLst/>
          </a:prstGeom>
        </p:spPr>
      </p:pic>
      <p:pic>
        <p:nvPicPr>
          <p:cNvPr id="21" name="Picture 20">
            <a:extLst>
              <a:ext uri="{FF2B5EF4-FFF2-40B4-BE49-F238E27FC236}">
                <a16:creationId xmlns:a16="http://schemas.microsoft.com/office/drawing/2014/main" id="{9FBDC3C8-02C0-C200-56E2-061488256D58}"/>
              </a:ext>
            </a:extLst>
          </p:cNvPr>
          <p:cNvPicPr>
            <a:picLocks noChangeAspect="1"/>
          </p:cNvPicPr>
          <p:nvPr/>
        </p:nvPicPr>
        <p:blipFill rotWithShape="1">
          <a:blip r:embed="rId5"/>
          <a:srcRect l="14611" t="34035" r="69299" b="46848"/>
          <a:stretch/>
        </p:blipFill>
        <p:spPr>
          <a:xfrm>
            <a:off x="9052923" y="1081628"/>
            <a:ext cx="1448547" cy="1142288"/>
          </a:xfrm>
          <a:prstGeom prst="rect">
            <a:avLst/>
          </a:prstGeom>
        </p:spPr>
      </p:pic>
      <p:pic>
        <p:nvPicPr>
          <p:cNvPr id="22" name="Picture 21">
            <a:extLst>
              <a:ext uri="{FF2B5EF4-FFF2-40B4-BE49-F238E27FC236}">
                <a16:creationId xmlns:a16="http://schemas.microsoft.com/office/drawing/2014/main" id="{513A1A91-40C0-537D-A029-1BD2C5A4EC83}"/>
              </a:ext>
            </a:extLst>
          </p:cNvPr>
          <p:cNvPicPr>
            <a:picLocks noChangeAspect="1"/>
          </p:cNvPicPr>
          <p:nvPr/>
        </p:nvPicPr>
        <p:blipFill rotWithShape="1">
          <a:blip r:embed="rId5"/>
          <a:srcRect l="36448" t="34299" r="48036" b="31746"/>
          <a:stretch/>
        </p:blipFill>
        <p:spPr>
          <a:xfrm>
            <a:off x="10610850" y="1043127"/>
            <a:ext cx="1366840" cy="1985351"/>
          </a:xfrm>
          <a:prstGeom prst="rect">
            <a:avLst/>
          </a:prstGeom>
        </p:spPr>
      </p:pic>
      <p:pic>
        <p:nvPicPr>
          <p:cNvPr id="23" name="Picture 22">
            <a:extLst>
              <a:ext uri="{FF2B5EF4-FFF2-40B4-BE49-F238E27FC236}">
                <a16:creationId xmlns:a16="http://schemas.microsoft.com/office/drawing/2014/main" id="{C3EF7795-68CC-8B99-45C7-8F62E4B30ED9}"/>
              </a:ext>
            </a:extLst>
          </p:cNvPr>
          <p:cNvPicPr>
            <a:picLocks noChangeAspect="1"/>
          </p:cNvPicPr>
          <p:nvPr/>
        </p:nvPicPr>
        <p:blipFill rotWithShape="1">
          <a:blip r:embed="rId5"/>
          <a:srcRect l="58572" t="11077" r="26296" b="73027"/>
          <a:stretch/>
        </p:blipFill>
        <p:spPr>
          <a:xfrm>
            <a:off x="10557706" y="3396169"/>
            <a:ext cx="1504952" cy="1049189"/>
          </a:xfrm>
          <a:prstGeom prst="rect">
            <a:avLst/>
          </a:prstGeom>
        </p:spPr>
      </p:pic>
      <p:pic>
        <p:nvPicPr>
          <p:cNvPr id="2" name="Graphic 1">
            <a:extLst>
              <a:ext uri="{FF2B5EF4-FFF2-40B4-BE49-F238E27FC236}">
                <a16:creationId xmlns:a16="http://schemas.microsoft.com/office/drawing/2014/main" id="{24DF2A56-B91C-244A-DCB7-05F0B90C3B0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2977" y="6179874"/>
            <a:ext cx="2571750" cy="419100"/>
          </a:xfrm>
          <a:prstGeom prst="rect">
            <a:avLst/>
          </a:prstGeom>
        </p:spPr>
      </p:pic>
    </p:spTree>
    <p:extLst>
      <p:ext uri="{BB962C8B-B14F-4D97-AF65-F5344CB8AC3E}">
        <p14:creationId xmlns:p14="http://schemas.microsoft.com/office/powerpoint/2010/main" val="35160134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4E18BE-06F0-4A0F-B959-AEE9394047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A84E18BE-06F0-4A0F-B959-AEE9394047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92975B-8437-403E-ADEF-FE4B22D8446C}"/>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2" name="Rectangle 1">
            <a:extLst>
              <a:ext uri="{FF2B5EF4-FFF2-40B4-BE49-F238E27FC236}">
                <a16:creationId xmlns:a16="http://schemas.microsoft.com/office/drawing/2014/main" id="{0C40EC88-2AB6-083B-4339-281D8B2FAAD8}"/>
              </a:ext>
            </a:extLst>
          </p:cNvPr>
          <p:cNvSpPr/>
          <p:nvPr/>
        </p:nvSpPr>
        <p:spPr>
          <a:xfrm>
            <a:off x="9592738" y="3566713"/>
            <a:ext cx="2329067"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LAIRE CH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HANGHAI, CH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PH: +86 152 2183 355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E-MAIL: </a:t>
            </a:r>
            <a:r>
              <a:rPr kumimoji="0" lang="en-US" sz="1000" b="1" i="0" u="sng" strike="noStrike" kern="1200" cap="none" spc="0" normalizeH="0" baseline="0" noProof="0">
                <a:ln>
                  <a:noFill/>
                </a:ln>
                <a:solidFill>
                  <a:prstClr val="black"/>
                </a:solidFill>
                <a:effectLst/>
                <a:uLnTx/>
                <a:uFillTx/>
                <a:latin typeface="Honeywell Sans Web" panose="02010503040101060203" pitchFamily="2" charset="0"/>
                <a:ea typeface="+mn-ea"/>
                <a:cs typeface="+mn-cs"/>
              </a:rPr>
              <a:t>claire.chen@honeywell.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HINA SOUTH | HONG KONG | TAIWAN | MACAU | CHINA NORTH </a:t>
            </a:r>
          </a:p>
        </p:txBody>
      </p:sp>
      <p:pic>
        <p:nvPicPr>
          <p:cNvPr id="12" name="Picture 11">
            <a:extLst>
              <a:ext uri="{FF2B5EF4-FFF2-40B4-BE49-F238E27FC236}">
                <a16:creationId xmlns:a16="http://schemas.microsoft.com/office/drawing/2014/main" id="{4E38A8F0-0B61-0E0A-0E14-698965F72544}"/>
              </a:ext>
            </a:extLst>
          </p:cNvPr>
          <p:cNvPicPr>
            <a:picLocks noChangeAspect="1"/>
          </p:cNvPicPr>
          <p:nvPr/>
        </p:nvPicPr>
        <p:blipFill>
          <a:blip r:embed="rId7"/>
          <a:stretch>
            <a:fillRect/>
          </a:stretch>
        </p:blipFill>
        <p:spPr>
          <a:xfrm>
            <a:off x="9617586" y="2551329"/>
            <a:ext cx="792959" cy="921423"/>
          </a:xfrm>
          <a:prstGeom prst="ellipse">
            <a:avLst/>
          </a:prstGeom>
          <a:noFill/>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a:extLst>
              <a:ext uri="{FF2B5EF4-FFF2-40B4-BE49-F238E27FC236}">
                <a16:creationId xmlns:a16="http://schemas.microsoft.com/office/drawing/2014/main" id="{9AE25A81-AA20-6AF5-B995-4F75EE39F869}"/>
              </a:ext>
            </a:extLst>
          </p:cNvPr>
          <p:cNvSpPr/>
          <p:nvPr/>
        </p:nvSpPr>
        <p:spPr>
          <a:xfrm>
            <a:off x="5663953" y="899967"/>
            <a:ext cx="241705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OOI KAR WAI (Director, C&am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KUALA LUMPUR, MALAY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ELL: +60 12 326 418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E-MAIL: </a:t>
            </a:r>
            <a:r>
              <a:rPr kumimoji="0" lang="en-US" sz="1000" b="1" i="0" u="sng" strike="noStrike" kern="1200" cap="none" spc="0" normalizeH="0" baseline="0" noProof="0">
                <a:ln>
                  <a:noFill/>
                </a:ln>
                <a:solidFill>
                  <a:prstClr val="black"/>
                </a:solidFill>
                <a:effectLst/>
                <a:uLnTx/>
                <a:uFillTx/>
                <a:latin typeface="Honeywell Sans Web" panose="02010503040101060203" pitchFamily="2" charset="0"/>
                <a:ea typeface="+mn-ea"/>
                <a:cs typeface="+mn-cs"/>
              </a:rPr>
              <a:t>karwai.ooi</a:t>
            </a:r>
            <a:r>
              <a:rPr kumimoji="0" lang="en-US" sz="1000" b="1" i="0" u="sng" strike="noStrike" kern="1200" cap="none" spc="0" normalizeH="0" baseline="0" noProof="0">
                <a:ln>
                  <a:noFill/>
                </a:ln>
                <a:solidFill>
                  <a:prstClr val="black"/>
                </a:solidFill>
                <a:effectLst/>
                <a:uLnTx/>
                <a:uFillTx/>
                <a:latin typeface="Honeywell Sans Web" panose="02010503040101060203" pitchFamily="2" charset="0"/>
                <a:ea typeface="+mn-ea"/>
                <a:cs typeface="+mn-cs"/>
                <a:hlinkClick r:id="rId8"/>
              </a:rPr>
              <a:t>@Honeywell.com</a:t>
            </a:r>
            <a:endParaRPr kumimoji="0" lang="en-US" sz="1000" b="1" i="0" u="sng"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Asia Pacific (Non China)</a:t>
            </a:r>
          </a:p>
        </p:txBody>
      </p:sp>
      <p:sp>
        <p:nvSpPr>
          <p:cNvPr id="15" name="Rectangle 14">
            <a:extLst>
              <a:ext uri="{FF2B5EF4-FFF2-40B4-BE49-F238E27FC236}">
                <a16:creationId xmlns:a16="http://schemas.microsoft.com/office/drawing/2014/main" id="{CD3D6837-D962-E37F-5E59-C613DFFB2668}"/>
              </a:ext>
            </a:extLst>
          </p:cNvPr>
          <p:cNvSpPr/>
          <p:nvPr/>
        </p:nvSpPr>
        <p:spPr>
          <a:xfrm>
            <a:off x="8987884" y="878338"/>
            <a:ext cx="233942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Liu PU (Director C&amp;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HANGHAI, CH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PH: +86 1852179823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E-MAIL: </a:t>
            </a:r>
            <a:r>
              <a:rPr kumimoji="0" lang="en-US" sz="1000" b="1" i="0" u="sng" strike="noStrike" kern="1200" cap="none" spc="0" normalizeH="0" baseline="0" noProof="0">
                <a:ln>
                  <a:noFill/>
                </a:ln>
                <a:solidFill>
                  <a:prstClr val="black"/>
                </a:solidFill>
                <a:effectLst/>
                <a:uLnTx/>
                <a:uFillTx/>
                <a:latin typeface="Honeywell Sans Web" panose="02010503040101060203" pitchFamily="2" charset="0"/>
                <a:ea typeface="+mn-ea"/>
                <a:cs typeface="+mn-cs"/>
              </a:rPr>
              <a:t>pu.liu@Honeywell.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HINA and CHINA WEST</a:t>
            </a:r>
          </a:p>
        </p:txBody>
      </p:sp>
      <p:pic>
        <p:nvPicPr>
          <p:cNvPr id="16" name="Picture 15">
            <a:extLst>
              <a:ext uri="{FF2B5EF4-FFF2-40B4-BE49-F238E27FC236}">
                <a16:creationId xmlns:a16="http://schemas.microsoft.com/office/drawing/2014/main" id="{A5B55D52-B138-D794-7AC1-E1B11A5FEBAE}"/>
              </a:ext>
            </a:extLst>
          </p:cNvPr>
          <p:cNvPicPr>
            <a:picLocks noChangeAspect="1"/>
          </p:cNvPicPr>
          <p:nvPr/>
        </p:nvPicPr>
        <p:blipFill>
          <a:blip r:embed="rId9"/>
          <a:stretch>
            <a:fillRect/>
          </a:stretch>
        </p:blipFill>
        <p:spPr>
          <a:xfrm>
            <a:off x="11123468" y="878337"/>
            <a:ext cx="753361" cy="93425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8" name="Title 1">
            <a:extLst>
              <a:ext uri="{FF2B5EF4-FFF2-40B4-BE49-F238E27FC236}">
                <a16:creationId xmlns:a16="http://schemas.microsoft.com/office/drawing/2014/main" id="{328DD117-E803-CA4E-7E82-3A6BA582C4DC}"/>
              </a:ext>
            </a:extLst>
          </p:cNvPr>
          <p:cNvSpPr txBox="1">
            <a:spLocks/>
          </p:cNvSpPr>
          <p:nvPr/>
        </p:nvSpPr>
        <p:spPr>
          <a:xfrm>
            <a:off x="288500" y="180312"/>
            <a:ext cx="11238482" cy="498610"/>
          </a:xfrm>
          <a:prstGeom prst="rect">
            <a:avLst/>
          </a:prstGeom>
        </p:spPr>
        <p:txBody>
          <a:bodyPr vert="horz" lIns="0" tIns="0" rIns="0" bIns="0" rtlCol="0" anchor="t">
            <a:noAutofit/>
          </a:bodyPr>
          <a:lstStyle>
            <a:lvl1pPr defTabSz="685800">
              <a:lnSpc>
                <a:spcPct val="90000"/>
              </a:lnSpc>
              <a:spcBef>
                <a:spcPct val="0"/>
              </a:spcBef>
              <a:buNone/>
              <a:defRPr sz="2800" cap="all" baseline="0">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AU" altLang="es-MX" sz="2800" b="0" i="0" u="none" strike="noStrike" kern="1200" cap="all" spc="0" normalizeH="0" baseline="0" noProof="0">
                <a:ln>
                  <a:noFill/>
                </a:ln>
                <a:solidFill>
                  <a:prstClr val="black"/>
                </a:solidFill>
                <a:effectLst/>
                <a:uLnTx/>
                <a:uFillTx/>
                <a:latin typeface="Arial Black"/>
                <a:ea typeface="+mj-ea"/>
                <a:cs typeface="+mj-cs"/>
              </a:rPr>
              <a:t>Asia Pacific</a:t>
            </a:r>
            <a:br>
              <a:rPr kumimoji="0" lang="en-AU" altLang="es-MX" sz="2800" b="0" i="0" u="none" strike="noStrike" kern="1200" cap="all" spc="0" normalizeH="0" baseline="0" noProof="0">
                <a:ln>
                  <a:noFill/>
                </a:ln>
                <a:solidFill>
                  <a:prstClr val="black"/>
                </a:solidFill>
                <a:effectLst/>
                <a:uLnTx/>
                <a:uFillTx/>
                <a:latin typeface="Arial Black"/>
                <a:ea typeface="+mj-ea"/>
                <a:cs typeface="+mj-cs"/>
              </a:rPr>
            </a:br>
            <a:endParaRPr kumimoji="0" lang="en-AU" altLang="es-MX" sz="2800" b="0" i="0" u="none" strike="noStrike" kern="1200" cap="all" spc="0" normalizeH="0" baseline="0" noProof="0">
              <a:ln>
                <a:noFill/>
              </a:ln>
              <a:solidFill>
                <a:prstClr val="black"/>
              </a:solidFill>
              <a:effectLst/>
              <a:uLnTx/>
              <a:uFillTx/>
              <a:latin typeface="Arial Black"/>
              <a:ea typeface="+mj-ea"/>
              <a:cs typeface="+mj-cs"/>
            </a:endParaRPr>
          </a:p>
        </p:txBody>
      </p:sp>
      <p:pic>
        <p:nvPicPr>
          <p:cNvPr id="23" name="Picture 22">
            <a:extLst>
              <a:ext uri="{FF2B5EF4-FFF2-40B4-BE49-F238E27FC236}">
                <a16:creationId xmlns:a16="http://schemas.microsoft.com/office/drawing/2014/main" id="{E66CBCB4-30B9-C3F2-E526-82DBBC5C2F87}"/>
              </a:ext>
            </a:extLst>
          </p:cNvPr>
          <p:cNvPicPr>
            <a:picLocks noChangeAspect="1"/>
          </p:cNvPicPr>
          <p:nvPr/>
        </p:nvPicPr>
        <p:blipFill>
          <a:blip r:embed="rId10"/>
          <a:stretch>
            <a:fillRect/>
          </a:stretch>
        </p:blipFill>
        <p:spPr>
          <a:xfrm>
            <a:off x="8024752" y="919103"/>
            <a:ext cx="782650" cy="89349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4" name="Rectangle 23">
            <a:extLst>
              <a:ext uri="{FF2B5EF4-FFF2-40B4-BE49-F238E27FC236}">
                <a16:creationId xmlns:a16="http://schemas.microsoft.com/office/drawing/2014/main" id="{765F3C0A-9560-8E6F-92E8-341E4BC75444}"/>
              </a:ext>
            </a:extLst>
          </p:cNvPr>
          <p:cNvSpPr/>
          <p:nvPr/>
        </p:nvSpPr>
        <p:spPr>
          <a:xfrm>
            <a:off x="6389430" y="3566713"/>
            <a:ext cx="2329067"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IMON HUA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SHANGHAI, CH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CELL: +86 152 2182 415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E-MAIL: </a:t>
            </a:r>
            <a:r>
              <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hlinkClick r:id="rId11"/>
              </a:rPr>
              <a:t>jianjun.huang@Honeywell.com</a:t>
            </a:r>
            <a:endParaRPr kumimoji="0" lang="en-US" sz="1000" b="1"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Honeywell Sans Web" panose="02010503040101060203" pitchFamily="2" charset="0"/>
                <a:ea typeface="+mn-ea"/>
                <a:cs typeface="+mn-cs"/>
              </a:rPr>
              <a:t>AUSTRALIA | NEW ZEALAND | PACIFIC ISLANDS | SINGAPORE | MALAYSIA | INDONESIA | THAILAND |  PHILIPPINES | JAPAN | INDO-CHINA | S. KOREA</a:t>
            </a:r>
          </a:p>
        </p:txBody>
      </p:sp>
      <p:pic>
        <p:nvPicPr>
          <p:cNvPr id="27" name="图片 1" descr="image001">
            <a:extLst>
              <a:ext uri="{FF2B5EF4-FFF2-40B4-BE49-F238E27FC236}">
                <a16:creationId xmlns:a16="http://schemas.microsoft.com/office/drawing/2014/main" id="{E0232C1B-C71D-6BD4-3E8E-59067D4F0837}"/>
              </a:ext>
            </a:extLst>
          </p:cNvPr>
          <p:cNvPicPr>
            <a:picLocks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6651498" y="2507577"/>
            <a:ext cx="902465" cy="921422"/>
          </a:xfrm>
          <a:prstGeom prst="ellipse">
            <a:avLst/>
          </a:prstGeom>
          <a:ln w="9525">
            <a:no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52D21774-D3C9-ACCB-11FA-AC251B926F69}"/>
              </a:ext>
            </a:extLst>
          </p:cNvPr>
          <p:cNvPicPr>
            <a:picLocks noChangeAspect="1"/>
          </p:cNvPicPr>
          <p:nvPr/>
        </p:nvPicPr>
        <p:blipFill>
          <a:blip r:embed="rId13"/>
          <a:stretch>
            <a:fillRect/>
          </a:stretch>
        </p:blipFill>
        <p:spPr>
          <a:xfrm>
            <a:off x="253292" y="899967"/>
            <a:ext cx="5316121" cy="5383724"/>
          </a:xfrm>
          <a:prstGeom prst="rect">
            <a:avLst/>
          </a:prstGeom>
          <a:ln>
            <a:noFill/>
          </a:ln>
          <a:effectLst>
            <a:softEdge rad="112500"/>
          </a:effectLst>
        </p:spPr>
      </p:pic>
      <p:sp>
        <p:nvSpPr>
          <p:cNvPr id="3" name="Arrow: Chevron 2">
            <a:extLst>
              <a:ext uri="{FF2B5EF4-FFF2-40B4-BE49-F238E27FC236}">
                <a16:creationId xmlns:a16="http://schemas.microsoft.com/office/drawing/2014/main" id="{047A1037-E287-DC92-8268-57E65D1CF3FD}"/>
              </a:ext>
            </a:extLst>
          </p:cNvPr>
          <p:cNvSpPr/>
          <p:nvPr/>
        </p:nvSpPr>
        <p:spPr>
          <a:xfrm flipH="1">
            <a:off x="5933575" y="3214273"/>
            <a:ext cx="211309" cy="704879"/>
          </a:xfrm>
          <a:prstGeom prst="chevron">
            <a:avLst>
              <a:gd name="adj" fmla="val 76165"/>
            </a:avLst>
          </a:prstGeom>
          <a:solidFill>
            <a:srgbClr val="B8E08C"/>
          </a:solidFill>
          <a:ln w="38100">
            <a:solidFill>
              <a:srgbClr val="B8E0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5" name="Arrow: Chevron 4">
            <a:extLst>
              <a:ext uri="{FF2B5EF4-FFF2-40B4-BE49-F238E27FC236}">
                <a16:creationId xmlns:a16="http://schemas.microsoft.com/office/drawing/2014/main" id="{3B5DE174-3C19-5976-EAB8-8D2FADBCAB74}"/>
              </a:ext>
            </a:extLst>
          </p:cNvPr>
          <p:cNvSpPr/>
          <p:nvPr/>
        </p:nvSpPr>
        <p:spPr>
          <a:xfrm flipH="1">
            <a:off x="8987883" y="3169567"/>
            <a:ext cx="237227" cy="704879"/>
          </a:xfrm>
          <a:prstGeom prst="chevron">
            <a:avLst>
              <a:gd name="adj" fmla="val 76165"/>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pic>
        <p:nvPicPr>
          <p:cNvPr id="8" name="Picture 7" descr="A qr code with text&#10;&#10;Description automatically generated">
            <a:extLst>
              <a:ext uri="{FF2B5EF4-FFF2-40B4-BE49-F238E27FC236}">
                <a16:creationId xmlns:a16="http://schemas.microsoft.com/office/drawing/2014/main" id="{CDD937AD-7D78-EC2B-53D5-867BD47E8146}"/>
              </a:ext>
            </a:extLst>
          </p:cNvPr>
          <p:cNvPicPr>
            <a:picLocks noChangeAspect="1"/>
          </p:cNvPicPr>
          <p:nvPr/>
        </p:nvPicPr>
        <p:blipFill>
          <a:blip r:embed="rId14"/>
          <a:stretch>
            <a:fillRect/>
          </a:stretch>
        </p:blipFill>
        <p:spPr>
          <a:xfrm>
            <a:off x="10063163" y="5429250"/>
            <a:ext cx="2047875" cy="1047750"/>
          </a:xfrm>
          <a:prstGeom prst="rect">
            <a:avLst/>
          </a:prstGeom>
        </p:spPr>
      </p:pic>
      <p:pic>
        <p:nvPicPr>
          <p:cNvPr id="7" name="Graphic 6">
            <a:extLst>
              <a:ext uri="{FF2B5EF4-FFF2-40B4-BE49-F238E27FC236}">
                <a16:creationId xmlns:a16="http://schemas.microsoft.com/office/drawing/2014/main" id="{36816F9B-CF33-7184-ACF9-3B33BE9C766B}"/>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39602" y="6230013"/>
            <a:ext cx="2571750" cy="419100"/>
          </a:xfrm>
          <a:prstGeom prst="rect">
            <a:avLst/>
          </a:prstGeom>
        </p:spPr>
      </p:pic>
    </p:spTree>
    <p:extLst>
      <p:ext uri="{BB962C8B-B14F-4D97-AF65-F5344CB8AC3E}">
        <p14:creationId xmlns:p14="http://schemas.microsoft.com/office/powerpoint/2010/main" val="7527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6" name="Rectangle 1175"/>
          <p:cNvSpPr/>
          <p:nvPr/>
        </p:nvSpPr>
        <p:spPr>
          <a:xfrm flipH="1">
            <a:off x="558870" y="642340"/>
            <a:ext cx="45719" cy="592845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oneywell Sans"/>
              <a:ea typeface="+mn-ea"/>
              <a:cs typeface="+mn-cs"/>
            </a:endParaRPr>
          </a:p>
        </p:txBody>
      </p:sp>
      <p:sp>
        <p:nvSpPr>
          <p:cNvPr id="4" name="TextBox 3">
            <a:extLst>
              <a:ext uri="{FF2B5EF4-FFF2-40B4-BE49-F238E27FC236}">
                <a16:creationId xmlns:a16="http://schemas.microsoft.com/office/drawing/2014/main" id="{54348752-C2D5-40F8-B2BE-ADEEBDF26944}"/>
              </a:ext>
            </a:extLst>
          </p:cNvPr>
          <p:cNvSpPr txBox="1"/>
          <p:nvPr/>
        </p:nvSpPr>
        <p:spPr>
          <a:xfrm>
            <a:off x="558870" y="261901"/>
            <a:ext cx="10807630" cy="457200"/>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Honeywell Sans"/>
                <a:ea typeface="+mn-ea"/>
                <a:cs typeface="+mn-cs"/>
              </a:rPr>
              <a:t>Major Account Coverage</a:t>
            </a:r>
            <a:r>
              <a:rPr kumimoji="0" lang="en-US" sz="2400" i="0" u="none" strike="noStrike" kern="1200" cap="none" spc="0" normalizeH="0" baseline="0" noProof="0">
                <a:ln>
                  <a:noFill/>
                </a:ln>
                <a:solidFill>
                  <a:prstClr val="black"/>
                </a:solidFill>
                <a:effectLst/>
                <a:uLnTx/>
                <a:uFillTx/>
                <a:latin typeface="Honeywell Sans"/>
                <a:ea typeface="+mn-ea"/>
                <a:cs typeface="+mn-cs"/>
              </a:rPr>
              <a:t> </a:t>
            </a:r>
            <a:endParaRPr kumimoji="0" lang="en-US" sz="2000" i="0" u="none" strike="noStrike" kern="1200" cap="none" spc="0" normalizeH="0" baseline="0" noProof="0">
              <a:ln>
                <a:noFill/>
              </a:ln>
              <a:solidFill>
                <a:prstClr val="black"/>
              </a:solidFill>
              <a:effectLst/>
              <a:uLnTx/>
              <a:uFillTx/>
              <a:latin typeface="Honeywell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Honeywell Sans"/>
              <a:ea typeface="+mn-ea"/>
              <a:cs typeface="+mn-cs"/>
            </a:endParaRPr>
          </a:p>
        </p:txBody>
      </p:sp>
      <p:graphicFrame>
        <p:nvGraphicFramePr>
          <p:cNvPr id="3" name="Object 2">
            <a:extLst>
              <a:ext uri="{FF2B5EF4-FFF2-40B4-BE49-F238E27FC236}">
                <a16:creationId xmlns:a16="http://schemas.microsoft.com/office/drawing/2014/main" id="{A8870FF8-F03E-4C0A-BF47-3793A1C4C9A4}"/>
              </a:ext>
            </a:extLst>
          </p:cNvPr>
          <p:cNvGraphicFramePr>
            <a:graphicFrameLocks noChangeAspect="1"/>
          </p:cNvGraphicFramePr>
          <p:nvPr/>
        </p:nvGraphicFramePr>
        <p:xfrm>
          <a:off x="785813" y="754063"/>
          <a:ext cx="10580687" cy="5908675"/>
        </p:xfrm>
        <a:graphic>
          <a:graphicData uri="http://schemas.openxmlformats.org/presentationml/2006/ole">
            <mc:AlternateContent xmlns:mc="http://schemas.openxmlformats.org/markup-compatibility/2006">
              <mc:Choice xmlns:v="urn:schemas-microsoft-com:vml" Requires="v">
                <p:oleObj name="Worksheet" r:id="rId3" imgW="9537639" imgH="5327627" progId="Excel.Sheet.12">
                  <p:embed/>
                </p:oleObj>
              </mc:Choice>
              <mc:Fallback>
                <p:oleObj name="Worksheet" r:id="rId3" imgW="9537639" imgH="5327627" progId="Excel.Sheet.12">
                  <p:embed/>
                  <p:pic>
                    <p:nvPicPr>
                      <p:cNvPr id="3" name="Object 2">
                        <a:extLst>
                          <a:ext uri="{FF2B5EF4-FFF2-40B4-BE49-F238E27FC236}">
                            <a16:creationId xmlns:a16="http://schemas.microsoft.com/office/drawing/2014/main" id="{A8870FF8-F03E-4C0A-BF47-3793A1C4C9A4}"/>
                          </a:ext>
                        </a:extLst>
                      </p:cNvPr>
                      <p:cNvPicPr/>
                      <p:nvPr/>
                    </p:nvPicPr>
                    <p:blipFill>
                      <a:blip r:embed="rId4"/>
                      <a:stretch>
                        <a:fillRect/>
                      </a:stretch>
                    </p:blipFill>
                    <p:spPr>
                      <a:xfrm>
                        <a:off x="785813" y="754063"/>
                        <a:ext cx="10580687" cy="5908675"/>
                      </a:xfrm>
                      <a:prstGeom prst="rect">
                        <a:avLst/>
                      </a:prstGeom>
                    </p:spPr>
                  </p:pic>
                </p:oleObj>
              </mc:Fallback>
            </mc:AlternateContent>
          </a:graphicData>
        </a:graphic>
      </p:graphicFrame>
    </p:spTree>
    <p:extLst>
      <p:ext uri="{BB962C8B-B14F-4D97-AF65-F5344CB8AC3E}">
        <p14:creationId xmlns:p14="http://schemas.microsoft.com/office/powerpoint/2010/main" val="30878790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8701384-3F7F-429B-9619-2501AD0CACBB}"/>
              </a:ext>
            </a:extLst>
          </p:cNvPr>
          <p:cNvSpPr/>
          <p:nvPr/>
        </p:nvSpPr>
        <p:spPr>
          <a:xfrm>
            <a:off x="4150640" y="1383739"/>
            <a:ext cx="7985398" cy="5000167"/>
          </a:xfrm>
          <a:prstGeom prst="rect">
            <a:avLst/>
          </a:prstGeom>
          <a:solidFill>
            <a:schemeClr val="bg1"/>
          </a:solidFill>
          <a:ln w="539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Title 44">
            <a:extLst>
              <a:ext uri="{FF2B5EF4-FFF2-40B4-BE49-F238E27FC236}">
                <a16:creationId xmlns:a16="http://schemas.microsoft.com/office/drawing/2014/main" id="{66375EFA-4E36-4996-AA46-B449F4A32E55}"/>
              </a:ext>
            </a:extLst>
          </p:cNvPr>
          <p:cNvSpPr>
            <a:spLocks noGrp="1"/>
          </p:cNvSpPr>
          <p:nvPr>
            <p:ph type="title"/>
          </p:nvPr>
        </p:nvSpPr>
        <p:spPr>
          <a:xfrm>
            <a:off x="212510" y="218022"/>
            <a:ext cx="11778929" cy="419100"/>
          </a:xfrm>
        </p:spPr>
        <p:txBody>
          <a:bodyPr/>
          <a:lstStyle/>
          <a:p>
            <a:r>
              <a:rPr lang="en-US" sz="3600">
                <a:solidFill>
                  <a:schemeClr val="accent1"/>
                </a:solidFill>
              </a:rPr>
              <a:t>Order Escalations</a:t>
            </a:r>
            <a:endParaRPr lang="en-US" sz="3600"/>
          </a:p>
        </p:txBody>
      </p:sp>
      <p:sp>
        <p:nvSpPr>
          <p:cNvPr id="31" name="Content Placeholder 5">
            <a:extLst>
              <a:ext uri="{FF2B5EF4-FFF2-40B4-BE49-F238E27FC236}">
                <a16:creationId xmlns:a16="http://schemas.microsoft.com/office/drawing/2014/main" id="{BD8F924F-8D50-4D70-9D13-94BA1D4BCC0C}"/>
              </a:ext>
            </a:extLst>
          </p:cNvPr>
          <p:cNvSpPr>
            <a:spLocks noGrp="1"/>
          </p:cNvSpPr>
          <p:nvPr>
            <p:ph idx="1"/>
          </p:nvPr>
        </p:nvSpPr>
        <p:spPr>
          <a:xfrm>
            <a:off x="164213" y="859613"/>
            <a:ext cx="3927131" cy="897488"/>
          </a:xfrm>
          <a:solidFill>
            <a:schemeClr val="bg1">
              <a:lumMod val="85000"/>
            </a:schemeClr>
          </a:solidFill>
        </p:spPr>
        <p:txBody>
          <a:bodyPr vert="horz" lIns="137160" tIns="0" rIns="0" bIns="0" rtlCol="0" anchor="t">
            <a:noAutofit/>
          </a:bodyPr>
          <a:lstStyle/>
          <a:p>
            <a:pPr marL="182880" indent="-182880">
              <a:spcAft>
                <a:spcPts val="300"/>
              </a:spcAft>
            </a:pPr>
            <a:r>
              <a:rPr lang="en-US" sz="1600" u="sng"/>
              <a:t>HON AOG definition:</a:t>
            </a:r>
            <a:endParaRPr lang="en-US" sz="1100"/>
          </a:p>
          <a:p>
            <a:pPr marL="182880" lvl="1" indent="-182880">
              <a:spcAft>
                <a:spcPts val="300"/>
              </a:spcAft>
              <a:buClr>
                <a:schemeClr val="accent1"/>
              </a:buClr>
              <a:buFont typeface="Arial" panose="020B0604020202020204" pitchFamily="34" charset="0"/>
              <a:buChar char="•"/>
            </a:pPr>
            <a:r>
              <a:rPr lang="en-US" sz="1200" b="0"/>
              <a:t>Next Scheduled Flight &lt; 5 days</a:t>
            </a:r>
          </a:p>
          <a:p>
            <a:pPr marL="182880" lvl="1" indent="-182880">
              <a:spcAft>
                <a:spcPts val="300"/>
              </a:spcAft>
              <a:buClr>
                <a:schemeClr val="accent1"/>
              </a:buClr>
              <a:buFont typeface="Arial" panose="020B0604020202020204" pitchFamily="34" charset="0"/>
              <a:buChar char="•"/>
            </a:pPr>
            <a:r>
              <a:rPr lang="en-US" sz="1200" b="0"/>
              <a:t>Minimum Equipment List (MEL) Expiration &lt; 5 days</a:t>
            </a:r>
          </a:p>
          <a:p>
            <a:pPr marL="182880" lvl="1" indent="-182880">
              <a:spcAft>
                <a:spcPts val="300"/>
              </a:spcAft>
              <a:buClr>
                <a:schemeClr val="accent1"/>
              </a:buClr>
              <a:buFont typeface="Arial" panose="020B0604020202020204" pitchFamily="34" charset="0"/>
              <a:buChar char="•"/>
            </a:pPr>
            <a:r>
              <a:rPr lang="en-US" sz="1200"/>
              <a:t>Return to service &lt;5 days</a:t>
            </a:r>
            <a:r>
              <a:rPr lang="en-US" sz="1200" b="0"/>
              <a:t> </a:t>
            </a:r>
          </a:p>
          <a:p>
            <a:pPr marL="182880" lvl="1" indent="-182880">
              <a:spcAft>
                <a:spcPts val="300"/>
              </a:spcAft>
              <a:buFont typeface="Arial" panose="020B0604020202020204" pitchFamily="34" charset="0"/>
              <a:buChar char="•"/>
            </a:pPr>
            <a:endParaRPr lang="en-US" sz="1400"/>
          </a:p>
        </p:txBody>
      </p:sp>
      <p:sp>
        <p:nvSpPr>
          <p:cNvPr id="8" name="Content Placeholder 2">
            <a:extLst>
              <a:ext uri="{FF2B5EF4-FFF2-40B4-BE49-F238E27FC236}">
                <a16:creationId xmlns:a16="http://schemas.microsoft.com/office/drawing/2014/main" id="{0CD95588-495B-425C-B4F9-FAD76CD69366}"/>
              </a:ext>
            </a:extLst>
          </p:cNvPr>
          <p:cNvSpPr txBox="1">
            <a:spLocks/>
          </p:cNvSpPr>
          <p:nvPr/>
        </p:nvSpPr>
        <p:spPr>
          <a:xfrm>
            <a:off x="164213" y="3358668"/>
            <a:ext cx="3852562" cy="2111704"/>
          </a:xfrm>
          <a:prstGeom prst="rect">
            <a:avLst/>
          </a:prstGeom>
          <a:solidFill>
            <a:schemeClr val="bg1">
              <a:lumMod val="85000"/>
            </a:schemeClr>
          </a:solidFill>
        </p:spPr>
        <p:txBody>
          <a:bodyPr vert="horz" lIns="13716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Required AOG info</a:t>
            </a: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ircraft Make, Model &amp; Serial Number</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ircraft Tail / Registration Number</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Operator / End-User Name &amp; Address</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Location of Ground Aircraft</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Next Scheduled Flight / Minimum Equipment List (MEL) Expiration Date</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Failed Part Number (and Serial number if applicable)</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ny additional details regarding the aircraft's current situation</a:t>
            </a:r>
          </a:p>
        </p:txBody>
      </p:sp>
      <p:sp>
        <p:nvSpPr>
          <p:cNvPr id="9" name="Content Placeholder 2">
            <a:extLst>
              <a:ext uri="{FF2B5EF4-FFF2-40B4-BE49-F238E27FC236}">
                <a16:creationId xmlns:a16="http://schemas.microsoft.com/office/drawing/2014/main" id="{8D8624CF-9191-4120-A790-D4313DB1104C}"/>
              </a:ext>
            </a:extLst>
          </p:cNvPr>
          <p:cNvSpPr txBox="1">
            <a:spLocks/>
          </p:cNvSpPr>
          <p:nvPr/>
        </p:nvSpPr>
        <p:spPr>
          <a:xfrm>
            <a:off x="4263598" y="1458654"/>
            <a:ext cx="3801616" cy="150789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sng" strike="noStrike" kern="1200" cap="none" spc="0" normalizeH="0" baseline="0" noProof="0">
                <a:ln>
                  <a:noFill/>
                </a:ln>
                <a:solidFill>
                  <a:prstClr val="black"/>
                </a:solidFill>
                <a:effectLst/>
                <a:uLnTx/>
                <a:uFillTx/>
                <a:latin typeface="Arial"/>
                <a:ea typeface="+mn-ea"/>
                <a:cs typeface="+mn-cs"/>
              </a:rPr>
              <a:t>ESCALATIONS</a:t>
            </a:r>
            <a:r>
              <a:rPr kumimoji="0" lang="en-US" sz="1050" b="1" i="0" u="sng" strike="noStrike" kern="1200" cap="none" spc="0" normalizeH="0" baseline="0" noProof="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50" b="1"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Escalation Best Practices</a:t>
            </a:r>
          </a:p>
          <a:p>
            <a:pPr marL="137160" marR="0" lvl="0" indent="-137160" algn="l" defTabSz="914400" rtl="0" eaLnBrk="1" fontAlgn="auto" latinLnBrk="0" hangingPunct="1">
              <a:lnSpc>
                <a:spcPct val="100000"/>
              </a:lnSpc>
              <a:spcBef>
                <a:spcPts val="0"/>
              </a:spcBef>
              <a:spcAft>
                <a:spcPts val="0"/>
              </a:spcAft>
              <a:buClr>
                <a:srgbClr val="DC202E"/>
              </a:buClr>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ALWAYS</a:t>
            </a:r>
            <a:r>
              <a:rPr kumimoji="0" lang="en-US" sz="1200" b="0" i="0" u="none" strike="noStrike" kern="1200" cap="none" spc="0" normalizeH="0" baseline="0" noProof="0">
                <a:ln>
                  <a:noFill/>
                </a:ln>
                <a:solidFill>
                  <a:prstClr val="black"/>
                </a:solidFill>
                <a:effectLst/>
                <a:uLnTx/>
                <a:uFillTx/>
                <a:latin typeface="Arial"/>
                <a:ea typeface="+mn-ea"/>
                <a:cs typeface="+mn-cs"/>
              </a:rPr>
              <a:t> maintain the same email chain, with case # and ref ID </a:t>
            </a:r>
            <a:r>
              <a:rPr kumimoji="0" lang="en-US" sz="1200" b="1" i="0" u="none" strike="noStrike" kern="1200" cap="none" spc="0" normalizeH="0" baseline="0" noProof="0">
                <a:ln>
                  <a:noFill/>
                </a:ln>
                <a:solidFill>
                  <a:prstClr val="black"/>
                </a:solidFill>
                <a:effectLst/>
                <a:uLnTx/>
                <a:uFillTx/>
                <a:latin typeface="Arial"/>
                <a:ea typeface="+mn-ea"/>
                <a:cs typeface="+mn-cs"/>
              </a:rPr>
              <a:t>(text in brackets)</a:t>
            </a:r>
          </a:p>
          <a:p>
            <a:pPr marL="401638" marR="0" lvl="1" indent="-171450"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lways leave </a:t>
            </a:r>
            <a:r>
              <a:rPr kumimoji="0" lang="en-US" sz="1200" b="1" i="0" u="none" strike="noStrike" kern="1200" cap="none" spc="0" normalizeH="0" baseline="0" noProof="0">
                <a:ln>
                  <a:noFill/>
                </a:ln>
                <a:solidFill>
                  <a:prstClr val="black"/>
                </a:solidFill>
                <a:effectLst/>
                <a:uLnTx/>
                <a:uFillTx/>
                <a:latin typeface="Arial"/>
                <a:ea typeface="+mn-ea"/>
                <a:cs typeface="+mn-cs"/>
              </a:rPr>
              <a:t>“AOG” </a:t>
            </a:r>
            <a:r>
              <a:rPr kumimoji="0" lang="en-US" sz="1200" b="0" i="0" u="none" strike="noStrike" kern="1200" cap="none" spc="0" normalizeH="0" baseline="0" noProof="0">
                <a:ln>
                  <a:noFill/>
                </a:ln>
                <a:solidFill>
                  <a:prstClr val="black"/>
                </a:solidFill>
                <a:effectLst/>
                <a:uLnTx/>
                <a:uFillTx/>
                <a:latin typeface="Arial"/>
                <a:ea typeface="+mn-ea"/>
                <a:cs typeface="+mn-cs"/>
              </a:rPr>
              <a:t>in subject if it is there</a:t>
            </a:r>
          </a:p>
          <a:p>
            <a:pPr marL="137160" marR="0" lvl="0" indent="-137160" algn="l" defTabSz="914400" rtl="0" eaLnBrk="1" fontAlgn="auto" latinLnBrk="0" hangingPunct="1">
              <a:lnSpc>
                <a:spcPct val="100000"/>
              </a:lnSpc>
              <a:spcBef>
                <a:spcPts val="0"/>
              </a:spcBef>
              <a:spcAft>
                <a:spcPts val="0"/>
              </a:spcAft>
              <a:buClr>
                <a:srgbClr val="DC202E"/>
              </a:buClr>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lways add, </a:t>
            </a:r>
            <a:r>
              <a:rPr kumimoji="0" lang="en-US" sz="1200" b="1" i="1" u="sng" strike="noStrike" kern="1200" cap="none" spc="0" normalizeH="0" baseline="0" noProof="0">
                <a:ln>
                  <a:noFill/>
                </a:ln>
                <a:solidFill>
                  <a:srgbClr val="DC202E"/>
                </a:solidFill>
                <a:effectLst/>
                <a:uLnTx/>
                <a:uFillTx/>
                <a:latin typeface="Arial"/>
                <a:ea typeface="+mn-ea"/>
                <a:cs typeface="+mn-cs"/>
              </a:rPr>
              <a:t>never delete</a:t>
            </a:r>
            <a:r>
              <a:rPr kumimoji="0" lang="en-US" sz="1200" b="0" i="0" u="none" strike="noStrike" kern="1200" cap="none" spc="0" normalizeH="0" baseline="0" noProof="0">
                <a:ln>
                  <a:noFill/>
                </a:ln>
                <a:solidFill>
                  <a:prstClr val="black"/>
                </a:solidFill>
                <a:effectLst/>
                <a:uLnTx/>
                <a:uFillTx/>
                <a:latin typeface="Arial"/>
                <a:ea typeface="+mn-ea"/>
                <a:cs typeface="+mn-cs"/>
              </a:rPr>
              <a:t>, contact / escalation names</a:t>
            </a:r>
          </a:p>
        </p:txBody>
      </p:sp>
      <p:sp>
        <p:nvSpPr>
          <p:cNvPr id="10" name="Content Placeholder 2">
            <a:extLst>
              <a:ext uri="{FF2B5EF4-FFF2-40B4-BE49-F238E27FC236}">
                <a16:creationId xmlns:a16="http://schemas.microsoft.com/office/drawing/2014/main" id="{AA1A1219-07D9-468C-BEE7-0C1FB2D5FFBC}"/>
              </a:ext>
            </a:extLst>
          </p:cNvPr>
          <p:cNvSpPr txBox="1">
            <a:spLocks/>
          </p:cNvSpPr>
          <p:nvPr/>
        </p:nvSpPr>
        <p:spPr>
          <a:xfrm>
            <a:off x="4195622" y="3402334"/>
            <a:ext cx="2459531" cy="257988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Spares</a:t>
            </a:r>
            <a:endParaRPr kumimoji="0" lang="en-US" sz="1050" b="1" i="0" u="sng"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Mailbox</a:t>
            </a:r>
          </a:p>
          <a:p>
            <a:pPr marL="403225" marR="0" lvl="1" indent="-168275" algn="l" defTabSz="914400" rtl="0" eaLnBrk="1" fontAlgn="auto" latinLnBrk="0" hangingPunct="1">
              <a:lnSpc>
                <a:spcPct val="100000"/>
              </a:lnSpc>
              <a:spcBef>
                <a:spcPts val="0"/>
              </a:spcBef>
              <a:spcAft>
                <a:spcPts val="300"/>
              </a:spcAft>
              <a:buClr>
                <a:prstClr val="black"/>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hlinkClick r:id="rId4"/>
              </a:rPr>
              <a:t>orders@honeywell.com</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03225" marR="0" lvl="1" indent="-168275" algn="l" defTabSz="914400" rtl="0" eaLnBrk="1" fontAlgn="auto" latinLnBrk="0" hangingPunct="1">
              <a:lnSpc>
                <a:spcPct val="100000"/>
              </a:lnSpc>
              <a:spcBef>
                <a:spcPts val="0"/>
              </a:spcBef>
              <a:spcAft>
                <a:spcPts val="300"/>
              </a:spcAft>
              <a:buClr>
                <a:prstClr val="black"/>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hlinkClick r:id="rId5"/>
              </a:rPr>
              <a:t>OrderStatus@Honeywell.com</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03225" marR="0" lvl="1" indent="-168275" algn="l" defTabSz="914400" rtl="0" eaLnBrk="1" fontAlgn="auto" latinLnBrk="0" hangingPunct="1">
              <a:lnSpc>
                <a:spcPct val="100000"/>
              </a:lnSpc>
              <a:spcBef>
                <a:spcPts val="0"/>
              </a:spcBef>
              <a:spcAft>
                <a:spcPts val="300"/>
              </a:spcAft>
              <a:buClr>
                <a:prstClr val="black"/>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hlinkClick r:id="rId6"/>
              </a:rPr>
              <a:t>orderchanges@honeywell.com</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SM: </a:t>
            </a:r>
            <a:r>
              <a:rPr kumimoji="0" lang="en-US" sz="1050" b="0" i="0" u="none" strike="noStrike" kern="1200" cap="none" spc="0" normalizeH="0" baseline="0" noProof="0">
                <a:ln>
                  <a:noFill/>
                </a:ln>
                <a:solidFill>
                  <a:prstClr val="black"/>
                </a:solidFill>
                <a:effectLst/>
                <a:uLnTx/>
                <a:uFillTx/>
                <a:latin typeface="Arial"/>
                <a:ea typeface="+mn-ea"/>
                <a:cs typeface="+mn-cs"/>
                <a:hlinkClick r:id="rId7"/>
              </a:rPr>
              <a:t>Karl Lico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Director, C&amp;PS-AM: </a:t>
            </a:r>
            <a:r>
              <a:rPr kumimoji="0" lang="en-US" sz="1050" b="0" i="0" u="none" strike="noStrike" kern="1200" cap="none" spc="0" normalizeH="0" baseline="0" noProof="0">
                <a:ln>
                  <a:noFill/>
                </a:ln>
                <a:solidFill>
                  <a:prstClr val="black"/>
                </a:solidFill>
                <a:effectLst/>
                <a:uLnTx/>
                <a:uFillTx/>
                <a:latin typeface="Arial"/>
                <a:ea typeface="+mn-ea"/>
                <a:cs typeface="+mn-cs"/>
                <a:hlinkClick r:id="rId8"/>
              </a:rPr>
              <a:t>Rod Kenn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VP, C&amp;PS-AM, OE: </a:t>
            </a:r>
            <a:r>
              <a:rPr kumimoji="0" lang="en-US" sz="1050" b="0" i="0" u="none" strike="noStrike" kern="1200" cap="none" spc="0" normalizeH="0" baseline="0" noProof="0">
                <a:ln>
                  <a:noFill/>
                </a:ln>
                <a:solidFill>
                  <a:prstClr val="black"/>
                </a:solidFill>
                <a:effectLst/>
                <a:uLnTx/>
                <a:uFillTx/>
                <a:latin typeface="Arial"/>
                <a:ea typeface="+mn-ea"/>
                <a:cs typeface="+mn-cs"/>
                <a:hlinkClick r:id="rId9"/>
              </a:rPr>
              <a:t>Todd Owens</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Business</a:t>
            </a: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BD: </a:t>
            </a:r>
            <a:r>
              <a:rPr kumimoji="0" lang="en-US" sz="1050" b="0" i="0" u="none" strike="noStrike" kern="1200" cap="none" spc="0" normalizeH="0" baseline="0" noProof="0">
                <a:ln>
                  <a:noFill/>
                </a:ln>
                <a:solidFill>
                  <a:prstClr val="black"/>
                </a:solidFill>
                <a:effectLst/>
                <a:uLnTx/>
                <a:uFillTx/>
                <a:latin typeface="Arial"/>
                <a:ea typeface="+mn-ea"/>
                <a:cs typeface="+mn-cs"/>
                <a:hlinkClick r:id="rId10"/>
              </a:rPr>
              <a:t>Michael Ry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AM VP Sales: </a:t>
            </a:r>
            <a:r>
              <a:rPr kumimoji="0" lang="en-US" sz="1050" b="0" i="0" u="none" strike="noStrike" kern="1200" cap="none" spc="0" normalizeH="0" baseline="0" noProof="0">
                <a:ln>
                  <a:noFill/>
                </a:ln>
                <a:solidFill>
                  <a:prstClr val="black"/>
                </a:solidFill>
                <a:effectLst/>
                <a:uLnTx/>
                <a:uFillTx/>
                <a:latin typeface="Arial"/>
                <a:ea typeface="+mn-ea"/>
                <a:cs typeface="+mn-cs"/>
                <a:hlinkClick r:id="rId11"/>
              </a:rPr>
              <a:t>Brian Howell</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230187" marR="0" lvl="1" indent="0" algn="l" defTabSz="914400" rtl="0" eaLnBrk="1" fontAlgn="auto" latinLnBrk="0" hangingPunct="1">
              <a:lnSpc>
                <a:spcPct val="100000"/>
              </a:lnSpc>
              <a:spcBef>
                <a:spcPts val="0"/>
              </a:spcBef>
              <a:spcAft>
                <a:spcPts val="300"/>
              </a:spcAft>
              <a:buClr>
                <a:prstClr val="black"/>
              </a:buClr>
              <a:buSzTx/>
              <a:buFont typeface="Arial" panose="020B0604020202020204" pitchFamily="34" charset="0"/>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300"/>
              </a:spcAft>
              <a:buClrTx/>
              <a:buSzTx/>
              <a:buFont typeface="+mj-lt"/>
              <a:buAutoNum type="arabicPeriod"/>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
        <p:nvSpPr>
          <p:cNvPr id="11" name="Content Placeholder 2">
            <a:extLst>
              <a:ext uri="{FF2B5EF4-FFF2-40B4-BE49-F238E27FC236}">
                <a16:creationId xmlns:a16="http://schemas.microsoft.com/office/drawing/2014/main" id="{8768B112-4E4A-48F2-BC24-91C1A0EF946E}"/>
              </a:ext>
            </a:extLst>
          </p:cNvPr>
          <p:cNvSpPr txBox="1">
            <a:spLocks/>
          </p:cNvSpPr>
          <p:nvPr/>
        </p:nvSpPr>
        <p:spPr>
          <a:xfrm>
            <a:off x="6782373" y="3402334"/>
            <a:ext cx="2522334" cy="222885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Repairs</a:t>
            </a: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Mailbox: </a:t>
            </a:r>
            <a:r>
              <a:rPr kumimoji="0" lang="en-US" sz="1050" b="0" i="0" u="none" strike="noStrike" kern="1200" cap="none" spc="0" normalizeH="0" baseline="0" noProof="0">
                <a:ln>
                  <a:noFill/>
                </a:ln>
                <a:solidFill>
                  <a:prstClr val="black"/>
                </a:solidFill>
                <a:effectLst/>
                <a:uLnTx/>
                <a:uFillTx/>
                <a:latin typeface="Arial"/>
                <a:ea typeface="+mn-ea"/>
                <a:cs typeface="+mn-cs"/>
                <a:hlinkClick r:id="rId12"/>
              </a:rPr>
              <a:t>aerorepairs@honeywell.com</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SM: </a:t>
            </a:r>
            <a:r>
              <a:rPr kumimoji="0" lang="en-US" sz="1050" b="0" i="0" u="none" strike="noStrike" kern="1200" cap="none" spc="0" normalizeH="0" baseline="0" noProof="0">
                <a:ln>
                  <a:noFill/>
                </a:ln>
                <a:solidFill>
                  <a:prstClr val="black"/>
                </a:solidFill>
                <a:effectLst/>
                <a:uLnTx/>
                <a:uFillTx/>
                <a:latin typeface="Arial"/>
                <a:ea typeface="+mn-ea"/>
                <a:cs typeface="+mn-cs"/>
                <a:hlinkClick r:id="rId7"/>
              </a:rPr>
              <a:t>Karl Lico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Director, C&amp;PS-AM: </a:t>
            </a:r>
            <a:r>
              <a:rPr kumimoji="0" lang="en-US" sz="1050" b="0" i="0" u="none" strike="noStrike" kern="1200" cap="none" spc="0" normalizeH="0" baseline="0" noProof="0">
                <a:ln>
                  <a:noFill/>
                </a:ln>
                <a:solidFill>
                  <a:prstClr val="black"/>
                </a:solidFill>
                <a:effectLst/>
                <a:uLnTx/>
                <a:uFillTx/>
                <a:latin typeface="Arial"/>
                <a:ea typeface="+mn-ea"/>
                <a:cs typeface="+mn-cs"/>
                <a:hlinkClick r:id="rId8"/>
              </a:rPr>
              <a:t>Rod Kenn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VP, C&amp;PS-AM, OE: </a:t>
            </a:r>
            <a:r>
              <a:rPr kumimoji="0" lang="en-US" sz="1050" b="0" i="0" u="none" strike="noStrike" kern="1200" cap="none" spc="0" normalizeH="0" baseline="0" noProof="0">
                <a:ln>
                  <a:noFill/>
                </a:ln>
                <a:solidFill>
                  <a:prstClr val="black"/>
                </a:solidFill>
                <a:effectLst/>
                <a:uLnTx/>
                <a:uFillTx/>
                <a:latin typeface="Arial"/>
                <a:ea typeface="+mn-ea"/>
                <a:cs typeface="+mn-cs"/>
                <a:hlinkClick r:id="rId9"/>
              </a:rPr>
              <a:t>Todd Owens</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Business</a:t>
            </a: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BD: </a:t>
            </a:r>
            <a:r>
              <a:rPr kumimoji="0" lang="en-US" sz="1050" b="0" i="0" u="none" strike="noStrike" kern="1200" cap="none" spc="0" normalizeH="0" baseline="0" noProof="0">
                <a:ln>
                  <a:noFill/>
                </a:ln>
                <a:solidFill>
                  <a:prstClr val="black"/>
                </a:solidFill>
                <a:effectLst/>
                <a:uLnTx/>
                <a:uFillTx/>
                <a:latin typeface="Arial"/>
                <a:ea typeface="+mn-ea"/>
                <a:cs typeface="+mn-cs"/>
                <a:hlinkClick r:id="rId10"/>
              </a:rPr>
              <a:t>Michael Ry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AM VP Sales: </a:t>
            </a:r>
            <a:r>
              <a:rPr kumimoji="0" lang="en-US" sz="1050" b="0" i="0" u="none" strike="noStrike" kern="1200" cap="none" spc="0" normalizeH="0" baseline="0" noProof="0">
                <a:ln>
                  <a:noFill/>
                </a:ln>
                <a:solidFill>
                  <a:prstClr val="black"/>
                </a:solidFill>
                <a:effectLst/>
                <a:uLnTx/>
                <a:uFillTx/>
                <a:latin typeface="Arial"/>
                <a:ea typeface="+mn-ea"/>
                <a:cs typeface="+mn-cs"/>
                <a:hlinkClick r:id="rId11"/>
              </a:rPr>
              <a:t>Brian Howell</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230187" marR="0" lvl="1" indent="0" algn="l" defTabSz="914400" rtl="0" eaLnBrk="1" fontAlgn="auto" latinLnBrk="0" hangingPunct="1">
              <a:lnSpc>
                <a:spcPct val="100000"/>
              </a:lnSpc>
              <a:spcBef>
                <a:spcPts val="0"/>
              </a:spcBef>
              <a:spcAft>
                <a:spcPts val="300"/>
              </a:spcAft>
              <a:buClr>
                <a:prstClr val="black"/>
              </a:buClr>
              <a:buSzTx/>
              <a:buFont typeface="Arial" panose="020B0604020202020204" pitchFamily="34" charset="0"/>
              <a:buNone/>
              <a:tabLst/>
              <a:defRPr/>
            </a:pPr>
            <a:endParaRPr kumimoji="0" lang="en-US" sz="1050" b="0" i="0" u="none" strike="noStrike" kern="1200" cap="none" spc="0" normalizeH="0" baseline="0" noProof="0">
              <a:ln>
                <a:noFill/>
              </a:ln>
              <a:solidFill>
                <a:prstClr val="black"/>
              </a:solidFill>
              <a:effectLst/>
              <a:uLnTx/>
              <a:uFillTx/>
              <a:latin typeface="Arial"/>
              <a:ea typeface="+mn-ea"/>
              <a:cs typeface="+mn-cs"/>
            </a:endParaRPr>
          </a:p>
        </p:txBody>
      </p:sp>
      <p:sp>
        <p:nvSpPr>
          <p:cNvPr id="12" name="Content Placeholder 2">
            <a:extLst>
              <a:ext uri="{FF2B5EF4-FFF2-40B4-BE49-F238E27FC236}">
                <a16:creationId xmlns:a16="http://schemas.microsoft.com/office/drawing/2014/main" id="{3B107536-719B-4300-A211-213827933F01}"/>
              </a:ext>
            </a:extLst>
          </p:cNvPr>
          <p:cNvSpPr txBox="1">
            <a:spLocks/>
          </p:cNvSpPr>
          <p:nvPr/>
        </p:nvSpPr>
        <p:spPr>
          <a:xfrm>
            <a:off x="9396104" y="3404695"/>
            <a:ext cx="2631683" cy="276893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AOG orders</a:t>
            </a: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SR: </a:t>
            </a:r>
            <a:r>
              <a:rPr kumimoji="0" lang="en-US" sz="1050" b="0" i="0" u="none" strike="noStrike" kern="1200" cap="none" spc="0" normalizeH="0" baseline="0" noProof="0">
                <a:ln>
                  <a:noFill/>
                </a:ln>
                <a:solidFill>
                  <a:prstClr val="black"/>
                </a:solidFill>
                <a:effectLst/>
                <a:uLnTx/>
                <a:uFillTx/>
                <a:latin typeface="Arial"/>
                <a:ea typeface="+mn-ea"/>
                <a:cs typeface="+mn-cs"/>
                <a:hlinkClick r:id="rId13"/>
              </a:rPr>
              <a:t>AOG@honeywell.com</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OG Supervisor: </a:t>
            </a:r>
            <a:r>
              <a:rPr kumimoji="0" lang="en-US" sz="1050" b="0" i="0" u="none" strike="noStrike" kern="1200" cap="none" spc="0" normalizeH="0" baseline="0" noProof="0">
                <a:ln>
                  <a:noFill/>
                </a:ln>
                <a:solidFill>
                  <a:prstClr val="black"/>
                </a:solidFill>
                <a:effectLst/>
                <a:uLnTx/>
                <a:uFillTx/>
                <a:latin typeface="Arial"/>
                <a:ea typeface="+mn-ea"/>
                <a:cs typeface="+mn-cs"/>
                <a:hlinkClick r:id="rId14"/>
              </a:rPr>
              <a:t>Josh Olso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OG Manager: </a:t>
            </a:r>
            <a:r>
              <a:rPr kumimoji="0" lang="en-US" sz="1050" b="0" i="0" u="none" strike="noStrike" kern="1200" cap="none" spc="0" normalizeH="0" baseline="0" noProof="0">
                <a:ln>
                  <a:noFill/>
                </a:ln>
                <a:solidFill>
                  <a:prstClr val="black"/>
                </a:solidFill>
                <a:effectLst/>
                <a:uLnTx/>
                <a:uFillTx/>
                <a:latin typeface="Arial"/>
                <a:ea typeface="+mn-ea"/>
                <a:cs typeface="+mn-cs"/>
                <a:hlinkClick r:id="rId15"/>
              </a:rPr>
              <a:t>Cesar Contreras </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OG Director: </a:t>
            </a:r>
            <a:r>
              <a:rPr kumimoji="0" lang="en-US" sz="1050" b="0" i="0" u="none" strike="noStrike" kern="1200" cap="none" spc="0" normalizeH="0" baseline="0" noProof="0">
                <a:ln>
                  <a:noFill/>
                </a:ln>
                <a:solidFill>
                  <a:prstClr val="black"/>
                </a:solidFill>
                <a:effectLst/>
                <a:uLnTx/>
                <a:uFillTx/>
                <a:latin typeface="Arial"/>
                <a:ea typeface="+mn-ea"/>
                <a:cs typeface="+mn-cs"/>
                <a:hlinkClick r:id="rId16"/>
              </a:rPr>
              <a:t>Ryan Soethe</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SM: </a:t>
            </a:r>
            <a:r>
              <a:rPr kumimoji="0" lang="en-US" sz="1050" b="0" i="0" u="none" strike="noStrike" kern="1200" cap="none" spc="0" normalizeH="0" baseline="0" noProof="0">
                <a:ln>
                  <a:noFill/>
                </a:ln>
                <a:solidFill>
                  <a:prstClr val="black"/>
                </a:solidFill>
                <a:effectLst/>
                <a:uLnTx/>
                <a:uFillTx/>
                <a:latin typeface="Arial"/>
                <a:ea typeface="+mn-ea"/>
                <a:cs typeface="+mn-cs"/>
                <a:hlinkClick r:id="rId7"/>
              </a:rPr>
              <a:t>Karl Lico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Director, C&amp;PS-AM: </a:t>
            </a:r>
            <a:r>
              <a:rPr kumimoji="0" lang="en-US" sz="1050" b="0" i="0" u="none" strike="noStrike" kern="1200" cap="none" spc="0" normalizeH="0" baseline="0" noProof="0">
                <a:ln>
                  <a:noFill/>
                </a:ln>
                <a:solidFill>
                  <a:prstClr val="black"/>
                </a:solidFill>
                <a:effectLst/>
                <a:uLnTx/>
                <a:uFillTx/>
                <a:latin typeface="Arial"/>
                <a:ea typeface="+mn-ea"/>
                <a:cs typeface="+mn-cs"/>
                <a:hlinkClick r:id="rId8"/>
              </a:rPr>
              <a:t>Rod Kenn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VP, C&amp;PS-AM, OE: </a:t>
            </a:r>
            <a:r>
              <a:rPr kumimoji="0" lang="en-US" sz="1050" b="0" i="0" u="none" strike="noStrike" kern="1200" cap="none" spc="0" normalizeH="0" baseline="0" noProof="0">
                <a:ln>
                  <a:noFill/>
                </a:ln>
                <a:solidFill>
                  <a:prstClr val="black"/>
                </a:solidFill>
                <a:effectLst/>
                <a:uLnTx/>
                <a:uFillTx/>
                <a:latin typeface="Arial"/>
                <a:ea typeface="+mn-ea"/>
                <a:cs typeface="+mn-cs"/>
                <a:hlinkClick r:id="rId9"/>
              </a:rPr>
              <a:t>Todd Owens</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Business</a:t>
            </a: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BD: </a:t>
            </a:r>
            <a:r>
              <a:rPr kumimoji="0" lang="en-US" sz="1050" b="0" i="0" u="none" strike="noStrike" kern="1200" cap="none" spc="0" normalizeH="0" baseline="0" noProof="0">
                <a:ln>
                  <a:noFill/>
                </a:ln>
                <a:solidFill>
                  <a:prstClr val="black"/>
                </a:solidFill>
                <a:effectLst/>
                <a:uLnTx/>
                <a:uFillTx/>
                <a:latin typeface="Arial"/>
                <a:ea typeface="+mn-ea"/>
                <a:cs typeface="+mn-cs"/>
                <a:hlinkClick r:id="rId10"/>
              </a:rPr>
              <a:t>Michael Ryan</a:t>
            </a:r>
            <a:endParaRPr kumimoji="0" lang="en-US" sz="1050" b="0" i="0" u="none" strike="noStrike" kern="1200" cap="none" spc="0" normalizeH="0" baseline="0" noProof="0">
              <a:ln>
                <a:noFill/>
              </a:ln>
              <a:solidFill>
                <a:prstClr val="black"/>
              </a:solidFill>
              <a:effectLst/>
              <a:uLnTx/>
              <a:uFillTx/>
              <a:latin typeface="Arial"/>
              <a:ea typeface="+mn-ea"/>
              <a:cs typeface="+mn-cs"/>
            </a:endParaRP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AM VP Sales: </a:t>
            </a:r>
            <a:r>
              <a:rPr kumimoji="0" lang="en-US" sz="1050" b="0" i="0" u="none" strike="noStrike" kern="1200" cap="none" spc="0" normalizeH="0" baseline="0" noProof="0">
                <a:ln>
                  <a:noFill/>
                </a:ln>
                <a:solidFill>
                  <a:prstClr val="black"/>
                </a:solidFill>
                <a:effectLst/>
                <a:uLnTx/>
                <a:uFillTx/>
                <a:latin typeface="Arial"/>
                <a:ea typeface="+mn-ea"/>
                <a:cs typeface="+mn-cs"/>
                <a:hlinkClick r:id="rId11"/>
              </a:rPr>
              <a:t>Brian Howell</a:t>
            </a:r>
            <a:endParaRPr kumimoji="0" lang="en-US" sz="1050" b="0" i="0" u="none" strike="noStrike" kern="1200" cap="none" spc="0" normalizeH="0" baseline="0" noProof="0">
              <a:ln>
                <a:noFill/>
              </a:ln>
              <a:solidFill>
                <a:prstClr val="black"/>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A79A1591-A835-4682-92C5-7927255D465E}"/>
              </a:ext>
            </a:extLst>
          </p:cNvPr>
          <p:cNvCxnSpPr>
            <a:cxnSpLocks/>
          </p:cNvCxnSpPr>
          <p:nvPr/>
        </p:nvCxnSpPr>
        <p:spPr>
          <a:xfrm flipH="1">
            <a:off x="6682478" y="3636805"/>
            <a:ext cx="8498" cy="2034364"/>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8FD3C45-905D-4551-9C01-3913552DD23C}"/>
              </a:ext>
            </a:extLst>
          </p:cNvPr>
          <p:cNvSpPr txBox="1"/>
          <p:nvPr/>
        </p:nvSpPr>
        <p:spPr>
          <a:xfrm>
            <a:off x="4992601" y="3052822"/>
            <a:ext cx="2206797" cy="276225"/>
          </a:xfrm>
          <a:prstGeom prst="rect">
            <a:avLst/>
          </a:prstGeom>
          <a:solidFill>
            <a:srgbClr val="FFFF00"/>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prstClr val="black"/>
                </a:solidFill>
                <a:effectLst/>
                <a:uLnTx/>
                <a:uFillTx/>
                <a:latin typeface="Arial"/>
                <a:ea typeface="+mn-ea"/>
                <a:cs typeface="+mn-cs"/>
              </a:rPr>
              <a:t>Escalation path f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a:ln>
                <a:noFill/>
              </a:ln>
              <a:solidFill>
                <a:srgbClr val="FF0000"/>
              </a:solidFill>
              <a:effectLst/>
              <a:highlight>
                <a:srgbClr val="FFFF00"/>
              </a:highlight>
              <a:uLnTx/>
              <a:uFillTx/>
              <a:latin typeface="Arial"/>
              <a:ea typeface="+mn-ea"/>
              <a:cs typeface="+mn-cs"/>
            </a:endParaRPr>
          </a:p>
        </p:txBody>
      </p:sp>
      <p:cxnSp>
        <p:nvCxnSpPr>
          <p:cNvPr id="24" name="Straight Connector 23">
            <a:extLst>
              <a:ext uri="{FF2B5EF4-FFF2-40B4-BE49-F238E27FC236}">
                <a16:creationId xmlns:a16="http://schemas.microsoft.com/office/drawing/2014/main" id="{2C5FE52F-C4FD-4A51-BAE5-633340BA6DBF}"/>
              </a:ext>
            </a:extLst>
          </p:cNvPr>
          <p:cNvCxnSpPr>
            <a:cxnSpLocks/>
          </p:cNvCxnSpPr>
          <p:nvPr/>
        </p:nvCxnSpPr>
        <p:spPr>
          <a:xfrm>
            <a:off x="9304707" y="3584788"/>
            <a:ext cx="0" cy="204639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FF2A0749-38DB-4EA1-8BE1-2390DBC32399}"/>
              </a:ext>
            </a:extLst>
          </p:cNvPr>
          <p:cNvSpPr txBox="1">
            <a:spLocks/>
          </p:cNvSpPr>
          <p:nvPr/>
        </p:nvSpPr>
        <p:spPr>
          <a:xfrm>
            <a:off x="9964615" y="278989"/>
            <a:ext cx="2156598" cy="882259"/>
          </a:xfrm>
          <a:prstGeom prst="rect">
            <a:avLst/>
          </a:prstGeom>
          <a:solidFill>
            <a:schemeClr val="bg1">
              <a:lumMod val="95000"/>
            </a:schemeClr>
          </a:solidFill>
          <a:ln>
            <a:solidFill>
              <a:schemeClr val="accent1"/>
            </a:solidFill>
          </a:ln>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Jeremy Baich</a:t>
            </a:r>
          </a:p>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VP, Global Customer Experience</a:t>
            </a:r>
          </a:p>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480-235-9436</a:t>
            </a:r>
          </a:p>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hlinkClick r:id="rId17"/>
              </a:rPr>
              <a:t>jeremy.baich@honeywell.com</a:t>
            </a:r>
            <a:endParaRPr kumimoji="0" lang="en-US" sz="8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US" sz="700" b="0" i="0" u="none" strike="noStrike" kern="1200" cap="none" spc="0" normalizeH="0" baseline="0" noProof="0">
              <a:ln>
                <a:noFill/>
              </a:ln>
              <a:solidFill>
                <a:prstClr val="black"/>
              </a:solidFill>
              <a:effectLst/>
              <a:uLnTx/>
              <a:uFillTx/>
              <a:latin typeface="Arial"/>
              <a:ea typeface="+mn-ea"/>
              <a:cs typeface="+mn-cs"/>
            </a:endParaRPr>
          </a:p>
        </p:txBody>
      </p:sp>
      <p:sp>
        <p:nvSpPr>
          <p:cNvPr id="16" name="Content Placeholder 2">
            <a:extLst>
              <a:ext uri="{FF2B5EF4-FFF2-40B4-BE49-F238E27FC236}">
                <a16:creationId xmlns:a16="http://schemas.microsoft.com/office/drawing/2014/main" id="{5E5B835F-52E7-42AF-9263-E7A3A7EE4889}"/>
              </a:ext>
            </a:extLst>
          </p:cNvPr>
          <p:cNvSpPr txBox="1">
            <a:spLocks/>
          </p:cNvSpPr>
          <p:nvPr/>
        </p:nvSpPr>
        <p:spPr>
          <a:xfrm>
            <a:off x="8358777" y="1677683"/>
            <a:ext cx="3590182" cy="13712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General Escalations</a:t>
            </a:r>
          </a:p>
          <a:p>
            <a:pPr marL="166688" marR="0" lvl="0" indent="-166688"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SM: </a:t>
            </a:r>
            <a:r>
              <a:rPr kumimoji="0" lang="en-US" sz="1050" b="0" i="0" u="none" strike="noStrike" kern="1200" cap="none" spc="0" normalizeH="0" baseline="0" noProof="0">
                <a:ln>
                  <a:noFill/>
                </a:ln>
                <a:solidFill>
                  <a:prstClr val="black"/>
                </a:solidFill>
                <a:effectLst/>
                <a:uLnTx/>
                <a:uFillTx/>
                <a:latin typeface="Arial"/>
                <a:ea typeface="+mn-ea"/>
                <a:cs typeface="+mn-cs"/>
                <a:hlinkClick r:id="rId7"/>
              </a:rPr>
              <a:t>Karl Licon</a:t>
            </a:r>
            <a:r>
              <a:rPr kumimoji="0" lang="en-US" sz="1050" b="0" i="0" u="none" strike="noStrike" kern="1200" cap="none" spc="0" normalizeH="0" baseline="0" noProof="0">
                <a:ln>
                  <a:noFill/>
                </a:ln>
                <a:solidFill>
                  <a:prstClr val="black"/>
                </a:solidFill>
                <a:effectLst/>
                <a:uLnTx/>
                <a:uFillTx/>
                <a:latin typeface="Arial"/>
                <a:ea typeface="+mn-ea"/>
                <a:cs typeface="+mn-cs"/>
              </a:rPr>
              <a:t> Cell: 469-875-8227</a:t>
            </a:r>
          </a:p>
          <a:p>
            <a:pPr marL="166688" marR="0" lvl="0" indent="-166688" algn="l" defTabSz="914400" rtl="0" eaLnBrk="1" fontAlgn="auto" latinLnBrk="0" hangingPunct="1">
              <a:lnSpc>
                <a:spcPct val="100000"/>
              </a:lnSpc>
              <a:spcBef>
                <a:spcPts val="0"/>
              </a:spcBef>
              <a:spcAft>
                <a:spcPts val="30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Director, C&amp;PS-AM: </a:t>
            </a:r>
            <a:r>
              <a:rPr kumimoji="0" lang="en-US" sz="1050" b="0" i="0" u="none" strike="noStrike" kern="1200" cap="none" spc="0" normalizeH="0" baseline="0" noProof="0">
                <a:ln>
                  <a:noFill/>
                </a:ln>
                <a:solidFill>
                  <a:prstClr val="black"/>
                </a:solidFill>
                <a:effectLst/>
                <a:uLnTx/>
                <a:uFillTx/>
                <a:latin typeface="Arial"/>
                <a:ea typeface="+mn-ea"/>
                <a:cs typeface="+mn-cs"/>
                <a:hlinkClick r:id="rId8"/>
              </a:rPr>
              <a:t>Rod Kennan</a:t>
            </a:r>
            <a:r>
              <a:rPr kumimoji="0" lang="en-US" sz="1050" b="0" i="0" u="none" strike="noStrike" kern="1200" cap="none" spc="0" normalizeH="0" baseline="0" noProof="0">
                <a:ln>
                  <a:noFill/>
                </a:ln>
                <a:solidFill>
                  <a:prstClr val="black"/>
                </a:solidFill>
                <a:effectLst/>
                <a:uLnTx/>
                <a:uFillTx/>
                <a:latin typeface="Arial"/>
                <a:ea typeface="+mn-ea"/>
                <a:cs typeface="+mn-cs"/>
              </a:rPr>
              <a:t>: Cell: (602)228-7287</a:t>
            </a:r>
          </a:p>
          <a:p>
            <a:pPr marL="166688" marR="0" lvl="0" indent="-166688"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VP, C&amp;PS-AM, OE: </a:t>
            </a:r>
            <a:r>
              <a:rPr kumimoji="0" lang="en-US" sz="1050" b="0" i="0" u="none" strike="noStrike" kern="1200" cap="none" spc="0" normalizeH="0" baseline="0" noProof="0">
                <a:ln>
                  <a:noFill/>
                </a:ln>
                <a:solidFill>
                  <a:prstClr val="black"/>
                </a:solidFill>
                <a:effectLst/>
                <a:uLnTx/>
                <a:uFillTx/>
                <a:latin typeface="Arial"/>
                <a:ea typeface="+mn-ea"/>
                <a:cs typeface="+mn-cs"/>
                <a:hlinkClick r:id="rId9">
                  <a:extLst>
                    <a:ext uri="{A12FA001-AC4F-418D-AE19-62706E023703}">
                      <ahyp:hlinkClr xmlns:ahyp="http://schemas.microsoft.com/office/drawing/2018/hyperlinkcolor" val="tx"/>
                    </a:ext>
                  </a:extLst>
                </a:hlinkClick>
              </a:rPr>
              <a:t>Todd Owens</a:t>
            </a:r>
            <a:r>
              <a:rPr kumimoji="0" lang="en-US" sz="1050" b="0" i="0" u="none" strike="noStrike" kern="1200" cap="none" spc="0" normalizeH="0" baseline="0" noProof="0">
                <a:ln>
                  <a:noFill/>
                </a:ln>
                <a:solidFill>
                  <a:prstClr val="black"/>
                </a:solidFill>
                <a:effectLst/>
                <a:uLnTx/>
                <a:uFillTx/>
                <a:latin typeface="Arial"/>
                <a:ea typeface="+mn-ea"/>
                <a:cs typeface="+mn-cs"/>
              </a:rPr>
              <a:t> Cell: (623)363-9372</a:t>
            </a:r>
          </a:p>
          <a:p>
            <a:pPr marL="403225" marR="0" lvl="1" indent="-173038" algn="l" defTabSz="914400" rtl="0" eaLnBrk="1" fontAlgn="auto" latinLnBrk="0" hangingPunct="1">
              <a:lnSpc>
                <a:spcPct val="100000"/>
              </a:lnSpc>
              <a:spcBef>
                <a:spcPts val="0"/>
              </a:spcBef>
              <a:spcAft>
                <a:spcPts val="300"/>
              </a:spcAft>
              <a:buClr>
                <a:prstClr val="black"/>
              </a:buClr>
              <a:buSzTx/>
              <a:buFont typeface="+mj-lt"/>
              <a:buAutoNum type="alphaLcParen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Business CBD: </a:t>
            </a:r>
            <a:r>
              <a:rPr kumimoji="0" lang="en-US" sz="1050" b="0" i="0" u="none" strike="noStrike" kern="1200" cap="none" spc="0" normalizeH="0" baseline="0" noProof="0">
                <a:ln>
                  <a:noFill/>
                </a:ln>
                <a:solidFill>
                  <a:prstClr val="black"/>
                </a:solidFill>
                <a:effectLst/>
                <a:uLnTx/>
                <a:uFillTx/>
                <a:latin typeface="Arial"/>
                <a:ea typeface="+mn-ea"/>
                <a:cs typeface="+mn-cs"/>
                <a:hlinkClick r:id="rId10"/>
              </a:rPr>
              <a:t>Michael Ryan</a:t>
            </a:r>
            <a:r>
              <a:rPr kumimoji="0" lang="en-US" sz="1050" b="0" i="0" u="none" strike="noStrike" kern="1200" cap="none" spc="0" normalizeH="0" baseline="0" noProof="0">
                <a:ln>
                  <a:noFill/>
                </a:ln>
                <a:solidFill>
                  <a:prstClr val="black"/>
                </a:solidFill>
                <a:effectLst/>
                <a:uLnTx/>
                <a:uFillTx/>
                <a:latin typeface="Arial"/>
                <a:ea typeface="+mn-ea"/>
                <a:cs typeface="+mn-cs"/>
              </a:rPr>
              <a:t> Cell: (973)270-1914</a:t>
            </a:r>
          </a:p>
          <a:p>
            <a:pPr marL="166688" marR="0" lvl="0" indent="-166688"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Sr CBD: </a:t>
            </a:r>
            <a:r>
              <a:rPr kumimoji="0" lang="en-US" sz="1050" b="0" i="0" u="none" strike="noStrike" kern="1200" cap="none" spc="0" normalizeH="0" baseline="0" noProof="0">
                <a:ln>
                  <a:noFill/>
                </a:ln>
                <a:solidFill>
                  <a:prstClr val="black"/>
                </a:solidFill>
                <a:effectLst/>
                <a:uLnTx/>
                <a:uFillTx/>
                <a:latin typeface="Arial"/>
                <a:ea typeface="+mn-ea"/>
                <a:cs typeface="+mn-cs"/>
                <a:hlinkClick r:id="rId11"/>
              </a:rPr>
              <a:t>Brian Howell</a:t>
            </a:r>
            <a:r>
              <a:rPr kumimoji="0" lang="en-US" sz="1050" b="0" i="0" u="none" strike="noStrike" kern="1200" cap="none" spc="0" normalizeH="0" baseline="0" noProof="0">
                <a:ln>
                  <a:noFill/>
                </a:ln>
                <a:solidFill>
                  <a:prstClr val="black"/>
                </a:solidFill>
                <a:effectLst/>
                <a:uLnTx/>
                <a:uFillTx/>
                <a:latin typeface="Arial"/>
                <a:ea typeface="+mn-ea"/>
                <a:cs typeface="+mn-cs"/>
              </a:rPr>
              <a:t> Cell: (316)347-3579 </a:t>
            </a:r>
          </a:p>
        </p:txBody>
      </p:sp>
      <p:cxnSp>
        <p:nvCxnSpPr>
          <p:cNvPr id="20" name="Straight Connector 19">
            <a:extLst>
              <a:ext uri="{FF2B5EF4-FFF2-40B4-BE49-F238E27FC236}">
                <a16:creationId xmlns:a16="http://schemas.microsoft.com/office/drawing/2014/main" id="{4B859747-3FAC-4472-B245-88806AD2AC29}"/>
              </a:ext>
            </a:extLst>
          </p:cNvPr>
          <p:cNvCxnSpPr>
            <a:cxnSpLocks/>
          </p:cNvCxnSpPr>
          <p:nvPr/>
        </p:nvCxnSpPr>
        <p:spPr>
          <a:xfrm>
            <a:off x="9403231" y="3247163"/>
            <a:ext cx="2373346"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555C5FE-A9CE-427D-99B8-46D114F49C71}"/>
              </a:ext>
            </a:extLst>
          </p:cNvPr>
          <p:cNvCxnSpPr>
            <a:cxnSpLocks/>
          </p:cNvCxnSpPr>
          <p:nvPr/>
        </p:nvCxnSpPr>
        <p:spPr>
          <a:xfrm>
            <a:off x="8186522" y="1526500"/>
            <a:ext cx="0" cy="143615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7F66949E-7EC2-4FC3-82F1-C4D21EC5D2BF}"/>
              </a:ext>
            </a:extLst>
          </p:cNvPr>
          <p:cNvSpPr txBox="1">
            <a:spLocks/>
          </p:cNvSpPr>
          <p:nvPr/>
        </p:nvSpPr>
        <p:spPr>
          <a:xfrm>
            <a:off x="164213" y="5581877"/>
            <a:ext cx="3852562" cy="1217508"/>
          </a:xfrm>
          <a:prstGeom prst="rect">
            <a:avLst/>
          </a:prstGeom>
          <a:solidFill>
            <a:schemeClr val="bg1">
              <a:lumMod val="85000"/>
            </a:schemeClr>
          </a:solidFill>
        </p:spPr>
        <p:txBody>
          <a:bodyPr vert="horz" lIns="13716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Critical notes</a:t>
            </a: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ternational shipments (PEI, Toronto, etc.) take a minimum of 3 business days once shipped AOG from HON.</a:t>
            </a:r>
          </a:p>
          <a:p>
            <a:pPr marL="182880" marR="0" lvl="0" indent="-182880" algn="l" defTabSz="914400" rtl="0" eaLnBrk="1" fontAlgn="auto" latinLnBrk="0" hangingPunct="1">
              <a:lnSpc>
                <a:spcPct val="100000"/>
              </a:lnSpc>
              <a:spcBef>
                <a:spcPts val="0"/>
              </a:spcBef>
              <a:spcAft>
                <a:spcPts val="300"/>
              </a:spcAft>
              <a:buClr>
                <a:srgbClr val="DC202E"/>
              </a:buClr>
              <a:buSzPct val="125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Credit hold / PPO cannot by bypassed. Business teams must clear.</a:t>
            </a:r>
          </a:p>
        </p:txBody>
      </p:sp>
      <p:sp>
        <p:nvSpPr>
          <p:cNvPr id="21" name="Content Placeholder 2">
            <a:extLst>
              <a:ext uri="{FF2B5EF4-FFF2-40B4-BE49-F238E27FC236}">
                <a16:creationId xmlns:a16="http://schemas.microsoft.com/office/drawing/2014/main" id="{EA306BCC-E463-4E84-9226-78677D9520EE}"/>
              </a:ext>
            </a:extLst>
          </p:cNvPr>
          <p:cNvSpPr txBox="1">
            <a:spLocks/>
          </p:cNvSpPr>
          <p:nvPr/>
        </p:nvSpPr>
        <p:spPr>
          <a:xfrm>
            <a:off x="164213" y="1840096"/>
            <a:ext cx="3852562" cy="1518571"/>
          </a:xfrm>
          <a:prstGeom prst="rect">
            <a:avLst/>
          </a:prstGeom>
          <a:solidFill>
            <a:schemeClr val="bg1">
              <a:lumMod val="85000"/>
            </a:schemeClr>
          </a:solidFill>
        </p:spPr>
        <p:txBody>
          <a:bodyPr vert="horz" lIns="13716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400" b="1" i="0" u="sng" strike="noStrike" kern="1200" cap="none" spc="0" normalizeH="0" baseline="0" noProof="0">
                <a:ln>
                  <a:noFill/>
                </a:ln>
                <a:solidFill>
                  <a:prstClr val="black"/>
                </a:solidFill>
                <a:effectLst/>
                <a:uLnTx/>
                <a:uFillTx/>
                <a:latin typeface="Arial"/>
                <a:ea typeface="+mn-ea"/>
                <a:cs typeface="+mn-cs"/>
              </a:rPr>
              <a:t>Escalations to AOG – must do </a:t>
            </a:r>
            <a:r>
              <a:rPr kumimoji="0" lang="en-US" sz="1400" b="1" i="1" u="sng" strike="noStrike" kern="1200" cap="none" spc="0" normalizeH="0" baseline="0" noProof="0">
                <a:ln>
                  <a:noFill/>
                </a:ln>
                <a:solidFill>
                  <a:srgbClr val="DC202E"/>
                </a:solidFill>
                <a:effectLst/>
                <a:uLnTx/>
                <a:uFillTx/>
                <a:latin typeface="Arial"/>
                <a:ea typeface="+mn-ea"/>
                <a:cs typeface="+mn-cs"/>
              </a:rPr>
              <a:t>both</a:t>
            </a:r>
            <a:r>
              <a:rPr kumimoji="0" lang="en-US" sz="1400" b="1" i="0" u="sng" strike="noStrike" kern="1200" cap="none" spc="0" normalizeH="0" baseline="0" noProof="0">
                <a:ln>
                  <a:noFill/>
                </a:ln>
                <a:solidFill>
                  <a:prstClr val="black"/>
                </a:solidFill>
                <a:effectLst/>
                <a:uLnTx/>
                <a:uFillTx/>
                <a:latin typeface="Arial"/>
                <a:ea typeface="+mn-ea"/>
                <a:cs typeface="+mn-cs"/>
              </a:rPr>
              <a:t> steps</a:t>
            </a: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kumimoji="0" lang="en-US" sz="200" b="1" i="0" u="none" strike="noStrike" kern="1200" cap="none" spc="0" normalizeH="0" baseline="0" noProof="0">
              <a:ln>
                <a:noFill/>
              </a:ln>
              <a:solidFill>
                <a:prstClr val="black"/>
              </a:solidFill>
              <a:effectLst/>
              <a:uLnTx/>
              <a:uFillTx/>
              <a:latin typeface="Arial"/>
              <a:ea typeface="+mn-ea"/>
              <a:cs typeface="+mn-cs"/>
            </a:endParaRPr>
          </a:p>
          <a:p>
            <a:pPr marL="182880" marR="0" lvl="0" indent="-182880" algn="l" defTabSz="914400" rtl="0" eaLnBrk="1" fontAlgn="auto" latinLnBrk="0" hangingPunct="1">
              <a:lnSpc>
                <a:spcPct val="100000"/>
              </a:lnSpc>
              <a:spcBef>
                <a:spcPts val="0"/>
              </a:spcBef>
              <a:spcAft>
                <a:spcPts val="300"/>
              </a:spcAft>
              <a:buClr>
                <a:srgbClr val="DC202E"/>
              </a:buClr>
              <a:buSzPct val="100000"/>
              <a:buFont typeface="+mj-lt"/>
              <a:buAutoNum type="arabicPeriod"/>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Draft brand-new email (</a:t>
            </a:r>
            <a:r>
              <a:rPr kumimoji="0" lang="en-US" sz="1100" b="1" i="0" u="none" strike="noStrike" kern="1200" cap="none" spc="0" normalizeH="0" baseline="0" noProof="0">
                <a:ln>
                  <a:noFill/>
                </a:ln>
                <a:solidFill>
                  <a:prstClr val="black"/>
                </a:solidFill>
                <a:effectLst/>
                <a:uLnTx/>
                <a:uFillTx/>
                <a:latin typeface="Arial"/>
                <a:ea typeface="+mn-ea"/>
                <a:cs typeface="+mn-cs"/>
              </a:rPr>
              <a:t>DO NOT </a:t>
            </a:r>
            <a:r>
              <a:rPr kumimoji="0" lang="en-US" sz="1100" b="0" i="0" u="none" strike="noStrike" kern="1200" cap="none" spc="0" normalizeH="0" baseline="0" noProof="0">
                <a:ln>
                  <a:noFill/>
                </a:ln>
                <a:solidFill>
                  <a:prstClr val="black"/>
                </a:solidFill>
                <a:effectLst/>
                <a:uLnTx/>
                <a:uFillTx/>
                <a:latin typeface="Arial"/>
                <a:ea typeface="+mn-ea"/>
                <a:cs typeface="+mn-cs"/>
              </a:rPr>
              <a:t>forward previous escalation)</a:t>
            </a:r>
          </a:p>
          <a:p>
            <a:pPr marL="182880" marR="0" lvl="0" indent="-182880" algn="l" defTabSz="914400" rtl="0" eaLnBrk="1" fontAlgn="auto" latinLnBrk="0" hangingPunct="1">
              <a:lnSpc>
                <a:spcPct val="100000"/>
              </a:lnSpc>
              <a:spcBef>
                <a:spcPts val="0"/>
              </a:spcBef>
              <a:spcAft>
                <a:spcPts val="300"/>
              </a:spcAft>
              <a:buClr>
                <a:srgbClr val="DC202E"/>
              </a:buClr>
              <a:buSzPct val="100000"/>
              <a:buFont typeface="+mj-lt"/>
              <a:buAutoNum type="arabicPeriod"/>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Call AOG team - </a:t>
            </a:r>
            <a:r>
              <a:rPr kumimoji="0" lang="en-US" sz="1100" b="0" i="1" u="none" strike="noStrike" kern="1200" cap="none" spc="0" normalizeH="0" baseline="0" noProof="0">
                <a:ln>
                  <a:noFill/>
                </a:ln>
                <a:solidFill>
                  <a:prstClr val="black"/>
                </a:solidFill>
                <a:effectLst/>
                <a:uLnTx/>
                <a:uFillTx/>
                <a:latin typeface="Arial"/>
                <a:ea typeface="+mn-ea"/>
                <a:cs typeface="+mn-cs"/>
              </a:rPr>
              <a:t>WARM HAND OFF</a:t>
            </a:r>
          </a:p>
          <a:p>
            <a:pPr marL="344488" marR="0" lvl="1" indent="-182563" algn="l" defTabSz="914400" rtl="0" eaLnBrk="1" fontAlgn="auto" latinLnBrk="0" hangingPunct="1">
              <a:lnSpc>
                <a:spcPct val="100000"/>
              </a:lnSpc>
              <a:spcBef>
                <a:spcPts val="0"/>
              </a:spcBef>
              <a:spcAft>
                <a:spcPts val="300"/>
              </a:spcAft>
              <a:buClr>
                <a:prstClr val="black"/>
              </a:buClr>
              <a:buSzPct val="100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US: 800-601-3099</a:t>
            </a:r>
          </a:p>
          <a:p>
            <a:pPr marL="344488" marR="0" lvl="1" indent="-182563" algn="l" defTabSz="914400" rtl="0" eaLnBrk="1" fontAlgn="auto" latinLnBrk="0" hangingPunct="1">
              <a:lnSpc>
                <a:spcPct val="100000"/>
              </a:lnSpc>
              <a:spcBef>
                <a:spcPts val="0"/>
              </a:spcBef>
              <a:spcAft>
                <a:spcPts val="300"/>
              </a:spcAft>
              <a:buClr>
                <a:prstClr val="black"/>
              </a:buClr>
              <a:buSzPct val="100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t’l: 602-365-3099</a:t>
            </a:r>
          </a:p>
          <a:p>
            <a:pPr marL="344488" marR="0" lvl="1" indent="-182563" algn="l" defTabSz="914400" rtl="0" eaLnBrk="1" fontAlgn="auto" latinLnBrk="0" hangingPunct="1">
              <a:lnSpc>
                <a:spcPct val="100000"/>
              </a:lnSpc>
              <a:spcBef>
                <a:spcPts val="0"/>
              </a:spcBef>
              <a:spcAft>
                <a:spcPts val="300"/>
              </a:spcAft>
              <a:buClr>
                <a:prstClr val="black"/>
              </a:buClr>
              <a:buSzPct val="100000"/>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Reference your case and order number </a:t>
            </a:r>
          </a:p>
        </p:txBody>
      </p:sp>
      <p:grpSp>
        <p:nvGrpSpPr>
          <p:cNvPr id="7" name="Group 6">
            <a:extLst>
              <a:ext uri="{FF2B5EF4-FFF2-40B4-BE49-F238E27FC236}">
                <a16:creationId xmlns:a16="http://schemas.microsoft.com/office/drawing/2014/main" id="{B008CA6C-2257-4F94-AB1C-BB017C60D5A0}"/>
              </a:ext>
            </a:extLst>
          </p:cNvPr>
          <p:cNvGrpSpPr/>
          <p:nvPr/>
        </p:nvGrpSpPr>
        <p:grpSpPr>
          <a:xfrm>
            <a:off x="6845293" y="5745939"/>
            <a:ext cx="2434037" cy="571871"/>
            <a:chOff x="6318704" y="776462"/>
            <a:chExt cx="2843056" cy="926044"/>
          </a:xfrm>
        </p:grpSpPr>
        <p:pic>
          <p:nvPicPr>
            <p:cNvPr id="4" name="Graphic 3" descr="Internet with solid fill">
              <a:hlinkClick r:id="rId18"/>
              <a:extLst>
                <a:ext uri="{FF2B5EF4-FFF2-40B4-BE49-F238E27FC236}">
                  <a16:creationId xmlns:a16="http://schemas.microsoft.com/office/drawing/2014/main" id="{30BF812F-8927-4A45-85D1-246DB317A8A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18704" y="776462"/>
              <a:ext cx="914400" cy="914400"/>
            </a:xfrm>
            <a:prstGeom prst="rect">
              <a:avLst/>
            </a:prstGeom>
          </p:spPr>
        </p:pic>
        <p:sp>
          <p:nvSpPr>
            <p:cNvPr id="5" name="TextBox 4">
              <a:extLst>
                <a:ext uri="{FF2B5EF4-FFF2-40B4-BE49-F238E27FC236}">
                  <a16:creationId xmlns:a16="http://schemas.microsoft.com/office/drawing/2014/main" id="{78BA0975-15E1-4622-A91C-BD24189E0C15}"/>
                </a:ext>
              </a:extLst>
            </p:cNvPr>
            <p:cNvSpPr txBox="1"/>
            <p:nvPr/>
          </p:nvSpPr>
          <p:spPr>
            <a:xfrm>
              <a:off x="7338233" y="987018"/>
              <a:ext cx="1823527" cy="71548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C202E"/>
                  </a:solidFill>
                  <a:effectLst/>
                  <a:uLnTx/>
                  <a:uFillTx/>
                  <a:latin typeface="Arial"/>
                  <a:ea typeface="+mn-ea"/>
                  <a:cs typeface="+mn-cs"/>
                </a:rPr>
                <a:t>Click icon to visit AOG website</a:t>
              </a:r>
            </a:p>
          </p:txBody>
        </p:sp>
      </p:grpSp>
    </p:spTree>
    <p:custDataLst>
      <p:tags r:id="rId1"/>
    </p:custDataLst>
    <p:extLst>
      <p:ext uri="{BB962C8B-B14F-4D97-AF65-F5344CB8AC3E}">
        <p14:creationId xmlns:p14="http://schemas.microsoft.com/office/powerpoint/2010/main" val="11154083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49ABA-433C-4B99-ACA9-F094181825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5A049ABA-433C-4B99-ACA9-F094181825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702C506-EC46-4EDB-8ED8-6422B72D87D6}"/>
              </a:ext>
            </a:extLst>
          </p:cNvPr>
          <p:cNvSpPr/>
          <p:nvPr>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3" name="Slide Number Placeholder 2">
            <a:extLst>
              <a:ext uri="{FF2B5EF4-FFF2-40B4-BE49-F238E27FC236}">
                <a16:creationId xmlns:a16="http://schemas.microsoft.com/office/drawing/2014/main" id="{7FE45740-53FD-44A6-AC56-5091FC6AE9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0"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C29D735C-6F77-5897-3402-9AFEEB69A7C9}"/>
              </a:ext>
            </a:extLst>
          </p:cNvPr>
          <p:cNvSpPr>
            <a:spLocks noGrp="1"/>
          </p:cNvSpPr>
          <p:nvPr>
            <p:ph type="body" sz="quarter" idx="16"/>
          </p:nvPr>
        </p:nvSpPr>
        <p:spPr>
          <a:solidFill>
            <a:srgbClr val="EE3124"/>
          </a:solidFill>
        </p:spPr>
        <p:txBody>
          <a:bodyPr/>
          <a:lstStyle/>
          <a:p>
            <a:r>
              <a:rPr lang="en-US" dirty="0"/>
              <a:t>Website Refreshed; Improved Functionality</a:t>
            </a:r>
          </a:p>
        </p:txBody>
      </p:sp>
      <p:sp>
        <p:nvSpPr>
          <p:cNvPr id="2" name="Title 1">
            <a:extLst>
              <a:ext uri="{FF2B5EF4-FFF2-40B4-BE49-F238E27FC236}">
                <a16:creationId xmlns:a16="http://schemas.microsoft.com/office/drawing/2014/main" id="{551AD978-9115-4FE2-AFF6-DF25478AA5B4}"/>
              </a:ext>
            </a:extLst>
          </p:cNvPr>
          <p:cNvSpPr>
            <a:spLocks noGrp="1"/>
          </p:cNvSpPr>
          <p:nvPr>
            <p:ph type="title"/>
          </p:nvPr>
        </p:nvSpPr>
        <p:spPr>
          <a:xfrm>
            <a:off x="231228" y="177483"/>
            <a:ext cx="11446494" cy="403572"/>
          </a:xfrm>
        </p:spPr>
        <p:txBody>
          <a:bodyPr/>
          <a:lstStyle/>
          <a:p>
            <a:r>
              <a:rPr lang="en-US" dirty="0"/>
              <a:t>GCC website updates </a:t>
            </a:r>
          </a:p>
        </p:txBody>
      </p:sp>
      <p:sp>
        <p:nvSpPr>
          <p:cNvPr id="9" name="Content Placeholder 8">
            <a:extLst>
              <a:ext uri="{FF2B5EF4-FFF2-40B4-BE49-F238E27FC236}">
                <a16:creationId xmlns:a16="http://schemas.microsoft.com/office/drawing/2014/main" id="{5387EB5C-CE08-4875-AEDD-223A01724EF8}"/>
              </a:ext>
            </a:extLst>
          </p:cNvPr>
          <p:cNvSpPr>
            <a:spLocks noGrp="1"/>
          </p:cNvSpPr>
          <p:nvPr>
            <p:ph idx="17"/>
          </p:nvPr>
        </p:nvSpPr>
        <p:spPr>
          <a:xfrm>
            <a:off x="231227" y="748754"/>
            <a:ext cx="4978725" cy="5125258"/>
          </a:xfrm>
        </p:spPr>
        <p:txBody>
          <a:bodyPr>
            <a:normAutofit fontScale="92500" lnSpcReduction="20000"/>
          </a:bodyPr>
          <a:lstStyle/>
          <a:p>
            <a:pPr lvl="0">
              <a:lnSpc>
                <a:spcPct val="100000"/>
              </a:lnSpc>
              <a:spcBef>
                <a:spcPts val="400"/>
              </a:spcBef>
            </a:pPr>
            <a:r>
              <a:rPr lang="en-US" sz="2000" dirty="0">
                <a:solidFill>
                  <a:prstClr val="black"/>
                </a:solidFill>
              </a:rPr>
              <a:t>Webpage refreshed  </a:t>
            </a:r>
          </a:p>
          <a:p>
            <a:pPr lvl="0">
              <a:lnSpc>
                <a:spcPct val="100000"/>
              </a:lnSpc>
              <a:spcBef>
                <a:spcPts val="400"/>
              </a:spcBef>
            </a:pPr>
            <a:endParaRPr lang="en-US" sz="2000" dirty="0">
              <a:solidFill>
                <a:prstClr val="black"/>
              </a:solidFill>
            </a:endParaRPr>
          </a:p>
          <a:p>
            <a:pPr marL="342900" indent="-342900">
              <a:lnSpc>
                <a:spcPct val="100000"/>
              </a:lnSpc>
              <a:spcBef>
                <a:spcPts val="400"/>
              </a:spcBef>
              <a:buFont typeface="Arial" panose="020B0604020202020204" pitchFamily="34" charset="0"/>
              <a:buChar char="•"/>
            </a:pPr>
            <a:r>
              <a:rPr lang="en-US" sz="2000" b="0" dirty="0"/>
              <a:t>Included new functionalities - Join GCC and Propose New Issue - buttons/forms</a:t>
            </a:r>
          </a:p>
          <a:p>
            <a:pPr>
              <a:lnSpc>
                <a:spcPct val="100000"/>
              </a:lnSpc>
              <a:spcBef>
                <a:spcPts val="400"/>
              </a:spcBef>
            </a:pPr>
            <a:r>
              <a:rPr lang="en-US" sz="2000" b="0" dirty="0"/>
              <a:t> </a:t>
            </a:r>
          </a:p>
          <a:p>
            <a:pPr marL="342900" indent="-342900">
              <a:lnSpc>
                <a:spcPct val="100000"/>
              </a:lnSpc>
              <a:spcBef>
                <a:spcPts val="400"/>
              </a:spcBef>
              <a:buFont typeface="Arial" panose="020B0604020202020204" pitchFamily="34" charset="0"/>
              <a:buChar char="•"/>
            </a:pPr>
            <a:r>
              <a:rPr lang="en-US" sz="2000" b="0" dirty="0"/>
              <a:t>Revitalized Mission and Vision of the Global Customer Committee</a:t>
            </a:r>
          </a:p>
          <a:p>
            <a:pPr>
              <a:lnSpc>
                <a:spcPct val="100000"/>
              </a:lnSpc>
              <a:spcBef>
                <a:spcPts val="400"/>
              </a:spcBef>
            </a:pPr>
            <a:endParaRPr lang="en-US" sz="2000" b="0" dirty="0"/>
          </a:p>
          <a:p>
            <a:pPr marL="342900" indent="-342900">
              <a:lnSpc>
                <a:spcPct val="100000"/>
              </a:lnSpc>
              <a:spcBef>
                <a:spcPts val="400"/>
              </a:spcBef>
              <a:buFont typeface="Arial" panose="020B0604020202020204" pitchFamily="34" charset="0"/>
              <a:buChar char="•"/>
            </a:pPr>
            <a:r>
              <a:rPr lang="en-US" sz="2000" b="0" dirty="0"/>
              <a:t>Updated members and bios </a:t>
            </a:r>
          </a:p>
          <a:p>
            <a:pPr marL="342900" indent="-342900">
              <a:lnSpc>
                <a:spcPct val="100000"/>
              </a:lnSpc>
              <a:spcBef>
                <a:spcPts val="400"/>
              </a:spcBef>
              <a:buFont typeface="Arial" panose="020B0604020202020204" pitchFamily="34" charset="0"/>
              <a:buChar char="•"/>
            </a:pPr>
            <a:endParaRPr lang="en-US" sz="2000" b="0" dirty="0"/>
          </a:p>
          <a:p>
            <a:pPr marL="342900" indent="-342900">
              <a:lnSpc>
                <a:spcPct val="100000"/>
              </a:lnSpc>
              <a:spcBef>
                <a:spcPts val="400"/>
              </a:spcBef>
              <a:buFont typeface="Arial" panose="020B0604020202020204" pitchFamily="34" charset="0"/>
              <a:buChar char="•"/>
            </a:pPr>
            <a:r>
              <a:rPr lang="en-US" sz="2000" b="0" dirty="0"/>
              <a:t>Secured space to include action items and materials </a:t>
            </a:r>
          </a:p>
          <a:p>
            <a:pPr marL="342900" indent="-342900">
              <a:lnSpc>
                <a:spcPct val="100000"/>
              </a:lnSpc>
              <a:spcBef>
                <a:spcPts val="400"/>
              </a:spcBef>
              <a:buFont typeface="Arial" panose="020B0604020202020204" pitchFamily="34" charset="0"/>
              <a:buChar char="•"/>
            </a:pPr>
            <a:endParaRPr lang="en-US" sz="2000" b="0" dirty="0"/>
          </a:p>
          <a:p>
            <a:pPr marL="342900" indent="-342900">
              <a:lnSpc>
                <a:spcPct val="100000"/>
              </a:lnSpc>
              <a:spcBef>
                <a:spcPts val="400"/>
              </a:spcBef>
              <a:buFont typeface="Arial" panose="020B0604020202020204" pitchFamily="34" charset="0"/>
              <a:buChar char="•"/>
            </a:pPr>
            <a:r>
              <a:rPr lang="en-US" sz="2000" b="0" dirty="0">
                <a:hlinkClick r:id="rId7"/>
              </a:rPr>
              <a:t>https://aerospace.honeywell.com/us/en/about-us/global-customer-committee</a:t>
            </a:r>
            <a:endParaRPr lang="en-US" sz="2000" b="0" dirty="0"/>
          </a:p>
          <a:p>
            <a:pPr marL="342900" indent="-342900">
              <a:lnSpc>
                <a:spcPct val="100000"/>
              </a:lnSpc>
              <a:spcBef>
                <a:spcPts val="400"/>
              </a:spcBef>
              <a:buFont typeface="Arial" panose="020B0604020202020204" pitchFamily="34" charset="0"/>
              <a:buChar char="•"/>
            </a:pPr>
            <a:endParaRPr lang="en-US" sz="2000" b="0" dirty="0"/>
          </a:p>
        </p:txBody>
      </p:sp>
      <p:grpSp>
        <p:nvGrpSpPr>
          <p:cNvPr id="12" name="Group 11">
            <a:extLst>
              <a:ext uri="{FF2B5EF4-FFF2-40B4-BE49-F238E27FC236}">
                <a16:creationId xmlns:a16="http://schemas.microsoft.com/office/drawing/2014/main" id="{C88E8272-4ED6-AE26-A341-CDC0D776DF30}"/>
              </a:ext>
            </a:extLst>
          </p:cNvPr>
          <p:cNvGrpSpPr/>
          <p:nvPr/>
        </p:nvGrpSpPr>
        <p:grpSpPr>
          <a:xfrm>
            <a:off x="5455416" y="594627"/>
            <a:ext cx="3634992" cy="5098113"/>
            <a:chOff x="6659151" y="118085"/>
            <a:chExt cx="4180225" cy="6657277"/>
          </a:xfrm>
        </p:grpSpPr>
        <p:pic>
          <p:nvPicPr>
            <p:cNvPr id="8" name="Picture 7">
              <a:extLst>
                <a:ext uri="{FF2B5EF4-FFF2-40B4-BE49-F238E27FC236}">
                  <a16:creationId xmlns:a16="http://schemas.microsoft.com/office/drawing/2014/main" id="{616075B1-3FCE-8C8F-41E9-59F6A3D18154}"/>
                </a:ext>
              </a:extLst>
            </p:cNvPr>
            <p:cNvPicPr>
              <a:picLocks noChangeAspect="1"/>
            </p:cNvPicPr>
            <p:nvPr/>
          </p:nvPicPr>
          <p:blipFill>
            <a:blip r:embed="rId8"/>
            <a:stretch>
              <a:fillRect/>
            </a:stretch>
          </p:blipFill>
          <p:spPr>
            <a:xfrm>
              <a:off x="6659151" y="118085"/>
              <a:ext cx="4180224" cy="5125259"/>
            </a:xfrm>
            <a:prstGeom prst="rect">
              <a:avLst/>
            </a:prstGeom>
          </p:spPr>
        </p:pic>
        <p:pic>
          <p:nvPicPr>
            <p:cNvPr id="11" name="Picture 10">
              <a:extLst>
                <a:ext uri="{FF2B5EF4-FFF2-40B4-BE49-F238E27FC236}">
                  <a16:creationId xmlns:a16="http://schemas.microsoft.com/office/drawing/2014/main" id="{F77D377E-8F1C-8A53-AD31-D5F341481742}"/>
                </a:ext>
              </a:extLst>
            </p:cNvPr>
            <p:cNvPicPr>
              <a:picLocks noChangeAspect="1"/>
            </p:cNvPicPr>
            <p:nvPr/>
          </p:nvPicPr>
          <p:blipFill>
            <a:blip r:embed="rId9"/>
            <a:stretch>
              <a:fillRect/>
            </a:stretch>
          </p:blipFill>
          <p:spPr>
            <a:xfrm>
              <a:off x="6659152" y="5243343"/>
              <a:ext cx="4180224" cy="1532019"/>
            </a:xfrm>
            <a:prstGeom prst="rect">
              <a:avLst/>
            </a:prstGeom>
          </p:spPr>
        </p:pic>
      </p:grpSp>
      <p:pic>
        <p:nvPicPr>
          <p:cNvPr id="14" name="Picture 13">
            <a:extLst>
              <a:ext uri="{FF2B5EF4-FFF2-40B4-BE49-F238E27FC236}">
                <a16:creationId xmlns:a16="http://schemas.microsoft.com/office/drawing/2014/main" id="{7C73AB8E-A2B9-DE66-9C47-F7E584A71146}"/>
              </a:ext>
            </a:extLst>
          </p:cNvPr>
          <p:cNvPicPr>
            <a:picLocks noChangeAspect="1"/>
          </p:cNvPicPr>
          <p:nvPr/>
        </p:nvPicPr>
        <p:blipFill>
          <a:blip r:embed="rId10"/>
          <a:stretch>
            <a:fillRect/>
          </a:stretch>
        </p:blipFill>
        <p:spPr>
          <a:xfrm>
            <a:off x="9611463" y="233681"/>
            <a:ext cx="2066259" cy="5532874"/>
          </a:xfrm>
          <a:prstGeom prst="rect">
            <a:avLst/>
          </a:prstGeom>
        </p:spPr>
      </p:pic>
    </p:spTree>
    <p:extLst>
      <p:ext uri="{BB962C8B-B14F-4D97-AF65-F5344CB8AC3E}">
        <p14:creationId xmlns:p14="http://schemas.microsoft.com/office/powerpoint/2010/main" val="36304189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7B43F-468E-408F-B5B5-A7388DE50BD8}"/>
              </a:ext>
            </a:extLst>
          </p:cNvPr>
          <p:cNvSpPr>
            <a:spLocks noGrp="1"/>
          </p:cNvSpPr>
          <p:nvPr>
            <p:ph type="title"/>
          </p:nvPr>
        </p:nvSpPr>
        <p:spPr/>
        <p:txBody>
          <a:bodyPr/>
          <a:lstStyle/>
          <a:p>
            <a:r>
              <a:rPr lang="en-US" dirty="0"/>
              <a:t>GCC regional alignment</a:t>
            </a:r>
          </a:p>
        </p:txBody>
      </p:sp>
      <p:sp>
        <p:nvSpPr>
          <p:cNvPr id="3" name="Content Placeholder 2">
            <a:extLst>
              <a:ext uri="{FF2B5EF4-FFF2-40B4-BE49-F238E27FC236}">
                <a16:creationId xmlns:a16="http://schemas.microsoft.com/office/drawing/2014/main" id="{FF1EAEC4-F1B2-2BB9-2135-D5655679F5A6}"/>
              </a:ext>
            </a:extLst>
          </p:cNvPr>
          <p:cNvSpPr>
            <a:spLocks noGrp="1"/>
          </p:cNvSpPr>
          <p:nvPr>
            <p:ph idx="1"/>
          </p:nvPr>
        </p:nvSpPr>
        <p:spPr/>
        <p:txBody>
          <a:bodyPr/>
          <a:lstStyle/>
          <a:p>
            <a:r>
              <a:rPr lang="en-US" dirty="0"/>
              <a:t>Operating System in place to maintain alignment</a:t>
            </a:r>
          </a:p>
          <a:p>
            <a:pPr marL="573088" lvl="1" indent="-342900"/>
            <a:r>
              <a:rPr lang="en-US" dirty="0"/>
              <a:t>Staff transitions in EMEAI</a:t>
            </a:r>
          </a:p>
          <a:p>
            <a:r>
              <a:rPr lang="en-US" dirty="0"/>
              <a:t>EMEAI GCC next meeting 11/19 in Prague</a:t>
            </a:r>
          </a:p>
          <a:p>
            <a:r>
              <a:rPr lang="en-US" dirty="0"/>
              <a:t>Shared RAIL items</a:t>
            </a:r>
          </a:p>
          <a:p>
            <a:pPr marL="573088" lvl="1" indent="-342900"/>
            <a:r>
              <a:rPr lang="en-US" dirty="0"/>
              <a:t>Insufficient upload capacity in GTO webform (FHDB)</a:t>
            </a:r>
          </a:p>
          <a:p>
            <a:pPr marL="573088" lvl="1" indent="-342900"/>
            <a:r>
              <a:rPr lang="en-US" dirty="0"/>
              <a:t>7329 Maintenance Tasks on Honeywell Rental Assets</a:t>
            </a:r>
          </a:p>
          <a:p>
            <a:pPr marL="573088" lvl="1" indent="-342900"/>
            <a:r>
              <a:rPr lang="en-US" dirty="0"/>
              <a:t>7330 Portal does not include a filter for Avionics Platforms</a:t>
            </a:r>
          </a:p>
        </p:txBody>
      </p:sp>
    </p:spTree>
    <p:extLst>
      <p:ext uri="{BB962C8B-B14F-4D97-AF65-F5344CB8AC3E}">
        <p14:creationId xmlns:p14="http://schemas.microsoft.com/office/powerpoint/2010/main" val="20021847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6F2A79-E794-4D29-BD82-F997D48C201A}"/>
              </a:ext>
            </a:extLst>
          </p:cNvPr>
          <p:cNvSpPr/>
          <p:nvPr/>
        </p:nvSpPr>
        <p:spPr>
          <a:xfrm>
            <a:off x="8341991" y="1058034"/>
            <a:ext cx="3520781" cy="2765207"/>
          </a:xfrm>
          <a:prstGeom prst="rect">
            <a:avLst/>
          </a:prstGeom>
          <a:solidFill>
            <a:srgbClr val="F9F9F9"/>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Title 6">
            <a:extLst>
              <a:ext uri="{FF2B5EF4-FFF2-40B4-BE49-F238E27FC236}">
                <a16:creationId xmlns:a16="http://schemas.microsoft.com/office/drawing/2014/main" id="{F4D9826A-9F2F-4759-B70B-CB6D648DB5BD}"/>
              </a:ext>
            </a:extLst>
          </p:cNvPr>
          <p:cNvSpPr>
            <a:spLocks noGrp="1"/>
          </p:cNvSpPr>
          <p:nvPr>
            <p:ph type="title"/>
          </p:nvPr>
        </p:nvSpPr>
        <p:spPr>
          <a:xfrm>
            <a:off x="223736" y="246382"/>
            <a:ext cx="11639036" cy="684898"/>
          </a:xfrm>
        </p:spPr>
        <p:txBody>
          <a:bodyPr/>
          <a:lstStyle/>
          <a:p>
            <a:r>
              <a:rPr lang="en-US" sz="2400" dirty="0" err="1"/>
              <a:t>Gcc</a:t>
            </a:r>
            <a:r>
              <a:rPr lang="en-US" sz="2400" dirty="0"/>
              <a:t> rail 7330 | </a:t>
            </a:r>
            <a:r>
              <a:rPr lang="en-US" sz="1800" dirty="0">
                <a:solidFill>
                  <a:schemeClr val="accent1"/>
                </a:solidFill>
              </a:rPr>
              <a:t>Portal does not include a filter for Avionics Platforms</a:t>
            </a:r>
            <a:endParaRPr lang="en-US" sz="2400" dirty="0">
              <a:solidFill>
                <a:schemeClr val="accent1"/>
              </a:solidFill>
            </a:endParaRPr>
          </a:p>
        </p:txBody>
      </p:sp>
      <p:sp>
        <p:nvSpPr>
          <p:cNvPr id="11" name="Slide Number Placeholder 10">
            <a:extLst>
              <a:ext uri="{FF2B5EF4-FFF2-40B4-BE49-F238E27FC236}">
                <a16:creationId xmlns:a16="http://schemas.microsoft.com/office/drawing/2014/main" id="{AF901355-E82E-4218-B0A7-B20BE25DD7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9" name="Text Placeholder 33">
            <a:extLst>
              <a:ext uri="{FF2B5EF4-FFF2-40B4-BE49-F238E27FC236}">
                <a16:creationId xmlns:a16="http://schemas.microsoft.com/office/drawing/2014/main" id="{FFA0FF3E-CBFB-D1EE-6172-A5825E51EFAA}"/>
              </a:ext>
            </a:extLst>
          </p:cNvPr>
          <p:cNvSpPr txBox="1">
            <a:spLocks/>
          </p:cNvSpPr>
          <p:nvPr/>
        </p:nvSpPr>
        <p:spPr>
          <a:xfrm>
            <a:off x="678875" y="1058034"/>
            <a:ext cx="3895154" cy="186753"/>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Problem Statement</a:t>
            </a:r>
          </a:p>
        </p:txBody>
      </p:sp>
      <p:sp>
        <p:nvSpPr>
          <p:cNvPr id="10" name="Text Placeholder 32">
            <a:extLst>
              <a:ext uri="{FF2B5EF4-FFF2-40B4-BE49-F238E27FC236}">
                <a16:creationId xmlns:a16="http://schemas.microsoft.com/office/drawing/2014/main" id="{5A6C2B85-DD65-F8E0-AFE2-CC784D7ABD6E}"/>
              </a:ext>
            </a:extLst>
          </p:cNvPr>
          <p:cNvSpPr txBox="1">
            <a:spLocks/>
          </p:cNvSpPr>
          <p:nvPr/>
        </p:nvSpPr>
        <p:spPr>
          <a:xfrm>
            <a:off x="678875" y="1394015"/>
            <a:ext cx="7435318" cy="666365"/>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dirty="0">
                <a:effectLst/>
                <a:latin typeface="Arial" panose="020B0604020202020204" pitchFamily="34" charset="0"/>
                <a:ea typeface="Aptos" panose="020B0004020202020204" pitchFamily="34" charset="0"/>
                <a:cs typeface="Arial" panose="020B0604020202020204" pitchFamily="34" charset="0"/>
              </a:rPr>
              <a:t>There is </a:t>
            </a:r>
            <a:r>
              <a:rPr lang="en-CA" sz="1400" dirty="0">
                <a:solidFill>
                  <a:srgbClr val="000000"/>
                </a:solidFill>
                <a:effectLst/>
                <a:latin typeface="Arial" panose="020B0604020202020204" pitchFamily="34" charset="0"/>
                <a:ea typeface="Aptos" panose="020B0004020202020204" pitchFamily="34" charset="0"/>
                <a:cs typeface="Arial" panose="020B0604020202020204" pitchFamily="34" charset="0"/>
              </a:rPr>
              <a:t>currently no ‘collection’ for avionics suites in the way that they are available for engines, for example. Hence, to retrieve publications related to the avionics suite, a manual search for each component needs to be made</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Text Placeholder 33">
            <a:extLst>
              <a:ext uri="{FF2B5EF4-FFF2-40B4-BE49-F238E27FC236}">
                <a16:creationId xmlns:a16="http://schemas.microsoft.com/office/drawing/2014/main" id="{9B6D3878-9D6A-F197-9B77-B5647401AAE7}"/>
              </a:ext>
            </a:extLst>
          </p:cNvPr>
          <p:cNvSpPr txBox="1">
            <a:spLocks/>
          </p:cNvSpPr>
          <p:nvPr/>
        </p:nvSpPr>
        <p:spPr>
          <a:xfrm>
            <a:off x="8699007" y="1142990"/>
            <a:ext cx="2997693" cy="203594"/>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srgbClr val="E0E0E0">
                    <a:lumMod val="25000"/>
                  </a:srgbClr>
                </a:solidFill>
                <a:effectLst/>
                <a:uLnTx/>
                <a:uFillTx/>
                <a:latin typeface="Arial" panose="020B0604020202020204"/>
                <a:ea typeface="+mn-ea"/>
                <a:cs typeface="+mn-cs"/>
              </a:rPr>
              <a:t>Current Portal Filter Option</a:t>
            </a:r>
          </a:p>
        </p:txBody>
      </p:sp>
      <p:grpSp>
        <p:nvGrpSpPr>
          <p:cNvPr id="25" name="Group 24">
            <a:extLst>
              <a:ext uri="{FF2B5EF4-FFF2-40B4-BE49-F238E27FC236}">
                <a16:creationId xmlns:a16="http://schemas.microsoft.com/office/drawing/2014/main" id="{8E101457-1329-DC6E-42CC-683B289096DC}"/>
              </a:ext>
            </a:extLst>
          </p:cNvPr>
          <p:cNvGrpSpPr/>
          <p:nvPr/>
        </p:nvGrpSpPr>
        <p:grpSpPr>
          <a:xfrm>
            <a:off x="9109270" y="4150124"/>
            <a:ext cx="2177165" cy="1842416"/>
            <a:chOff x="6790931" y="5049421"/>
            <a:chExt cx="2177165" cy="1842416"/>
          </a:xfrm>
        </p:grpSpPr>
        <p:sp>
          <p:nvSpPr>
            <p:cNvPr id="17" name="Star: 32 Points 16">
              <a:extLst>
                <a:ext uri="{FF2B5EF4-FFF2-40B4-BE49-F238E27FC236}">
                  <a16:creationId xmlns:a16="http://schemas.microsoft.com/office/drawing/2014/main" id="{3703ABF5-D332-3D82-076F-84241CD8796D}"/>
                </a:ext>
              </a:extLst>
            </p:cNvPr>
            <p:cNvSpPr/>
            <p:nvPr/>
          </p:nvSpPr>
          <p:spPr>
            <a:xfrm>
              <a:off x="6790931" y="5049421"/>
              <a:ext cx="2177165" cy="1842416"/>
            </a:xfrm>
            <a:prstGeom prst="star3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16" name="Text Placeholder 32">
              <a:extLst>
                <a:ext uri="{FF2B5EF4-FFF2-40B4-BE49-F238E27FC236}">
                  <a16:creationId xmlns:a16="http://schemas.microsoft.com/office/drawing/2014/main" id="{BF23312A-96F6-C5A8-9A01-F7A17946739F}"/>
                </a:ext>
              </a:extLst>
            </p:cNvPr>
            <p:cNvSpPr txBox="1">
              <a:spLocks/>
            </p:cNvSpPr>
            <p:nvPr/>
          </p:nvSpPr>
          <p:spPr>
            <a:xfrm>
              <a:off x="7150008" y="5525539"/>
              <a:ext cx="1459009" cy="898477"/>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Honeywell TechPubs Portal contain approx 70K documents</a:t>
              </a:r>
            </a:p>
          </p:txBody>
        </p:sp>
      </p:grpSp>
      <p:grpSp>
        <p:nvGrpSpPr>
          <p:cNvPr id="27" name="Group 26">
            <a:extLst>
              <a:ext uri="{FF2B5EF4-FFF2-40B4-BE49-F238E27FC236}">
                <a16:creationId xmlns:a16="http://schemas.microsoft.com/office/drawing/2014/main" id="{C6B92D97-69E9-D7D5-E539-36BB8BC73757}"/>
              </a:ext>
            </a:extLst>
          </p:cNvPr>
          <p:cNvGrpSpPr/>
          <p:nvPr/>
        </p:nvGrpSpPr>
        <p:grpSpPr>
          <a:xfrm>
            <a:off x="529986" y="2301380"/>
            <a:ext cx="7674884" cy="3370074"/>
            <a:chOff x="532044" y="2155465"/>
            <a:chExt cx="7674884" cy="3370074"/>
          </a:xfrm>
        </p:grpSpPr>
        <p:sp>
          <p:nvSpPr>
            <p:cNvPr id="41" name="Oval 40"/>
            <p:cNvSpPr>
              <a:spLocks noChangeAspect="1"/>
            </p:cNvSpPr>
            <p:nvPr/>
          </p:nvSpPr>
          <p:spPr>
            <a:xfrm>
              <a:off x="532044" y="3271249"/>
              <a:ext cx="551992" cy="5519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37" name="Text Placeholder 33"/>
            <p:cNvSpPr txBox="1">
              <a:spLocks/>
            </p:cNvSpPr>
            <p:nvPr/>
          </p:nvSpPr>
          <p:spPr>
            <a:xfrm>
              <a:off x="1313538" y="2231694"/>
              <a:ext cx="3520781" cy="20126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70K documents in TechPub Portal</a:t>
              </a:r>
            </a:p>
          </p:txBody>
        </p:sp>
        <p:sp>
          <p:nvSpPr>
            <p:cNvPr id="39" name="Text Placeholder 33"/>
            <p:cNvSpPr txBox="1">
              <a:spLocks/>
            </p:cNvSpPr>
            <p:nvPr/>
          </p:nvSpPr>
          <p:spPr>
            <a:xfrm>
              <a:off x="1310756" y="3342362"/>
              <a:ext cx="1847951" cy="205957"/>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rPr>
                <a:t>Challenges</a:t>
              </a:r>
            </a:p>
          </p:txBody>
        </p:sp>
        <p:sp>
          <p:nvSpPr>
            <p:cNvPr id="40" name="Oval 39"/>
            <p:cNvSpPr>
              <a:spLocks noChangeAspect="1"/>
            </p:cNvSpPr>
            <p:nvPr/>
          </p:nvSpPr>
          <p:spPr>
            <a:xfrm>
              <a:off x="548926" y="2155465"/>
              <a:ext cx="551992" cy="5519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43" name="Text Placeholder 33"/>
            <p:cNvSpPr txBox="1">
              <a:spLocks/>
            </p:cNvSpPr>
            <p:nvPr/>
          </p:nvSpPr>
          <p:spPr>
            <a:xfrm>
              <a:off x="1313444" y="4391010"/>
              <a:ext cx="1935594" cy="29726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AU" sz="1600" b="1" dirty="0">
                  <a:solidFill>
                    <a:prstClr val="black"/>
                  </a:solidFill>
                  <a:latin typeface="Arial" panose="020B0604020202020204"/>
                </a:rPr>
                <a:t>Go Forward Plan</a:t>
              </a:r>
              <a:endParaRPr kumimoji="0" lang="en-AU"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Oval 43"/>
            <p:cNvSpPr>
              <a:spLocks noChangeAspect="1"/>
            </p:cNvSpPr>
            <p:nvPr/>
          </p:nvSpPr>
          <p:spPr>
            <a:xfrm>
              <a:off x="582515" y="4370545"/>
              <a:ext cx="551992" cy="5044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ext Placeholder 32">
              <a:extLst>
                <a:ext uri="{FF2B5EF4-FFF2-40B4-BE49-F238E27FC236}">
                  <a16:creationId xmlns:a16="http://schemas.microsoft.com/office/drawing/2014/main" id="{B54D3A37-8D0D-382B-66F8-4650B7FB6F5A}"/>
                </a:ext>
              </a:extLst>
            </p:cNvPr>
            <p:cNvSpPr txBox="1">
              <a:spLocks/>
            </p:cNvSpPr>
            <p:nvPr/>
          </p:nvSpPr>
          <p:spPr>
            <a:xfrm>
              <a:off x="1310756" y="2498670"/>
              <a:ext cx="6800655" cy="76207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Honeywell TechPubs portal has 70K documents</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Documents pertain to different platforms, products &amp; product families</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400" dirty="0">
                  <a:solidFill>
                    <a:prstClr val="black"/>
                  </a:solidFill>
                  <a:latin typeface="Arial" charset="0"/>
                  <a:cs typeface="Arial" charset="0"/>
                </a:rPr>
                <a:t>Currently, we have filter faucets for Aircraft Type, Product Family and sublevels</a:t>
              </a:r>
            </a:p>
            <a:p>
              <a:pPr marL="0" marR="0" lvl="0" indent="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endParaRPr kumimoji="0" lang="en-US" sz="14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pic>
          <p:nvPicPr>
            <p:cNvPr id="4" name="Graphic 3" descr="Books outline">
              <a:extLst>
                <a:ext uri="{FF2B5EF4-FFF2-40B4-BE49-F238E27FC236}">
                  <a16:creationId xmlns:a16="http://schemas.microsoft.com/office/drawing/2014/main" id="{7890154C-214A-F453-D91F-40C6B440E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8380" y="2204085"/>
              <a:ext cx="487977" cy="487977"/>
            </a:xfrm>
            <a:prstGeom prst="rect">
              <a:avLst/>
            </a:prstGeom>
          </p:spPr>
        </p:pic>
        <p:pic>
          <p:nvPicPr>
            <p:cNvPr id="6" name="Graphic 5" descr="Puzzle outline">
              <a:extLst>
                <a:ext uri="{FF2B5EF4-FFF2-40B4-BE49-F238E27FC236}">
                  <a16:creationId xmlns:a16="http://schemas.microsoft.com/office/drawing/2014/main" id="{A70C7150-7C9C-6DF2-715B-513B71ACB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5163" y="3294368"/>
              <a:ext cx="528873" cy="528873"/>
            </a:xfrm>
            <a:prstGeom prst="rect">
              <a:avLst/>
            </a:prstGeom>
          </p:spPr>
        </p:pic>
        <p:sp>
          <p:nvSpPr>
            <p:cNvPr id="13" name="Text Placeholder 32">
              <a:extLst>
                <a:ext uri="{FF2B5EF4-FFF2-40B4-BE49-F238E27FC236}">
                  <a16:creationId xmlns:a16="http://schemas.microsoft.com/office/drawing/2014/main" id="{557F7D7B-883D-AF26-1883-63E8B2F3E36F}"/>
                </a:ext>
              </a:extLst>
            </p:cNvPr>
            <p:cNvSpPr txBox="1">
              <a:spLocks/>
            </p:cNvSpPr>
            <p:nvPr/>
          </p:nvSpPr>
          <p:spPr>
            <a:xfrm>
              <a:off x="1304245" y="3572912"/>
              <a:ext cx="6896172" cy="735863"/>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Current Portal do not have a high-level faucet filter to add Product Platforms</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Documents not classified as Avionics or Mechanical which will take enormous efforts</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400" dirty="0">
                  <a:solidFill>
                    <a:prstClr val="black"/>
                  </a:solidFill>
                  <a:latin typeface="Arial" charset="0"/>
                  <a:cs typeface="Arial" charset="0"/>
                </a:rPr>
                <a:t>Physically need to open each document and categorize the product platform level</a:t>
              </a:r>
              <a:endParaRPr kumimoji="0" lang="en-US" sz="14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pic>
          <p:nvPicPr>
            <p:cNvPr id="15" name="Graphic 14" descr="Road with solid fill">
              <a:extLst>
                <a:ext uri="{FF2B5EF4-FFF2-40B4-BE49-F238E27FC236}">
                  <a16:creationId xmlns:a16="http://schemas.microsoft.com/office/drawing/2014/main" id="{BFA37F98-9C00-205E-08FA-513C49F507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7972" y="4408509"/>
              <a:ext cx="428559" cy="428559"/>
            </a:xfrm>
            <a:prstGeom prst="rect">
              <a:avLst/>
            </a:prstGeom>
          </p:spPr>
        </p:pic>
        <p:sp>
          <p:nvSpPr>
            <p:cNvPr id="20" name="Text Placeholder 32">
              <a:extLst>
                <a:ext uri="{FF2B5EF4-FFF2-40B4-BE49-F238E27FC236}">
                  <a16:creationId xmlns:a16="http://schemas.microsoft.com/office/drawing/2014/main" id="{1C7F75C4-5CE4-06A1-ED43-F047C8C581B2}"/>
                </a:ext>
              </a:extLst>
            </p:cNvPr>
            <p:cNvSpPr txBox="1">
              <a:spLocks/>
            </p:cNvSpPr>
            <p:nvPr/>
          </p:nvSpPr>
          <p:spPr>
            <a:xfrm>
              <a:off x="1310756" y="4617126"/>
              <a:ext cx="6896172" cy="908413"/>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Work with Portal IT team for enabling high level faucet filter and it sub levels</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Arial" charset="0"/>
                </a:rPr>
                <a:t>Open each document and identify them to their respective product platforms &amp; ATA</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charset="0"/>
                  <a:ea typeface="Arial" charset="0"/>
                  <a:cs typeface="Arial" charset="0"/>
                </a:rPr>
                <a:t>Associate the Platform to product family, application and Model to reflect in portal</a:t>
              </a:r>
            </a:p>
            <a:p>
              <a:pPr marL="171450" marR="0" lvl="0" indent="-1714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US" sz="1400" dirty="0">
                  <a:solidFill>
                    <a:prstClr val="black"/>
                  </a:solidFill>
                  <a:latin typeface="Arial" charset="0"/>
                  <a:ea typeface="Arial" charset="0"/>
                  <a:cs typeface="Arial" charset="0"/>
                </a:rPr>
                <a:t>Search criteria to be defined based on Platforms as well.</a:t>
              </a:r>
              <a:endParaRPr kumimoji="0" lang="en-US" sz="14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pSp>
      <p:pic>
        <p:nvPicPr>
          <p:cNvPr id="23" name="Picture 22">
            <a:extLst>
              <a:ext uri="{FF2B5EF4-FFF2-40B4-BE49-F238E27FC236}">
                <a16:creationId xmlns:a16="http://schemas.microsoft.com/office/drawing/2014/main" id="{AFF28250-E87D-949F-926E-EFE484DC1D23}"/>
              </a:ext>
            </a:extLst>
          </p:cNvPr>
          <p:cNvPicPr>
            <a:picLocks noChangeAspect="1"/>
          </p:cNvPicPr>
          <p:nvPr/>
        </p:nvPicPr>
        <p:blipFill>
          <a:blip r:embed="rId9"/>
          <a:stretch>
            <a:fillRect/>
          </a:stretch>
        </p:blipFill>
        <p:spPr>
          <a:xfrm>
            <a:off x="8427137" y="1558294"/>
            <a:ext cx="3269563" cy="2225233"/>
          </a:xfrm>
          <a:prstGeom prst="rect">
            <a:avLst/>
          </a:prstGeom>
        </p:spPr>
      </p:pic>
    </p:spTree>
    <p:extLst>
      <p:ext uri="{BB962C8B-B14F-4D97-AF65-F5344CB8AC3E}">
        <p14:creationId xmlns:p14="http://schemas.microsoft.com/office/powerpoint/2010/main" val="2662736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4" name="Rectangle 10"/>
          <p:cNvSpPr>
            <a:spLocks noGrp="1" noChangeArrowheads="1"/>
          </p:cNvSpPr>
          <p:nvPr>
            <p:ph type="title"/>
          </p:nvPr>
        </p:nvSpPr>
        <p:spPr>
          <a:xfrm>
            <a:off x="2209799" y="713314"/>
            <a:ext cx="7772400" cy="658812"/>
          </a:xfrm>
        </p:spPr>
        <p:txBody>
          <a:bodyPr/>
          <a:lstStyle/>
          <a:p>
            <a:pPr algn="ctr"/>
            <a:r>
              <a:rPr lang="en-US" sz="2400" b="1">
                <a:latin typeface="+mn-lt"/>
                <a:ea typeface="Verdana" panose="020B0604030504040204" pitchFamily="34" charset="0"/>
                <a:cs typeface="Verdana" panose="020B0604030504040204" pitchFamily="34" charset="0"/>
              </a:rPr>
              <a:t>Confidential &amp; Proprietary Notice</a:t>
            </a:r>
          </a:p>
        </p:txBody>
      </p:sp>
      <p:sp>
        <p:nvSpPr>
          <p:cNvPr id="9" name="TextBox 8"/>
          <p:cNvSpPr txBox="1"/>
          <p:nvPr/>
        </p:nvSpPr>
        <p:spPr>
          <a:xfrm>
            <a:off x="1633541" y="1595532"/>
            <a:ext cx="8924925" cy="2246769"/>
          </a:xfrm>
          <a:prstGeom prst="rect">
            <a:avLst/>
          </a:prstGeom>
          <a:noFill/>
          <a:ln w="3175">
            <a:noFill/>
          </a:ln>
        </p:spPr>
        <p:txBody>
          <a:bodyPr wrap="square" rtlCol="0">
            <a:spAutoFit/>
          </a:bodyPr>
          <a:lstStyle/>
          <a:p>
            <a:pPr marL="0" marR="0" lvl="0" indent="0" algn="just" defTabSz="914400" rtl="0" eaLnBrk="0" fontAlgn="base" latinLnBrk="0" hangingPunct="0">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Verdana" panose="020B0604030504040204" pitchFamily="34" charset="0"/>
                <a:cs typeface="Verdana" panose="020B0604030504040204" pitchFamily="34" charset="0"/>
              </a:rPr>
              <a:t>Proprietary Information Material may be enclosed in this presentation. This work contains valuable, confidential, and proprietary information. Disclosure, use, or reproduction outside of Honeywell International Inc. is prohibited except as authorized in writing. As a member of the Global Customer Committee, you may share information contained in this presentation exclusively with other Honeywell Operators and Channel Partners that have a valid Non-Disclosure Agreement. </a:t>
            </a:r>
          </a:p>
        </p:txBody>
      </p:sp>
      <p:pic>
        <p:nvPicPr>
          <p:cNvPr id="21507" name="Picture 8" descr="slide2"/>
          <p:cNvPicPr>
            <a:picLocks noChangeAspect="1" noChangeArrowheads="1"/>
          </p:cNvPicPr>
          <p:nvPr/>
        </p:nvPicPr>
        <p:blipFill>
          <a:blip r:embed="rId3" cstate="print"/>
          <a:srcRect/>
          <a:stretch>
            <a:fillRect/>
          </a:stretch>
        </p:blipFill>
        <p:spPr bwMode="auto">
          <a:xfrm>
            <a:off x="6713541" y="3563815"/>
            <a:ext cx="3268663" cy="2674776"/>
          </a:xfrm>
          <a:prstGeom prst="rect">
            <a:avLst/>
          </a:prstGeom>
          <a:noFill/>
          <a:ln w="9525">
            <a:noFill/>
            <a:miter lim="800000"/>
            <a:headEnd/>
            <a:tailEnd/>
          </a:ln>
        </p:spPr>
      </p:pic>
      <p:pic>
        <p:nvPicPr>
          <p:cNvPr id="8" name="Picture 7">
            <a:extLst>
              <a:ext uri="{FF2B5EF4-FFF2-40B4-BE49-F238E27FC236}">
                <a16:creationId xmlns:a16="http://schemas.microsoft.com/office/drawing/2014/main" id="{88D65473-7912-4891-9DEC-73AA77A79801}"/>
              </a:ext>
            </a:extLst>
          </p:cNvPr>
          <p:cNvPicPr>
            <a:picLocks noChangeAspect="1"/>
          </p:cNvPicPr>
          <p:nvPr/>
        </p:nvPicPr>
        <p:blipFill>
          <a:blip r:embed="rId4"/>
          <a:stretch>
            <a:fillRect/>
          </a:stretch>
        </p:blipFill>
        <p:spPr>
          <a:xfrm>
            <a:off x="1654799" y="115558"/>
            <a:ext cx="4075433" cy="237268"/>
          </a:xfrm>
          <a:prstGeom prst="rect">
            <a:avLst/>
          </a:prstGeom>
        </p:spPr>
      </p:pic>
    </p:spTree>
    <p:extLst>
      <p:ext uri="{BB962C8B-B14F-4D97-AF65-F5344CB8AC3E}">
        <p14:creationId xmlns:p14="http://schemas.microsoft.com/office/powerpoint/2010/main" val="911313440"/>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AC18F-C366-9116-FB3F-207658DB55F0}"/>
              </a:ext>
            </a:extLst>
          </p:cNvPr>
          <p:cNvSpPr>
            <a:spLocks noGrp="1"/>
          </p:cNvSpPr>
          <p:nvPr>
            <p:ph type="title"/>
          </p:nvPr>
        </p:nvSpPr>
        <p:spPr>
          <a:xfrm>
            <a:off x="495301" y="385346"/>
            <a:ext cx="11601449" cy="411592"/>
          </a:xfrm>
        </p:spPr>
        <p:txBody>
          <a:bodyPr/>
          <a:lstStyle/>
          <a:p>
            <a:r>
              <a:rPr lang="en-US" sz="3200"/>
              <a:t>AOG support – MSP customers</a:t>
            </a:r>
          </a:p>
        </p:txBody>
      </p:sp>
      <p:sp>
        <p:nvSpPr>
          <p:cNvPr id="3" name="Content Placeholder 2">
            <a:extLst>
              <a:ext uri="{FF2B5EF4-FFF2-40B4-BE49-F238E27FC236}">
                <a16:creationId xmlns:a16="http://schemas.microsoft.com/office/drawing/2014/main" id="{E94E4049-DF15-2ED6-B2BE-379D599586A9}"/>
              </a:ext>
            </a:extLst>
          </p:cNvPr>
          <p:cNvSpPr>
            <a:spLocks noGrp="1"/>
          </p:cNvSpPr>
          <p:nvPr>
            <p:ph idx="1"/>
          </p:nvPr>
        </p:nvSpPr>
        <p:spPr>
          <a:xfrm>
            <a:off x="495301" y="1038633"/>
            <a:ext cx="10576111" cy="4946264"/>
          </a:xfrm>
        </p:spPr>
        <p:txBody>
          <a:bodyPr>
            <a:normAutofit fontScale="70000" lnSpcReduction="20000"/>
          </a:bodyPr>
          <a:lstStyle/>
          <a:p>
            <a:pPr marL="685800" lvl="1" indent="-342900">
              <a:lnSpc>
                <a:spcPts val="2160"/>
              </a:lnSpc>
              <a:spcBef>
                <a:spcPts val="600"/>
              </a:spcBef>
              <a:buFont typeface="+mj-lt"/>
              <a:buAutoNum type="arabicPeriod"/>
            </a:pPr>
            <a:r>
              <a:rPr lang="en-US"/>
              <a:t>AOG order should be placed with Honeywell which will create a </a:t>
            </a:r>
            <a:r>
              <a:rPr lang="en-US" b="1" u="sng"/>
              <a:t>CASE</a:t>
            </a:r>
            <a:endParaRPr lang="en-US"/>
          </a:p>
          <a:p>
            <a:pPr marL="685800" lvl="1" indent="-342900">
              <a:lnSpc>
                <a:spcPts val="2160"/>
              </a:lnSpc>
              <a:spcBef>
                <a:spcPts val="600"/>
              </a:spcBef>
              <a:buFont typeface="+mj-lt"/>
              <a:buAutoNum type="arabicPeriod"/>
            </a:pPr>
            <a:r>
              <a:rPr lang="en-US"/>
              <a:t>Honeywell AOG will evaluate best options:</a:t>
            </a:r>
          </a:p>
          <a:p>
            <a:pPr marL="1143000" lvl="2" indent="-342900">
              <a:lnSpc>
                <a:spcPts val="2160"/>
              </a:lnSpc>
              <a:spcBef>
                <a:spcPts val="600"/>
              </a:spcBef>
              <a:buFont typeface="Arial" panose="020B0604020202020204" pitchFamily="34" charset="0"/>
              <a:buChar char="•"/>
            </a:pPr>
            <a:r>
              <a:rPr lang="en-US"/>
              <a:t>SPEX exchange </a:t>
            </a:r>
          </a:p>
          <a:p>
            <a:pPr marL="1143000" lvl="2" indent="-342900">
              <a:lnSpc>
                <a:spcPts val="2160"/>
              </a:lnSpc>
              <a:spcBef>
                <a:spcPts val="600"/>
              </a:spcBef>
              <a:buFont typeface="Arial" panose="020B0604020202020204" pitchFamily="34" charset="0"/>
              <a:buChar char="•"/>
            </a:pPr>
            <a:r>
              <a:rPr lang="en-US"/>
              <a:t>SPEX-Work out of Repair: when immediate exchange is not available -- </a:t>
            </a:r>
            <a:r>
              <a:rPr lang="en-US" i="1"/>
              <a:t>highest priority at the R&amp;O plant</a:t>
            </a:r>
          </a:p>
          <a:p>
            <a:pPr marL="1143000" lvl="2" indent="-342900">
              <a:lnSpc>
                <a:spcPts val="2160"/>
              </a:lnSpc>
              <a:spcBef>
                <a:spcPts val="600"/>
              </a:spcBef>
              <a:buFont typeface="Arial" panose="020B0604020202020204" pitchFamily="34" charset="0"/>
              <a:buChar char="•"/>
            </a:pPr>
            <a:r>
              <a:rPr lang="en-US"/>
              <a:t>Alternate PN / upgrades</a:t>
            </a:r>
          </a:p>
          <a:p>
            <a:pPr marL="1143000" lvl="2" indent="-342900">
              <a:lnSpc>
                <a:spcPts val="2160"/>
              </a:lnSpc>
              <a:spcBef>
                <a:spcPts val="600"/>
              </a:spcBef>
              <a:buFont typeface="Arial" panose="020B0604020202020204" pitchFamily="34" charset="0"/>
              <a:buChar char="•"/>
            </a:pPr>
            <a:r>
              <a:rPr lang="en-US"/>
              <a:t>Honeywell Aerospace Trading (HAT) market search</a:t>
            </a:r>
          </a:p>
          <a:p>
            <a:pPr marL="1143000" lvl="2" indent="-342900">
              <a:lnSpc>
                <a:spcPts val="2160"/>
              </a:lnSpc>
              <a:spcBef>
                <a:spcPts val="600"/>
              </a:spcBef>
              <a:buFont typeface="Arial" panose="020B0604020202020204" pitchFamily="34" charset="0"/>
              <a:buChar char="•"/>
            </a:pPr>
            <a:r>
              <a:rPr lang="en-US"/>
              <a:t>If HAT can not supply / open market search</a:t>
            </a:r>
          </a:p>
          <a:p>
            <a:pPr marL="1143000" lvl="2" indent="-342900">
              <a:lnSpc>
                <a:spcPts val="2160"/>
              </a:lnSpc>
              <a:spcBef>
                <a:spcPts val="600"/>
              </a:spcBef>
              <a:buFont typeface="Arial" panose="020B0604020202020204" pitchFamily="34" charset="0"/>
              <a:buChar char="•"/>
            </a:pPr>
            <a:r>
              <a:rPr lang="en-US"/>
              <a:t>Channel Partner search, recovery of recent supply</a:t>
            </a:r>
          </a:p>
          <a:p>
            <a:pPr marL="685800" lvl="1" indent="-342900">
              <a:lnSpc>
                <a:spcPts val="2160"/>
              </a:lnSpc>
              <a:spcBef>
                <a:spcPts val="600"/>
              </a:spcBef>
              <a:buFont typeface="+mj-lt"/>
              <a:buAutoNum type="arabicPeriod"/>
            </a:pPr>
            <a:r>
              <a:rPr lang="en-US"/>
              <a:t>If there is no availability and operator finds 3</a:t>
            </a:r>
            <a:r>
              <a:rPr lang="en-US" baseline="30000"/>
              <a:t>rd</a:t>
            </a:r>
            <a:r>
              <a:rPr lang="en-US"/>
              <a:t> party part:</a:t>
            </a:r>
          </a:p>
          <a:p>
            <a:pPr marL="857250" lvl="2" indent="-342900">
              <a:lnSpc>
                <a:spcPts val="2160"/>
              </a:lnSpc>
              <a:spcBef>
                <a:spcPts val="600"/>
              </a:spcBef>
              <a:buFont typeface="Arial" panose="020B0604020202020204" pitchFamily="34" charset="0"/>
              <a:buChar char="•"/>
            </a:pPr>
            <a:r>
              <a:rPr lang="en-US"/>
              <a:t>Send the details (Owner, contact info and location) to the AOG team via a reply to the AOG email with CASE tracking</a:t>
            </a:r>
          </a:p>
          <a:p>
            <a:pPr marL="857250" lvl="2" indent="-342900">
              <a:lnSpc>
                <a:spcPts val="2160"/>
              </a:lnSpc>
              <a:spcBef>
                <a:spcPts val="600"/>
              </a:spcBef>
              <a:buFont typeface="Arial" panose="020B0604020202020204" pitchFamily="34" charset="0"/>
              <a:buChar char="•"/>
            </a:pPr>
            <a:r>
              <a:rPr lang="en-US"/>
              <a:t>Honeywell will review/approve/purchase and drop ship</a:t>
            </a:r>
          </a:p>
        </p:txBody>
      </p:sp>
      <p:sp>
        <p:nvSpPr>
          <p:cNvPr id="4" name="Slide Number Placeholder 3">
            <a:extLst>
              <a:ext uri="{FF2B5EF4-FFF2-40B4-BE49-F238E27FC236}">
                <a16:creationId xmlns:a16="http://schemas.microsoft.com/office/drawing/2014/main" id="{F5AAADFF-856C-1FA0-7754-69FE90C6DCA8}"/>
              </a:ext>
            </a:extLst>
          </p:cNvPr>
          <p:cNvSpPr>
            <a:spLocks noGrp="1"/>
          </p:cNvSpPr>
          <p:nvPr>
            <p:ph type="sldNum" sz="quarter" idx="12"/>
          </p:nvPr>
        </p:nvSpPr>
        <p:spPr/>
        <p:txBody>
          <a:bodyPr/>
          <a:lstStyle/>
          <a:p>
            <a:fld id="{7B94EC18-1D2B-4535-B738-0E53AFE26620}" type="slidenum">
              <a:rPr lang="en-US" smtClean="0"/>
              <a:t>30</a:t>
            </a:fld>
            <a:endParaRPr lang="en-US"/>
          </a:p>
        </p:txBody>
      </p:sp>
      <p:pic>
        <p:nvPicPr>
          <p:cNvPr id="9" name="Graphic 8">
            <a:extLst>
              <a:ext uri="{FF2B5EF4-FFF2-40B4-BE49-F238E27FC236}">
                <a16:creationId xmlns:a16="http://schemas.microsoft.com/office/drawing/2014/main" id="{64BAE0AC-737B-B8C5-0C5F-ACC67D7C7BC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298" y="6202358"/>
            <a:ext cx="2571750" cy="419100"/>
          </a:xfrm>
          <a:prstGeom prst="rect">
            <a:avLst/>
          </a:prstGeom>
        </p:spPr>
      </p:pic>
    </p:spTree>
    <p:extLst>
      <p:ext uri="{BB962C8B-B14F-4D97-AF65-F5344CB8AC3E}">
        <p14:creationId xmlns:p14="http://schemas.microsoft.com/office/powerpoint/2010/main" val="1928968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B3DFA54-0E16-FBB0-89FB-8BB8455F867C}"/>
              </a:ext>
            </a:extLst>
          </p:cNvPr>
          <p:cNvSpPr>
            <a:spLocks noGrp="1"/>
          </p:cNvSpPr>
          <p:nvPr>
            <p:ph type="title"/>
          </p:nvPr>
        </p:nvSpPr>
        <p:spPr/>
        <p:txBody>
          <a:bodyPr/>
          <a:lstStyle/>
          <a:p>
            <a:r>
              <a:rPr lang="en-US" dirty="0"/>
              <a:t>Portal utilization</a:t>
            </a:r>
          </a:p>
        </p:txBody>
      </p:sp>
      <p:sp>
        <p:nvSpPr>
          <p:cNvPr id="4" name="Slide Number Placeholder 3">
            <a:extLst>
              <a:ext uri="{FF2B5EF4-FFF2-40B4-BE49-F238E27FC236}">
                <a16:creationId xmlns:a16="http://schemas.microsoft.com/office/drawing/2014/main" id="{0B9C81EF-112E-CE1F-1258-899C9E89A322}"/>
              </a:ext>
            </a:extLst>
          </p:cNvPr>
          <p:cNvSpPr>
            <a:spLocks noGrp="1"/>
          </p:cNvSpPr>
          <p:nvPr>
            <p:ph type="sldNum" sz="quarter" idx="12"/>
          </p:nvPr>
        </p:nvSpPr>
        <p:spPr/>
        <p:txBody>
          <a:bodyPr/>
          <a:lstStyle/>
          <a:p>
            <a:fld id="{7B94EC18-1D2B-4535-B738-0E53AFE26620}" type="slidenum">
              <a:rPr lang="en-US" smtClean="0"/>
              <a:pPr/>
              <a:t>31</a:t>
            </a:fld>
            <a:endParaRPr lang="en-US"/>
          </a:p>
        </p:txBody>
      </p:sp>
      <p:sp>
        <p:nvSpPr>
          <p:cNvPr id="6" name="Content Placeholder 5">
            <a:extLst>
              <a:ext uri="{FF2B5EF4-FFF2-40B4-BE49-F238E27FC236}">
                <a16:creationId xmlns:a16="http://schemas.microsoft.com/office/drawing/2014/main" id="{1D2B3142-B1DC-EF52-1883-CA014D224BF9}"/>
              </a:ext>
            </a:extLst>
          </p:cNvPr>
          <p:cNvSpPr>
            <a:spLocks noGrp="1"/>
          </p:cNvSpPr>
          <p:nvPr>
            <p:ph type="body" sz="quarter" idx="16"/>
          </p:nvPr>
        </p:nvSpPr>
        <p:spPr/>
        <p:txBody>
          <a:bodyPr/>
          <a:lstStyle/>
          <a:p>
            <a:r>
              <a:rPr lang="en-US" dirty="0"/>
              <a:t>Continued focus on enabling customer self-service</a:t>
            </a:r>
          </a:p>
        </p:txBody>
      </p:sp>
      <p:pic>
        <p:nvPicPr>
          <p:cNvPr id="7" name="Picture 6">
            <a:extLst>
              <a:ext uri="{FF2B5EF4-FFF2-40B4-BE49-F238E27FC236}">
                <a16:creationId xmlns:a16="http://schemas.microsoft.com/office/drawing/2014/main" id="{D1D680C4-DA5A-F10B-843C-67DEA52417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945" y="914400"/>
            <a:ext cx="11199755" cy="5029200"/>
          </a:xfrm>
          <a:prstGeom prst="rect">
            <a:avLst/>
          </a:prstGeom>
        </p:spPr>
      </p:pic>
    </p:spTree>
    <p:extLst>
      <p:ext uri="{BB962C8B-B14F-4D97-AF65-F5344CB8AC3E}">
        <p14:creationId xmlns:p14="http://schemas.microsoft.com/office/powerpoint/2010/main" val="2735076999"/>
      </p:ext>
    </p:extLst>
  </p:cSld>
  <p:clrMapOvr>
    <a:masterClrMapping/>
  </p:clrMapOvr>
  <p:transition spd="slow">
    <p:cove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37074DD-6BE9-B191-9537-71D8D46DFA44}"/>
              </a:ext>
            </a:extLst>
          </p:cNvPr>
          <p:cNvPicPr>
            <a:picLocks noChangeAspect="1"/>
          </p:cNvPicPr>
          <p:nvPr/>
        </p:nvPicPr>
        <p:blipFill>
          <a:blip r:embed="rId3"/>
          <a:srcRect l="24021" r="87"/>
          <a:stretch/>
        </p:blipFill>
        <p:spPr>
          <a:xfrm>
            <a:off x="371408" y="1027582"/>
            <a:ext cx="5729387" cy="4781550"/>
          </a:xfrm>
          <a:prstGeom prst="rect">
            <a:avLst/>
          </a:prstGeom>
        </p:spPr>
      </p:pic>
      <p:pic>
        <p:nvPicPr>
          <p:cNvPr id="3" name="Picture 2">
            <a:extLst>
              <a:ext uri="{FF2B5EF4-FFF2-40B4-BE49-F238E27FC236}">
                <a16:creationId xmlns:a16="http://schemas.microsoft.com/office/drawing/2014/main" id="{CFE71172-7898-A2DA-C85C-EF4019368FA0}"/>
              </a:ext>
            </a:extLst>
          </p:cNvPr>
          <p:cNvPicPr>
            <a:picLocks noChangeAspect="1"/>
          </p:cNvPicPr>
          <p:nvPr/>
        </p:nvPicPr>
        <p:blipFill>
          <a:blip r:embed="rId4"/>
          <a:srcRect l="27249" r="-86" b="223"/>
          <a:stretch/>
        </p:blipFill>
        <p:spPr>
          <a:xfrm>
            <a:off x="6095999" y="1026965"/>
            <a:ext cx="5613008" cy="4786882"/>
          </a:xfrm>
          <a:prstGeom prst="rect">
            <a:avLst/>
          </a:prstGeom>
        </p:spPr>
      </p:pic>
      <p:sp>
        <p:nvSpPr>
          <p:cNvPr id="5" name="Title 4">
            <a:extLst>
              <a:ext uri="{FF2B5EF4-FFF2-40B4-BE49-F238E27FC236}">
                <a16:creationId xmlns:a16="http://schemas.microsoft.com/office/drawing/2014/main" id="{5B3DFA54-0E16-FBB0-89FB-8BB8455F867C}"/>
              </a:ext>
            </a:extLst>
          </p:cNvPr>
          <p:cNvSpPr>
            <a:spLocks noGrp="1"/>
          </p:cNvSpPr>
          <p:nvPr>
            <p:ph type="title"/>
          </p:nvPr>
        </p:nvSpPr>
        <p:spPr/>
        <p:txBody>
          <a:bodyPr/>
          <a:lstStyle/>
          <a:p>
            <a:r>
              <a:rPr lang="en-US"/>
              <a:t>Portal utilization by Channel partner</a:t>
            </a:r>
          </a:p>
        </p:txBody>
      </p:sp>
      <p:sp>
        <p:nvSpPr>
          <p:cNvPr id="6" name="Content Placeholder 5">
            <a:extLst>
              <a:ext uri="{FF2B5EF4-FFF2-40B4-BE49-F238E27FC236}">
                <a16:creationId xmlns:a16="http://schemas.microsoft.com/office/drawing/2014/main" id="{1D2B3142-B1DC-EF52-1883-CA014D224BF9}"/>
              </a:ext>
            </a:extLst>
          </p:cNvPr>
          <p:cNvSpPr>
            <a:spLocks noGrp="1"/>
          </p:cNvSpPr>
          <p:nvPr>
            <p:ph idx="1"/>
          </p:nvPr>
        </p:nvSpPr>
        <p:spPr/>
        <p:txBody>
          <a:bodyPr/>
          <a:lstStyle/>
          <a:p>
            <a:pPr lvl="2"/>
            <a:endParaRPr lang="en-US"/>
          </a:p>
          <a:p>
            <a:endParaRPr lang="en-US"/>
          </a:p>
        </p:txBody>
      </p:sp>
      <p:sp>
        <p:nvSpPr>
          <p:cNvPr id="4" name="Slide Number Placeholder 3">
            <a:extLst>
              <a:ext uri="{FF2B5EF4-FFF2-40B4-BE49-F238E27FC236}">
                <a16:creationId xmlns:a16="http://schemas.microsoft.com/office/drawing/2014/main" id="{0B9C81EF-112E-CE1F-1258-899C9E89A322}"/>
              </a:ext>
            </a:extLst>
          </p:cNvPr>
          <p:cNvSpPr>
            <a:spLocks noGrp="1"/>
          </p:cNvSpPr>
          <p:nvPr>
            <p:ph type="sldNum" sz="quarter" idx="12"/>
          </p:nvPr>
        </p:nvSpPr>
        <p:spPr/>
        <p:txBody>
          <a:bodyPr/>
          <a:lstStyle/>
          <a:p>
            <a:fld id="{7B94EC18-1D2B-4535-B738-0E53AFE26620}" type="slidenum">
              <a:rPr lang="en-US" smtClean="0"/>
              <a:pPr/>
              <a:t>32</a:t>
            </a:fld>
            <a:endParaRPr lang="en-US"/>
          </a:p>
        </p:txBody>
      </p:sp>
      <p:sp>
        <p:nvSpPr>
          <p:cNvPr id="2" name="Content Placeholder 5">
            <a:extLst>
              <a:ext uri="{FF2B5EF4-FFF2-40B4-BE49-F238E27FC236}">
                <a16:creationId xmlns:a16="http://schemas.microsoft.com/office/drawing/2014/main" id="{A6AF7207-D7F7-F18F-AB5F-AF324F559849}"/>
              </a:ext>
            </a:extLst>
          </p:cNvPr>
          <p:cNvSpPr>
            <a:spLocks noGrp="1"/>
          </p:cNvSpPr>
          <p:nvPr>
            <p:ph type="body" sz="quarter" idx="16"/>
          </p:nvPr>
        </p:nvSpPr>
        <p:spPr>
          <a:xfrm>
            <a:off x="-1" y="6096000"/>
            <a:ext cx="12192000" cy="376654"/>
          </a:xfrm>
        </p:spPr>
        <p:txBody>
          <a:bodyPr/>
          <a:lstStyle/>
          <a:p>
            <a:r>
              <a:rPr lang="en-US" dirty="0"/>
              <a:t>Increasing portal utilization across support network</a:t>
            </a:r>
          </a:p>
        </p:txBody>
      </p:sp>
    </p:spTree>
    <p:extLst>
      <p:ext uri="{BB962C8B-B14F-4D97-AF65-F5344CB8AC3E}">
        <p14:creationId xmlns:p14="http://schemas.microsoft.com/office/powerpoint/2010/main" val="1627994287"/>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F644935-7AB7-8970-1B56-03C6B74C759F}"/>
              </a:ext>
            </a:extLst>
          </p:cNvPr>
          <p:cNvPicPr>
            <a:picLocks noChangeAspect="1"/>
          </p:cNvPicPr>
          <p:nvPr/>
        </p:nvPicPr>
        <p:blipFill>
          <a:blip r:embed="rId5"/>
          <a:stretch>
            <a:fillRect/>
          </a:stretch>
        </p:blipFill>
        <p:spPr>
          <a:xfrm>
            <a:off x="6225667" y="1042181"/>
            <a:ext cx="4279833" cy="2900383"/>
          </a:xfrm>
          <a:prstGeom prst="rect">
            <a:avLst/>
          </a:prstGeom>
        </p:spPr>
      </p:pic>
      <p:graphicFrame>
        <p:nvGraphicFramePr>
          <p:cNvPr id="16" name="Object 15" hidden="1">
            <a:extLst>
              <a:ext uri="{FF2B5EF4-FFF2-40B4-BE49-F238E27FC236}">
                <a16:creationId xmlns:a16="http://schemas.microsoft.com/office/drawing/2014/main" id="{52BC4C0F-3202-4D0C-ADA0-502662EEFB3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6" name="Object 15" hidden="1">
                        <a:extLst>
                          <a:ext uri="{FF2B5EF4-FFF2-40B4-BE49-F238E27FC236}">
                            <a16:creationId xmlns:a16="http://schemas.microsoft.com/office/drawing/2014/main" id="{52BC4C0F-3202-4D0C-ADA0-502662EEFB30}"/>
                          </a:ext>
                          <a:ext uri="{C183D7F6-B498-43B3-948B-1728B52AA6E4}">
                            <adec:decorative xmlns:adec="http://schemas.microsoft.com/office/drawing/2017/decorative" val="1"/>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 uri="{C183D7F6-B498-43B3-948B-1728B52AA6E4}">
                <adec:decorative xmlns:adec="http://schemas.microsoft.com/office/drawing/2017/decorative" val="1"/>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a:solidFill>
                <a:schemeClr val="tx1"/>
              </a:solidFill>
              <a:latin typeface="Arial Black" panose="020B0A04020102020204" pitchFamily="34" charset="0"/>
              <a:ea typeface="+mj-ea"/>
              <a:cs typeface="+mj-cs"/>
              <a:sym typeface="Arial Black" panose="020B0A04020102020204" pitchFamily="34" charset="0"/>
            </a:endParaRPr>
          </a:p>
        </p:txBody>
      </p:sp>
      <p:sp>
        <p:nvSpPr>
          <p:cNvPr id="14" name="Title 13">
            <a:extLst>
              <a:ext uri="{FF2B5EF4-FFF2-40B4-BE49-F238E27FC236}">
                <a16:creationId xmlns:a16="http://schemas.microsoft.com/office/drawing/2014/main" id="{8FAE4130-2CC6-4368-9A18-61F4EE8A23B2}"/>
              </a:ext>
            </a:extLst>
          </p:cNvPr>
          <p:cNvSpPr>
            <a:spLocks noGrp="1"/>
          </p:cNvSpPr>
          <p:nvPr>
            <p:ph type="title"/>
          </p:nvPr>
        </p:nvSpPr>
        <p:spPr/>
        <p:txBody>
          <a:bodyPr/>
          <a:lstStyle/>
          <a:p>
            <a:r>
              <a:rPr lang="en-US" sz="3200"/>
              <a:t>NEW quote approval request template</a:t>
            </a: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fld id="{7B94EC18-1D2B-4535-B738-0E53AFE26620}" type="slidenum">
              <a:rPr lang="en-US" smtClean="0"/>
              <a:pPr/>
              <a:t>33</a:t>
            </a:fld>
            <a:endParaRPr lang="en-US"/>
          </a:p>
        </p:txBody>
      </p:sp>
      <p:pic>
        <p:nvPicPr>
          <p:cNvPr id="3" name="Picture 2">
            <a:extLst>
              <a:ext uri="{FF2B5EF4-FFF2-40B4-BE49-F238E27FC236}">
                <a16:creationId xmlns:a16="http://schemas.microsoft.com/office/drawing/2014/main" id="{4EDEF2A2-1877-5AEA-9178-C91BC9FDBB05}"/>
              </a:ext>
            </a:extLst>
          </p:cNvPr>
          <p:cNvPicPr>
            <a:picLocks noChangeAspect="1"/>
          </p:cNvPicPr>
          <p:nvPr/>
        </p:nvPicPr>
        <p:blipFill>
          <a:blip r:embed="rId8"/>
          <a:stretch>
            <a:fillRect/>
          </a:stretch>
        </p:blipFill>
        <p:spPr>
          <a:xfrm>
            <a:off x="983999" y="1053872"/>
            <a:ext cx="4325610" cy="4897425"/>
          </a:xfrm>
          <a:prstGeom prst="rect">
            <a:avLst/>
          </a:prstGeom>
          <a:ln>
            <a:solidFill>
              <a:schemeClr val="tx1"/>
            </a:solidFill>
          </a:ln>
        </p:spPr>
      </p:pic>
      <p:pic>
        <p:nvPicPr>
          <p:cNvPr id="8" name="Picture 7">
            <a:extLst>
              <a:ext uri="{FF2B5EF4-FFF2-40B4-BE49-F238E27FC236}">
                <a16:creationId xmlns:a16="http://schemas.microsoft.com/office/drawing/2014/main" id="{AB9315A4-6DFB-D4FA-D8EA-44A8E4589B69}"/>
              </a:ext>
            </a:extLst>
          </p:cNvPr>
          <p:cNvPicPr>
            <a:picLocks noChangeAspect="1"/>
          </p:cNvPicPr>
          <p:nvPr/>
        </p:nvPicPr>
        <p:blipFill>
          <a:blip r:embed="rId9"/>
          <a:stretch>
            <a:fillRect/>
          </a:stretch>
        </p:blipFill>
        <p:spPr>
          <a:xfrm>
            <a:off x="6882393" y="3131623"/>
            <a:ext cx="4250001" cy="2884166"/>
          </a:xfrm>
          <a:prstGeom prst="rect">
            <a:avLst/>
          </a:prstGeom>
          <a:ln>
            <a:solidFill>
              <a:schemeClr val="tx1"/>
            </a:solidFill>
          </a:ln>
        </p:spPr>
      </p:pic>
      <p:cxnSp>
        <p:nvCxnSpPr>
          <p:cNvPr id="10" name="Straight Arrow Connector 9">
            <a:extLst>
              <a:ext uri="{FF2B5EF4-FFF2-40B4-BE49-F238E27FC236}">
                <a16:creationId xmlns:a16="http://schemas.microsoft.com/office/drawing/2014/main" id="{FDE82FA9-C017-AB47-0393-9F25E1E784B1}"/>
              </a:ext>
            </a:extLst>
          </p:cNvPr>
          <p:cNvCxnSpPr>
            <a:cxnSpLocks/>
          </p:cNvCxnSpPr>
          <p:nvPr/>
        </p:nvCxnSpPr>
        <p:spPr>
          <a:xfrm flipV="1">
            <a:off x="3880237" y="2679592"/>
            <a:ext cx="2285671" cy="141773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0B6F2C4-AAC1-ABC2-FD43-5C144F461B5D}"/>
              </a:ext>
            </a:extLst>
          </p:cNvPr>
          <p:cNvCxnSpPr>
            <a:cxnSpLocks/>
          </p:cNvCxnSpPr>
          <p:nvPr/>
        </p:nvCxnSpPr>
        <p:spPr>
          <a:xfrm>
            <a:off x="3610947" y="4249731"/>
            <a:ext cx="3271446" cy="16198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331353B-318C-CBE3-2C2B-9D8BF4E528FE}"/>
              </a:ext>
            </a:extLst>
          </p:cNvPr>
          <p:cNvCxnSpPr>
            <a:cxnSpLocks/>
          </p:cNvCxnSpPr>
          <p:nvPr/>
        </p:nvCxnSpPr>
        <p:spPr>
          <a:xfrm>
            <a:off x="3531765" y="5320155"/>
            <a:ext cx="3350628"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8A23201D-4E5A-5238-7933-442B82F0FA7C}"/>
              </a:ext>
            </a:extLst>
          </p:cNvPr>
          <p:cNvPicPr>
            <a:picLocks noChangeAspect="1"/>
          </p:cNvPicPr>
          <p:nvPr/>
        </p:nvPicPr>
        <p:blipFill>
          <a:blip r:embed="rId10"/>
          <a:stretch>
            <a:fillRect/>
          </a:stretch>
        </p:blipFill>
        <p:spPr>
          <a:xfrm>
            <a:off x="7598878" y="5002265"/>
            <a:ext cx="4250001" cy="1414293"/>
          </a:xfrm>
          <a:prstGeom prst="rect">
            <a:avLst/>
          </a:prstGeom>
          <a:ln>
            <a:solidFill>
              <a:schemeClr val="tx1"/>
            </a:solidFill>
          </a:ln>
        </p:spPr>
      </p:pic>
      <p:cxnSp>
        <p:nvCxnSpPr>
          <p:cNvPr id="22" name="Straight Arrow Connector 21">
            <a:extLst>
              <a:ext uri="{FF2B5EF4-FFF2-40B4-BE49-F238E27FC236}">
                <a16:creationId xmlns:a16="http://schemas.microsoft.com/office/drawing/2014/main" id="{F76D7737-C0FF-4103-05E8-CCD45C97175B}"/>
              </a:ext>
            </a:extLst>
          </p:cNvPr>
          <p:cNvCxnSpPr>
            <a:cxnSpLocks/>
          </p:cNvCxnSpPr>
          <p:nvPr/>
        </p:nvCxnSpPr>
        <p:spPr>
          <a:xfrm>
            <a:off x="2097248" y="4427137"/>
            <a:ext cx="5501630" cy="83828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1782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E61EDD-5B97-54BB-1F6A-2B809135F27B}"/>
              </a:ext>
            </a:extLst>
          </p:cNvPr>
          <p:cNvPicPr>
            <a:picLocks noChangeAspect="1"/>
          </p:cNvPicPr>
          <p:nvPr/>
        </p:nvPicPr>
        <p:blipFill>
          <a:blip r:embed="rId3"/>
          <a:stretch>
            <a:fillRect/>
          </a:stretch>
        </p:blipFill>
        <p:spPr>
          <a:xfrm>
            <a:off x="2778989" y="1000125"/>
            <a:ext cx="5160900" cy="5749028"/>
          </a:xfrm>
          <a:prstGeom prst="rect">
            <a:avLst/>
          </a:prstGeom>
        </p:spPr>
      </p:pic>
      <p:sp>
        <p:nvSpPr>
          <p:cNvPr id="2" name="Title 1">
            <a:extLst>
              <a:ext uri="{FF2B5EF4-FFF2-40B4-BE49-F238E27FC236}">
                <a16:creationId xmlns:a16="http://schemas.microsoft.com/office/drawing/2014/main" id="{C3FFDDDA-BABE-04D6-3043-B882838CDE7F}"/>
              </a:ext>
            </a:extLst>
          </p:cNvPr>
          <p:cNvSpPr>
            <a:spLocks noGrp="1"/>
          </p:cNvSpPr>
          <p:nvPr>
            <p:ph type="title"/>
          </p:nvPr>
        </p:nvSpPr>
        <p:spPr/>
        <p:txBody>
          <a:bodyPr/>
          <a:lstStyle/>
          <a:p>
            <a:r>
              <a:rPr lang="en-US"/>
              <a:t>2024 Catalog pricing updates</a:t>
            </a:r>
          </a:p>
        </p:txBody>
      </p:sp>
      <p:sp>
        <p:nvSpPr>
          <p:cNvPr id="3" name="Slide Number Placeholder 2">
            <a:extLst>
              <a:ext uri="{FF2B5EF4-FFF2-40B4-BE49-F238E27FC236}">
                <a16:creationId xmlns:a16="http://schemas.microsoft.com/office/drawing/2014/main" id="{804C8038-1570-48BE-65BC-0EBF0022E5E5}"/>
              </a:ext>
            </a:extLst>
          </p:cNvPr>
          <p:cNvSpPr>
            <a:spLocks noGrp="1"/>
          </p:cNvSpPr>
          <p:nvPr>
            <p:ph type="sldNum" sz="quarter" idx="12"/>
          </p:nvPr>
        </p:nvSpPr>
        <p:spPr/>
        <p:txBody>
          <a:bodyPr/>
          <a:lstStyle/>
          <a:p>
            <a:fld id="{7B94EC18-1D2B-4535-B738-0E53AFE26620}" type="slidenum">
              <a:rPr lang="en-US" smtClean="0"/>
              <a:t>34</a:t>
            </a:fld>
            <a:endParaRPr lang="en-US"/>
          </a:p>
        </p:txBody>
      </p:sp>
      <p:sp>
        <p:nvSpPr>
          <p:cNvPr id="5" name="Text Placeholder 4">
            <a:extLst>
              <a:ext uri="{FF2B5EF4-FFF2-40B4-BE49-F238E27FC236}">
                <a16:creationId xmlns:a16="http://schemas.microsoft.com/office/drawing/2014/main" id="{E4AA5378-C136-FCE3-A2FB-9CB16E03DBB0}"/>
              </a:ext>
            </a:extLst>
          </p:cNvPr>
          <p:cNvSpPr>
            <a:spLocks noGrp="1"/>
          </p:cNvSpPr>
          <p:nvPr>
            <p:ph type="body" sz="quarter" idx="14"/>
          </p:nvPr>
        </p:nvSpPr>
        <p:spPr>
          <a:xfrm>
            <a:off x="495299" y="707908"/>
            <a:ext cx="10344333" cy="4914900"/>
          </a:xfrm>
        </p:spPr>
        <p:txBody>
          <a:bodyPr/>
          <a:lstStyle/>
          <a:p>
            <a:r>
              <a:rPr lang="en-US" sz="2400" b="1" dirty="0">
                <a:latin typeface="Arial" pitchFamily="34" charset="0"/>
                <a:cs typeface="Arial" pitchFamily="34" charset="0"/>
              </a:rPr>
              <a:t>Change Management Communications</a:t>
            </a:r>
            <a:endParaRPr lang="en-US" dirty="0"/>
          </a:p>
        </p:txBody>
      </p:sp>
    </p:spTree>
    <p:extLst>
      <p:ext uri="{BB962C8B-B14F-4D97-AF65-F5344CB8AC3E}">
        <p14:creationId xmlns:p14="http://schemas.microsoft.com/office/powerpoint/2010/main" val="40797603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9A37F47-E3E6-E84A-DCEE-EC739F6CE1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2DA290-2002-383B-A5F8-ECFC29CBC1C2}"/>
              </a:ext>
            </a:extLst>
          </p:cNvPr>
          <p:cNvSpPr>
            <a:spLocks noGrp="1"/>
          </p:cNvSpPr>
          <p:nvPr>
            <p:ph type="title"/>
          </p:nvPr>
        </p:nvSpPr>
        <p:spPr/>
        <p:txBody>
          <a:bodyPr/>
          <a:lstStyle/>
          <a:p>
            <a:r>
              <a:rPr lang="en-US"/>
              <a:t>Support resources</a:t>
            </a:r>
          </a:p>
        </p:txBody>
      </p:sp>
      <p:sp>
        <p:nvSpPr>
          <p:cNvPr id="3" name="Slide Number Placeholder 2">
            <a:extLst>
              <a:ext uri="{FF2B5EF4-FFF2-40B4-BE49-F238E27FC236}">
                <a16:creationId xmlns:a16="http://schemas.microsoft.com/office/drawing/2014/main" id="{2B8109AC-E31F-CD00-71B9-ED44E7E873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B74C0270-7CBC-5185-7F27-C1AC77D0FF96}"/>
              </a:ext>
            </a:extLst>
          </p:cNvPr>
          <p:cNvSpPr>
            <a:spLocks noGrp="1"/>
          </p:cNvSpPr>
          <p:nvPr>
            <p:ph type="body" sz="quarter" idx="13"/>
          </p:nvPr>
        </p:nvSpPr>
        <p:spPr>
          <a:xfrm>
            <a:off x="495300" y="903514"/>
            <a:ext cx="11201400" cy="5569140"/>
          </a:xfrm>
        </p:spPr>
        <p:txBody>
          <a:bodyPr>
            <a:normAutofit lnSpcReduction="10000"/>
          </a:bodyPr>
          <a:lstStyle/>
          <a:p>
            <a:r>
              <a:rPr lang="en-US" sz="1600" b="1"/>
              <a:t>Channel Partner Network</a:t>
            </a:r>
          </a:p>
          <a:p>
            <a:pPr lvl="1">
              <a:buFont typeface="Wingdings" panose="05000000000000000000" pitchFamily="2" charset="2"/>
              <a:buChar char="ü"/>
            </a:pPr>
            <a:r>
              <a:rPr lang="en-US" sz="1600"/>
              <a:t>Spares, Repairs, Exchanges, MSP, Warranty, etc. </a:t>
            </a:r>
          </a:p>
          <a:p>
            <a:r>
              <a:rPr lang="en-US" sz="1600" b="1"/>
              <a:t>AOG</a:t>
            </a:r>
          </a:p>
          <a:p>
            <a:pPr marL="285750" indent="-285750">
              <a:buFont typeface="Arial" panose="020B0604020202020204"/>
              <a:buChar char="•"/>
            </a:pPr>
            <a:r>
              <a:rPr lang="en-US" sz="1600">
                <a:solidFill>
                  <a:srgbClr val="0070C0"/>
                </a:solidFill>
                <a:hlinkClick r:id="rId3">
                  <a:extLst>
                    <a:ext uri="{A12FA001-AC4F-418D-AE19-62706E023703}">
                      <ahyp:hlinkClr xmlns:ahyp="http://schemas.microsoft.com/office/drawing/2018/hyperlinkcolor" val="tx"/>
                    </a:ext>
                  </a:extLst>
                </a:hlinkClick>
              </a:rPr>
              <a:t>aog@honeywell.com</a:t>
            </a:r>
            <a:endParaRPr lang="en-US" sz="1600">
              <a:solidFill>
                <a:srgbClr val="0070C0"/>
              </a:solidFill>
            </a:endParaRPr>
          </a:p>
          <a:p>
            <a:pPr marL="285750" indent="-285750">
              <a:buFont typeface="Arial" panose="020B0604020202020204"/>
              <a:buChar char="•"/>
            </a:pPr>
            <a:r>
              <a:rPr lang="en-US" sz="1600"/>
              <a:t>Ph: 602-365-3099 option 4</a:t>
            </a:r>
          </a:p>
          <a:p>
            <a:r>
              <a:rPr lang="en-US" sz="1600" b="1" err="1"/>
              <a:t>MyAerospace</a:t>
            </a:r>
            <a:r>
              <a:rPr lang="en-US" sz="1600" b="1"/>
              <a:t> Portal </a:t>
            </a:r>
            <a:r>
              <a:rPr lang="en-US" sz="1600"/>
              <a:t>– </a:t>
            </a:r>
            <a:r>
              <a:rPr lang="en-US" sz="1600">
                <a:solidFill>
                  <a:srgbClr val="0070C0"/>
                </a:solidFill>
                <a:hlinkClick r:id="rId4">
                  <a:extLst>
                    <a:ext uri="{A12FA001-AC4F-418D-AE19-62706E023703}">
                      <ahyp:hlinkClr xmlns:ahyp="http://schemas.microsoft.com/office/drawing/2018/hyperlinkcolor" val="tx"/>
                    </a:ext>
                  </a:extLst>
                </a:hlinkClick>
              </a:rPr>
              <a:t>https://aerospace.honeywell.com/</a:t>
            </a:r>
            <a:r>
              <a:rPr lang="en-US" sz="1600">
                <a:solidFill>
                  <a:srgbClr val="0070C0"/>
                </a:solidFill>
              </a:rPr>
              <a:t> </a:t>
            </a:r>
          </a:p>
          <a:p>
            <a:pPr lvl="1">
              <a:buFont typeface="Wingdings" panose="05000000000000000000" pitchFamily="2" charset="2"/>
              <a:buChar char="ü"/>
            </a:pPr>
            <a:r>
              <a:rPr lang="en-US" sz="1600"/>
              <a:t>Core administration, returns, ordering, quotes, pricing, publications, repair capabilities, technical support. Warranty, HAT, tutorials, others. </a:t>
            </a:r>
          </a:p>
          <a:p>
            <a:r>
              <a:rPr lang="en-US" sz="1600" b="1"/>
              <a:t>Currently active channels </a:t>
            </a:r>
            <a:r>
              <a:rPr lang="en-US" sz="1600"/>
              <a:t>(as applicable per service level) </a:t>
            </a:r>
          </a:p>
          <a:p>
            <a:pPr marL="285750" indent="-285750">
              <a:buFont typeface="Arial" panose="020B0604020202020204"/>
              <a:buChar char="•"/>
            </a:pPr>
            <a:r>
              <a:rPr lang="en-US" sz="1600">
                <a:solidFill>
                  <a:srgbClr val="0070C0"/>
                </a:solidFill>
                <a:hlinkClick r:id="rId5">
                  <a:extLst>
                    <a:ext uri="{A12FA001-AC4F-418D-AE19-62706E023703}">
                      <ahyp:hlinkClr xmlns:ahyp="http://schemas.microsoft.com/office/drawing/2018/hyperlinkcolor" val="tx"/>
                    </a:ext>
                  </a:extLst>
                </a:hlinkClick>
              </a:rPr>
              <a:t>orders@honeywell.com</a:t>
            </a:r>
            <a:endParaRPr lang="en-US" sz="1600">
              <a:solidFill>
                <a:srgbClr val="0070C0"/>
              </a:solidFill>
            </a:endParaRPr>
          </a:p>
          <a:p>
            <a:pPr marL="285750" indent="-285750">
              <a:buFont typeface="Arial" panose="020B0604020202020204"/>
              <a:buChar char="•"/>
            </a:pPr>
            <a:r>
              <a:rPr lang="en-US" sz="1600">
                <a:solidFill>
                  <a:srgbClr val="0070C0"/>
                </a:solidFill>
                <a:hlinkClick r:id="rId6">
                  <a:extLst>
                    <a:ext uri="{A12FA001-AC4F-418D-AE19-62706E023703}">
                      <ahyp:hlinkClr xmlns:ahyp="http://schemas.microsoft.com/office/drawing/2018/hyperlinkcolor" val="tx"/>
                    </a:ext>
                  </a:extLst>
                </a:hlinkClick>
              </a:rPr>
              <a:t>orderstatu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7">
                  <a:extLst>
                    <a:ext uri="{A12FA001-AC4F-418D-AE19-62706E023703}">
                      <ahyp:hlinkClr xmlns:ahyp="http://schemas.microsoft.com/office/drawing/2018/hyperlinkcolor" val="tx"/>
                    </a:ext>
                  </a:extLst>
                </a:hlinkClick>
              </a:rPr>
              <a:t>pub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8">
                  <a:extLst>
                    <a:ext uri="{A12FA001-AC4F-418D-AE19-62706E023703}">
                      <ahyp:hlinkClr xmlns:ahyp="http://schemas.microsoft.com/office/drawing/2018/hyperlinkcolor" val="tx"/>
                    </a:ext>
                  </a:extLst>
                </a:hlinkClick>
              </a:rPr>
              <a:t>quote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9">
                  <a:extLst>
                    <a:ext uri="{A12FA001-AC4F-418D-AE19-62706E023703}">
                      <ahyp:hlinkClr xmlns:ahyp="http://schemas.microsoft.com/office/drawing/2018/hyperlinkcolor" val="tx"/>
                    </a:ext>
                  </a:extLst>
                </a:hlinkClick>
              </a:rPr>
              <a:t>corerecoveryinteam@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10">
                  <a:extLst>
                    <a:ext uri="{A12FA001-AC4F-418D-AE19-62706E023703}">
                      <ahyp:hlinkClr xmlns:ahyp="http://schemas.microsoft.com/office/drawing/2018/hyperlinkcolor" val="tx"/>
                    </a:ext>
                  </a:extLst>
                </a:hlinkClick>
              </a:rPr>
              <a:t>return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11">
                  <a:extLst>
                    <a:ext uri="{A12FA001-AC4F-418D-AE19-62706E023703}">
                      <ahyp:hlinkClr xmlns:ahyp="http://schemas.microsoft.com/office/drawing/2018/hyperlinkcolor" val="tx"/>
                    </a:ext>
                  </a:extLst>
                </a:hlinkClick>
              </a:rPr>
              <a:t>aerorepair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12">
                  <a:extLst>
                    <a:ext uri="{A12FA001-AC4F-418D-AE19-62706E023703}">
                      <ahyp:hlinkClr xmlns:ahyp="http://schemas.microsoft.com/office/drawing/2018/hyperlinkcolor" val="tx"/>
                    </a:ext>
                  </a:extLst>
                </a:hlinkClick>
              </a:rPr>
              <a:t>spex-bgaorders@honeywell.com</a:t>
            </a:r>
            <a:r>
              <a:rPr lang="en-US" sz="1600">
                <a:solidFill>
                  <a:srgbClr val="0070C0"/>
                </a:solidFill>
              </a:rPr>
              <a:t> </a:t>
            </a:r>
          </a:p>
          <a:p>
            <a:pPr marL="285750" indent="-285750">
              <a:buFont typeface="Arial" panose="020B0604020202020204"/>
              <a:buChar char="•"/>
            </a:pPr>
            <a:r>
              <a:rPr lang="en-US" sz="1600">
                <a:solidFill>
                  <a:srgbClr val="0070C0"/>
                </a:solidFill>
                <a:hlinkClick r:id="rId13">
                  <a:extLst>
                    <a:ext uri="{A12FA001-AC4F-418D-AE19-62706E023703}">
                      <ahyp:hlinkClr xmlns:ahyp="http://schemas.microsoft.com/office/drawing/2018/hyperlinkcolor" val="tx"/>
                    </a:ext>
                  </a:extLst>
                </a:hlinkClick>
              </a:rPr>
              <a:t>aerospacewarranty@honeywell.com</a:t>
            </a:r>
            <a:r>
              <a:rPr lang="en-US" sz="1600">
                <a:solidFill>
                  <a:srgbClr val="0070C0"/>
                </a:solidFill>
              </a:rPr>
              <a:t> </a:t>
            </a:r>
          </a:p>
          <a:p>
            <a:pPr marL="285750" indent="-285750">
              <a:buFont typeface="Arial" panose="020B0604020202020204"/>
              <a:buChar char="•"/>
            </a:pPr>
            <a:r>
              <a:rPr lang="en-US" sz="1600">
                <a:solidFill>
                  <a:srgbClr val="0070C0"/>
                </a:solidFill>
              </a:rPr>
              <a:t>MSP – multiple email addresses to support customers</a:t>
            </a:r>
          </a:p>
        </p:txBody>
      </p:sp>
    </p:spTree>
    <p:extLst>
      <p:ext uri="{BB962C8B-B14F-4D97-AF65-F5344CB8AC3E}">
        <p14:creationId xmlns:p14="http://schemas.microsoft.com/office/powerpoint/2010/main" val="1115691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C0FA6E97-E47B-33CC-100C-B13B44CBB771}"/>
              </a:ext>
            </a:extLst>
          </p:cNvPr>
          <p:cNvSpPr txBox="1"/>
          <p:nvPr/>
        </p:nvSpPr>
        <p:spPr>
          <a:xfrm>
            <a:off x="1377224" y="4400500"/>
            <a:ext cx="6161302"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black"/>
                </a:solidFill>
                <a:effectLst/>
                <a:uLnTx/>
                <a:uFillTx/>
                <a:latin typeface="Arial"/>
                <a:ea typeface="+mn-ea"/>
                <a:cs typeface="+mn-cs"/>
              </a:rPr>
              <a:t>Product Reliability</a:t>
            </a:r>
            <a:endParaRPr kumimoji="0" lang="en-US" altLang="ko-KR" sz="1400" b="1"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kern="0" dirty="0">
                <a:solidFill>
                  <a:prstClr val="black"/>
                </a:solidFill>
                <a:latin typeface="Arial"/>
                <a:cs typeface="Arial" pitchFamily="34" charset="0"/>
              </a:rPr>
              <a:t>Communicate Fleet Issues &amp; Reliability via Webinars</a:t>
            </a:r>
            <a:endParaRPr lang="en-US" altLang="ko-KR" sz="1200" kern="0">
              <a:solidFill>
                <a:prstClr val="black"/>
              </a:solidFill>
              <a:latin typeface="Aria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kern="0" dirty="0">
                <a:solidFill>
                  <a:prstClr val="black"/>
                </a:solidFill>
                <a:latin typeface="Arial"/>
                <a:cs typeface="Arial" pitchFamily="34" charset="0"/>
              </a:rPr>
              <a:t>RDR4k Mod-31 </a:t>
            </a:r>
            <a:r>
              <a:rPr lang="en-US" altLang="ko-KR" sz="1200" kern="0">
                <a:solidFill>
                  <a:prstClr val="black"/>
                </a:solidFill>
                <a:latin typeface="Arial"/>
                <a:cs typeface="Arial" pitchFamily="34" charset="0"/>
              </a:rPr>
              <a:t>| </a:t>
            </a:r>
            <a:r>
              <a:rPr lang="en-US" altLang="ko-KR" sz="1200" kern="0" dirty="0">
                <a:solidFill>
                  <a:prstClr val="black"/>
                </a:solidFill>
                <a:latin typeface="Arial"/>
                <a:cs typeface="Arial" pitchFamily="34" charset="0"/>
              </a:rPr>
              <a:t>55%+ adoption for all platforms </a:t>
            </a:r>
            <a:r>
              <a:rPr lang="en-US" altLang="ko-KR" sz="1200" kern="0">
                <a:solidFill>
                  <a:prstClr val="black"/>
                </a:solidFill>
                <a:latin typeface="Arial"/>
                <a:cs typeface="Arial" pitchFamily="34" charset="0"/>
              </a:rPr>
              <a:t>| </a:t>
            </a:r>
            <a:r>
              <a:rPr lang="en-US" altLang="ko-KR" sz="1200" kern="0" dirty="0">
                <a:solidFill>
                  <a:prstClr val="black"/>
                </a:solidFill>
                <a:latin typeface="Arial"/>
                <a:cs typeface="Arial" pitchFamily="34" charset="0"/>
              </a:rPr>
              <a:t>MTBUR @ 25.5k </a:t>
            </a:r>
            <a:r>
              <a:rPr lang="en-US" altLang="ko-KR" sz="1200" kern="0" dirty="0">
                <a:solidFill>
                  <a:prstClr val="black"/>
                </a:solidFill>
                <a:latin typeface="Arial"/>
                <a:cs typeface="Arial" pitchFamily="34" charset="0"/>
                <a:sym typeface="Wingdings" panose="05000000000000000000" pitchFamily="2" charset="2"/>
              </a:rPr>
              <a:t></a:t>
            </a:r>
            <a:r>
              <a:rPr lang="en-US" altLang="ko-KR" sz="1200" kern="0" dirty="0">
                <a:solidFill>
                  <a:prstClr val="black"/>
                </a:solidFill>
                <a:latin typeface="Arial"/>
                <a:cs typeface="Arial" pitchFamily="34" charset="0"/>
              </a:rPr>
              <a:t> (was 8k) hours</a:t>
            </a:r>
            <a:endParaRPr lang="en-US" altLang="ko-KR" sz="1200" kern="0">
              <a:solidFill>
                <a:prstClr val="black"/>
              </a:solidFill>
              <a:latin typeface="Arial"/>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kern="0" dirty="0">
                <a:solidFill>
                  <a:prstClr val="black"/>
                </a:solidFill>
                <a:latin typeface="Arial"/>
                <a:cs typeface="Arial" pitchFamily="34" charset="0"/>
              </a:rPr>
              <a:t>Released the AS907 acoustical resonance fix for all models</a:t>
            </a:r>
            <a:endParaRPr lang="ko-KR" altLang="en-US" sz="1200" kern="0" dirty="0">
              <a:solidFill>
                <a:prstClr val="black"/>
              </a:solidFill>
              <a:latin typeface="Arial"/>
              <a:cs typeface="Arial" pitchFamily="34" charset="0"/>
            </a:endParaRPr>
          </a:p>
        </p:txBody>
      </p:sp>
      <p:sp>
        <p:nvSpPr>
          <p:cNvPr id="2" name="Title 1">
            <a:extLst>
              <a:ext uri="{FF2B5EF4-FFF2-40B4-BE49-F238E27FC236}">
                <a16:creationId xmlns:a16="http://schemas.microsoft.com/office/drawing/2014/main" id="{473B4E93-4339-71B9-78A3-46FCA9806E1C}"/>
              </a:ext>
            </a:extLst>
          </p:cNvPr>
          <p:cNvSpPr>
            <a:spLocks noGrp="1"/>
          </p:cNvSpPr>
          <p:nvPr>
            <p:ph type="title"/>
          </p:nvPr>
        </p:nvSpPr>
        <p:spPr/>
        <p:txBody>
          <a:bodyPr/>
          <a:lstStyle/>
          <a:p>
            <a:r>
              <a:rPr lang="en-US"/>
              <a:t>Technical Support Updates </a:t>
            </a:r>
            <a:r>
              <a:rPr lang="en-US">
                <a:solidFill>
                  <a:schemeClr val="bg1">
                    <a:lumMod val="65000"/>
                  </a:schemeClr>
                </a:solidFill>
              </a:rPr>
              <a:t>|</a:t>
            </a:r>
            <a:r>
              <a:rPr lang="en-US"/>
              <a:t> </a:t>
            </a:r>
            <a:r>
              <a:rPr lang="en-US">
                <a:solidFill>
                  <a:srgbClr val="C00000"/>
                </a:solidFill>
              </a:rPr>
              <a:t>Since Q2 GCC</a:t>
            </a:r>
          </a:p>
        </p:txBody>
      </p:sp>
      <p:sp>
        <p:nvSpPr>
          <p:cNvPr id="4" name="Slide Number Placeholder 3">
            <a:extLst>
              <a:ext uri="{FF2B5EF4-FFF2-40B4-BE49-F238E27FC236}">
                <a16:creationId xmlns:a16="http://schemas.microsoft.com/office/drawing/2014/main" id="{395D8D43-5B7F-1A98-F6A3-A375EEB7FA2E}"/>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Times New Roman"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6</a:t>
            </a:fld>
            <a:endParaRPr kumimoji="0" lang="en-US" sz="1000" b="1" i="0" u="none" strike="noStrike" kern="1200" cap="none" spc="0" normalizeH="0" baseline="0" noProof="0">
              <a:ln>
                <a:noFill/>
              </a:ln>
              <a:solidFill>
                <a:srgbClr val="707070"/>
              </a:solidFill>
              <a:effectLst/>
              <a:uLnTx/>
              <a:uFillTx/>
              <a:latin typeface="Times New Roman" pitchFamily="18" charset="0"/>
              <a:ea typeface="+mn-ea"/>
              <a:cs typeface="+mn-cs"/>
            </a:endParaRPr>
          </a:p>
        </p:txBody>
      </p:sp>
      <p:sp>
        <p:nvSpPr>
          <p:cNvPr id="5" name="Text Placeholder 4">
            <a:extLst>
              <a:ext uri="{FF2B5EF4-FFF2-40B4-BE49-F238E27FC236}">
                <a16:creationId xmlns:a16="http://schemas.microsoft.com/office/drawing/2014/main" id="{8768AEE7-DDEA-ABA8-33EB-4856F8AE741F}"/>
              </a:ext>
            </a:extLst>
          </p:cNvPr>
          <p:cNvSpPr>
            <a:spLocks noGrp="1"/>
          </p:cNvSpPr>
          <p:nvPr>
            <p:ph type="body" sz="quarter" idx="16"/>
          </p:nvPr>
        </p:nvSpPr>
        <p:spPr/>
        <p:txBody>
          <a:bodyPr/>
          <a:lstStyle/>
          <a:p>
            <a:r>
              <a:rPr lang="en-US"/>
              <a:t>What other feedback does the committee have on Tech Support?</a:t>
            </a:r>
          </a:p>
        </p:txBody>
      </p:sp>
      <p:sp>
        <p:nvSpPr>
          <p:cNvPr id="12" name="Flowchart: Process 9">
            <a:extLst>
              <a:ext uri="{FF2B5EF4-FFF2-40B4-BE49-F238E27FC236}">
                <a16:creationId xmlns:a16="http://schemas.microsoft.com/office/drawing/2014/main" id="{B5341A77-FA91-4825-D876-0D66A78A3936}"/>
              </a:ext>
            </a:extLst>
          </p:cNvPr>
          <p:cNvSpPr/>
          <p:nvPr/>
        </p:nvSpPr>
        <p:spPr>
          <a:xfrm rot="19958372">
            <a:off x="7741687" y="4379410"/>
            <a:ext cx="3883867" cy="616622"/>
          </a:xfrm>
          <a:prstGeom prst="flowChartProcess">
            <a:avLst/>
          </a:prstGeom>
          <a:gradFill>
            <a:gsLst>
              <a:gs pos="99000">
                <a:schemeClr val="bg1">
                  <a:lumMod val="49000"/>
                </a:schemeClr>
              </a:gs>
              <a:gs pos="0">
                <a:schemeClr val="bg1">
                  <a:lumMod val="95000"/>
                </a:schemeClr>
              </a:gs>
            </a:gsLst>
            <a:lin ang="10800000" scaled="1"/>
          </a:gradFill>
          <a:ln>
            <a:noFill/>
          </a:ln>
          <a:effectLst>
            <a:glow>
              <a:schemeClr val="bg1">
                <a:lumMod val="65000"/>
                <a:alpha val="48000"/>
              </a:schemeClr>
            </a:glow>
            <a:softEdge rad="292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7" name="Group 16">
            <a:extLst>
              <a:ext uri="{FF2B5EF4-FFF2-40B4-BE49-F238E27FC236}">
                <a16:creationId xmlns:a16="http://schemas.microsoft.com/office/drawing/2014/main" id="{76072AE6-1FCA-A1DA-50F1-598A40563CF6}"/>
              </a:ext>
            </a:extLst>
          </p:cNvPr>
          <p:cNvGrpSpPr/>
          <p:nvPr/>
        </p:nvGrpSpPr>
        <p:grpSpPr>
          <a:xfrm>
            <a:off x="9832873" y="1140822"/>
            <a:ext cx="1207911" cy="1207911"/>
            <a:chOff x="1259632" y="1927684"/>
            <a:chExt cx="2005372" cy="2005372"/>
          </a:xfrm>
        </p:grpSpPr>
        <p:sp>
          <p:nvSpPr>
            <p:cNvPr id="8" name="Oval 13">
              <a:extLst>
                <a:ext uri="{FF2B5EF4-FFF2-40B4-BE49-F238E27FC236}">
                  <a16:creationId xmlns:a16="http://schemas.microsoft.com/office/drawing/2014/main" id="{13FB23D0-4E06-10DD-12DA-CAA19B8C9F28}"/>
                </a:ext>
              </a:extLst>
            </p:cNvPr>
            <p:cNvSpPr/>
            <p:nvPr/>
          </p:nvSpPr>
          <p:spPr>
            <a:xfrm>
              <a:off x="1541124" y="2209176"/>
              <a:ext cx="1442389" cy="1442389"/>
            </a:xfrm>
            <a:prstGeom prst="ellipse">
              <a:avLst/>
            </a:prstGeom>
            <a:noFill/>
            <a:ln w="12700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Oval 14">
              <a:extLst>
                <a:ext uri="{FF2B5EF4-FFF2-40B4-BE49-F238E27FC236}">
                  <a16:creationId xmlns:a16="http://schemas.microsoft.com/office/drawing/2014/main" id="{B1A4C56B-51AF-7DD4-FE18-F28057D58141}"/>
                </a:ext>
              </a:extLst>
            </p:cNvPr>
            <p:cNvSpPr/>
            <p:nvPr/>
          </p:nvSpPr>
          <p:spPr>
            <a:xfrm>
              <a:off x="1832924" y="2500976"/>
              <a:ext cx="858789" cy="858789"/>
            </a:xfrm>
            <a:prstGeom prst="ellipse">
              <a:avLst/>
            </a:prstGeom>
            <a:noFill/>
            <a:ln w="1270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Oval 15">
              <a:extLst>
                <a:ext uri="{FF2B5EF4-FFF2-40B4-BE49-F238E27FC236}">
                  <a16:creationId xmlns:a16="http://schemas.microsoft.com/office/drawing/2014/main" id="{B3FCE8B5-5687-CAE6-E672-0B732F7BD790}"/>
                </a:ext>
              </a:extLst>
            </p:cNvPr>
            <p:cNvSpPr/>
            <p:nvPr/>
          </p:nvSpPr>
          <p:spPr>
            <a:xfrm>
              <a:off x="1259632" y="1927684"/>
              <a:ext cx="2005372" cy="2005372"/>
            </a:xfrm>
            <a:prstGeom prst="ellipse">
              <a:avLst/>
            </a:prstGeom>
            <a:noFill/>
            <a:ln w="1270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45" name="Group 44">
            <a:extLst>
              <a:ext uri="{FF2B5EF4-FFF2-40B4-BE49-F238E27FC236}">
                <a16:creationId xmlns:a16="http://schemas.microsoft.com/office/drawing/2014/main" id="{970CFB7C-60A8-A727-235E-3D05375DF101}"/>
              </a:ext>
            </a:extLst>
          </p:cNvPr>
          <p:cNvGrpSpPr/>
          <p:nvPr/>
        </p:nvGrpSpPr>
        <p:grpSpPr>
          <a:xfrm>
            <a:off x="6880705" y="1738750"/>
            <a:ext cx="4189221" cy="3682836"/>
            <a:chOff x="6965857" y="1729124"/>
            <a:chExt cx="4189221" cy="3682836"/>
          </a:xfrm>
        </p:grpSpPr>
        <p:sp>
          <p:nvSpPr>
            <p:cNvPr id="15" name="Up Arrow 3">
              <a:extLst>
                <a:ext uri="{FF2B5EF4-FFF2-40B4-BE49-F238E27FC236}">
                  <a16:creationId xmlns:a16="http://schemas.microsoft.com/office/drawing/2014/main" id="{566F1256-3E21-CF2A-D08D-A31F4471695D}"/>
                </a:ext>
              </a:extLst>
            </p:cNvPr>
            <p:cNvSpPr/>
            <p:nvPr/>
          </p:nvSpPr>
          <p:spPr>
            <a:xfrm>
              <a:off x="9509158" y="1729124"/>
              <a:ext cx="1645920" cy="1328005"/>
            </a:xfrm>
            <a:prstGeom prst="upArrow">
              <a:avLst/>
            </a:prstGeom>
            <a:gradFill flip="none" rotWithShape="1">
              <a:gsLst>
                <a:gs pos="99000">
                  <a:schemeClr val="accent4"/>
                </a:gs>
                <a:gs pos="0">
                  <a:schemeClr val="accent4">
                    <a:lumMod val="86000"/>
                  </a:schemeClr>
                </a:gs>
              </a:gsLst>
              <a:lin ang="16200000" scaled="1"/>
              <a:tileRect/>
            </a:gra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Flowchart: Data 6">
              <a:extLst>
                <a:ext uri="{FF2B5EF4-FFF2-40B4-BE49-F238E27FC236}">
                  <a16:creationId xmlns:a16="http://schemas.microsoft.com/office/drawing/2014/main" id="{586D1897-6E6A-4CF1-E534-D3180DB5EAF5}"/>
                </a:ext>
              </a:extLst>
            </p:cNvPr>
            <p:cNvSpPr/>
            <p:nvPr/>
          </p:nvSpPr>
          <p:spPr>
            <a:xfrm flipH="1">
              <a:off x="9369385" y="2859212"/>
              <a:ext cx="1097280" cy="14752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2315 h 12315"/>
                <a:gd name="connsiteX1" fmla="*/ 2000 w 10000"/>
                <a:gd name="connsiteY1" fmla="*/ 0 h 12315"/>
                <a:gd name="connsiteX2" fmla="*/ 10000 w 10000"/>
                <a:gd name="connsiteY2" fmla="*/ 2315 h 12315"/>
                <a:gd name="connsiteX3" fmla="*/ 8000 w 10000"/>
                <a:gd name="connsiteY3" fmla="*/ 12315 h 12315"/>
                <a:gd name="connsiteX4" fmla="*/ 0 w 10000"/>
                <a:gd name="connsiteY4" fmla="*/ 12315 h 12315"/>
                <a:gd name="connsiteX0" fmla="*/ 0 w 10000"/>
                <a:gd name="connsiteY0" fmla="*/ 16614 h 16614"/>
                <a:gd name="connsiteX1" fmla="*/ 4728 w 10000"/>
                <a:gd name="connsiteY1" fmla="*/ 0 h 16614"/>
                <a:gd name="connsiteX2" fmla="*/ 10000 w 10000"/>
                <a:gd name="connsiteY2" fmla="*/ 6614 h 16614"/>
                <a:gd name="connsiteX3" fmla="*/ 8000 w 10000"/>
                <a:gd name="connsiteY3" fmla="*/ 16614 h 16614"/>
                <a:gd name="connsiteX4" fmla="*/ 0 w 10000"/>
                <a:gd name="connsiteY4" fmla="*/ 16614 h 16614"/>
                <a:gd name="connsiteX0" fmla="*/ 0 w 8016"/>
                <a:gd name="connsiteY0" fmla="*/ 5370 h 16614"/>
                <a:gd name="connsiteX1" fmla="*/ 2744 w 8016"/>
                <a:gd name="connsiteY1" fmla="*/ 0 h 16614"/>
                <a:gd name="connsiteX2" fmla="*/ 8016 w 8016"/>
                <a:gd name="connsiteY2" fmla="*/ 6614 h 16614"/>
                <a:gd name="connsiteX3" fmla="*/ 6016 w 8016"/>
                <a:gd name="connsiteY3" fmla="*/ 16614 h 16614"/>
                <a:gd name="connsiteX4" fmla="*/ 0 w 8016"/>
                <a:gd name="connsiteY4" fmla="*/ 5370 h 16614"/>
                <a:gd name="connsiteX0" fmla="*/ 0 w 9175"/>
                <a:gd name="connsiteY0" fmla="*/ 3431 h 10199"/>
                <a:gd name="connsiteX1" fmla="*/ 3423 w 9175"/>
                <a:gd name="connsiteY1" fmla="*/ 199 h 10199"/>
                <a:gd name="connsiteX2" fmla="*/ 9175 w 9175"/>
                <a:gd name="connsiteY2" fmla="*/ 0 h 10199"/>
                <a:gd name="connsiteX3" fmla="*/ 7505 w 9175"/>
                <a:gd name="connsiteY3" fmla="*/ 10199 h 10199"/>
                <a:gd name="connsiteX4" fmla="*/ 0 w 9175"/>
                <a:gd name="connsiteY4" fmla="*/ 3431 h 10199"/>
                <a:gd name="connsiteX0" fmla="*/ 0 w 10000"/>
                <a:gd name="connsiteY0" fmla="*/ 3364 h 3364"/>
                <a:gd name="connsiteX1" fmla="*/ 3731 w 10000"/>
                <a:gd name="connsiteY1" fmla="*/ 195 h 3364"/>
                <a:gd name="connsiteX2" fmla="*/ 10000 w 10000"/>
                <a:gd name="connsiteY2" fmla="*/ 0 h 3364"/>
                <a:gd name="connsiteX3" fmla="*/ 6831 w 10000"/>
                <a:gd name="connsiteY3" fmla="*/ 3169 h 3364"/>
                <a:gd name="connsiteX4" fmla="*/ 0 w 10000"/>
                <a:gd name="connsiteY4" fmla="*/ 3364 h 3364"/>
                <a:gd name="connsiteX0" fmla="*/ 0 w 10000"/>
                <a:gd name="connsiteY0" fmla="*/ 11741 h 11741"/>
                <a:gd name="connsiteX1" fmla="*/ 4068 w 10000"/>
                <a:gd name="connsiteY1" fmla="*/ 0 h 11741"/>
                <a:gd name="connsiteX2" fmla="*/ 10000 w 10000"/>
                <a:gd name="connsiteY2" fmla="*/ 1741 h 11741"/>
                <a:gd name="connsiteX3" fmla="*/ 6831 w 10000"/>
                <a:gd name="connsiteY3" fmla="*/ 11161 h 11741"/>
                <a:gd name="connsiteX4" fmla="*/ 0 w 10000"/>
                <a:gd name="connsiteY4" fmla="*/ 11741 h 11741"/>
                <a:gd name="connsiteX0" fmla="*/ 0 w 10000"/>
                <a:gd name="connsiteY0" fmla="*/ 10000 h 10000"/>
                <a:gd name="connsiteX1" fmla="*/ 4068 w 10000"/>
                <a:gd name="connsiteY1" fmla="*/ 580 h 10000"/>
                <a:gd name="connsiteX2" fmla="*/ 10000 w 10000"/>
                <a:gd name="connsiteY2" fmla="*/ 0 h 10000"/>
                <a:gd name="connsiteX3" fmla="*/ 6831 w 10000"/>
                <a:gd name="connsiteY3" fmla="*/ 9420 h 10000"/>
                <a:gd name="connsiteX4" fmla="*/ 0 w 10000"/>
                <a:gd name="connsiteY4" fmla="*/ 10000 h 10000"/>
                <a:gd name="connsiteX0" fmla="*/ 0 w 9830"/>
                <a:gd name="connsiteY0" fmla="*/ 8685 h 9420"/>
                <a:gd name="connsiteX1" fmla="*/ 3898 w 9830"/>
                <a:gd name="connsiteY1" fmla="*/ 580 h 9420"/>
                <a:gd name="connsiteX2" fmla="*/ 9830 w 9830"/>
                <a:gd name="connsiteY2" fmla="*/ 0 h 9420"/>
                <a:gd name="connsiteX3" fmla="*/ 6661 w 9830"/>
                <a:gd name="connsiteY3" fmla="*/ 9420 h 9420"/>
                <a:gd name="connsiteX4" fmla="*/ 0 w 9830"/>
                <a:gd name="connsiteY4" fmla="*/ 8685 h 9420"/>
                <a:gd name="connsiteX0" fmla="*/ 0 w 10000"/>
                <a:gd name="connsiteY0" fmla="*/ 9220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220 h 10000"/>
                <a:gd name="connsiteX0" fmla="*/ 0 w 10000"/>
                <a:gd name="connsiteY0" fmla="*/ 9499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499 h 10000"/>
                <a:gd name="connsiteX0" fmla="*/ 0 w 10000"/>
                <a:gd name="connsiteY0" fmla="*/ 9499 h 10000"/>
                <a:gd name="connsiteX1" fmla="*/ 4601 w 10000"/>
                <a:gd name="connsiteY1" fmla="*/ 58 h 10000"/>
                <a:gd name="connsiteX2" fmla="*/ 10000 w 10000"/>
                <a:gd name="connsiteY2" fmla="*/ 0 h 10000"/>
                <a:gd name="connsiteX3" fmla="*/ 6776 w 10000"/>
                <a:gd name="connsiteY3" fmla="*/ 10000 h 10000"/>
                <a:gd name="connsiteX4" fmla="*/ 0 w 10000"/>
                <a:gd name="connsiteY4" fmla="*/ 94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499"/>
                  </a:moveTo>
                  <a:lnTo>
                    <a:pt x="4601" y="58"/>
                  </a:lnTo>
                  <a:lnTo>
                    <a:pt x="10000" y="0"/>
                  </a:lnTo>
                  <a:lnTo>
                    <a:pt x="6776" y="10000"/>
                  </a:lnTo>
                  <a:cubicBezTo>
                    <a:pt x="4517" y="9740"/>
                    <a:pt x="2403" y="9480"/>
                    <a:pt x="0" y="9499"/>
                  </a:cubicBezTo>
                  <a:close/>
                </a:path>
              </a:pathLst>
            </a:custGeom>
            <a:gradFill>
              <a:gsLst>
                <a:gs pos="99000">
                  <a:schemeClr val="accent4">
                    <a:lumMod val="48000"/>
                  </a:schemeClr>
                </a:gs>
                <a:gs pos="0">
                  <a:schemeClr val="accent4">
                    <a:lumMod val="9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8">
              <a:extLst>
                <a:ext uri="{FF2B5EF4-FFF2-40B4-BE49-F238E27FC236}">
                  <a16:creationId xmlns:a16="http://schemas.microsoft.com/office/drawing/2014/main" id="{9DD312D7-A2A8-4385-0E11-A864DA74AB31}"/>
                </a:ext>
              </a:extLst>
            </p:cNvPr>
            <p:cNvSpPr/>
            <p:nvPr/>
          </p:nvSpPr>
          <p:spPr>
            <a:xfrm>
              <a:off x="9140139" y="2813303"/>
              <a:ext cx="822960" cy="1005840"/>
            </a:xfrm>
            <a:prstGeom prst="rect">
              <a:avLst/>
            </a:prstGeom>
            <a:gradFill flip="none" rotWithShape="1">
              <a:gsLst>
                <a:gs pos="99000">
                  <a:schemeClr val="accent4">
                    <a:lumMod val="62000"/>
                  </a:schemeClr>
                </a:gs>
                <a:gs pos="44000">
                  <a:schemeClr val="accent4">
                    <a:lumMod val="80000"/>
                  </a:schemeClr>
                </a:gs>
              </a:gsLst>
              <a:lin ang="5400000" scaled="1"/>
              <a:tileRect/>
            </a:gra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Flowchart: Data 6">
              <a:extLst>
                <a:ext uri="{FF2B5EF4-FFF2-40B4-BE49-F238E27FC236}">
                  <a16:creationId xmlns:a16="http://schemas.microsoft.com/office/drawing/2014/main" id="{F8878B22-92F6-E4BD-D2BE-200496C09C2D}"/>
                </a:ext>
              </a:extLst>
            </p:cNvPr>
            <p:cNvSpPr/>
            <p:nvPr/>
          </p:nvSpPr>
          <p:spPr>
            <a:xfrm flipH="1">
              <a:off x="8639093" y="3618149"/>
              <a:ext cx="1097280" cy="14752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2315 h 12315"/>
                <a:gd name="connsiteX1" fmla="*/ 2000 w 10000"/>
                <a:gd name="connsiteY1" fmla="*/ 0 h 12315"/>
                <a:gd name="connsiteX2" fmla="*/ 10000 w 10000"/>
                <a:gd name="connsiteY2" fmla="*/ 2315 h 12315"/>
                <a:gd name="connsiteX3" fmla="*/ 8000 w 10000"/>
                <a:gd name="connsiteY3" fmla="*/ 12315 h 12315"/>
                <a:gd name="connsiteX4" fmla="*/ 0 w 10000"/>
                <a:gd name="connsiteY4" fmla="*/ 12315 h 12315"/>
                <a:gd name="connsiteX0" fmla="*/ 0 w 10000"/>
                <a:gd name="connsiteY0" fmla="*/ 16614 h 16614"/>
                <a:gd name="connsiteX1" fmla="*/ 4728 w 10000"/>
                <a:gd name="connsiteY1" fmla="*/ 0 h 16614"/>
                <a:gd name="connsiteX2" fmla="*/ 10000 w 10000"/>
                <a:gd name="connsiteY2" fmla="*/ 6614 h 16614"/>
                <a:gd name="connsiteX3" fmla="*/ 8000 w 10000"/>
                <a:gd name="connsiteY3" fmla="*/ 16614 h 16614"/>
                <a:gd name="connsiteX4" fmla="*/ 0 w 10000"/>
                <a:gd name="connsiteY4" fmla="*/ 16614 h 16614"/>
                <a:gd name="connsiteX0" fmla="*/ 0 w 8016"/>
                <a:gd name="connsiteY0" fmla="*/ 5370 h 16614"/>
                <a:gd name="connsiteX1" fmla="*/ 2744 w 8016"/>
                <a:gd name="connsiteY1" fmla="*/ 0 h 16614"/>
                <a:gd name="connsiteX2" fmla="*/ 8016 w 8016"/>
                <a:gd name="connsiteY2" fmla="*/ 6614 h 16614"/>
                <a:gd name="connsiteX3" fmla="*/ 6016 w 8016"/>
                <a:gd name="connsiteY3" fmla="*/ 16614 h 16614"/>
                <a:gd name="connsiteX4" fmla="*/ 0 w 8016"/>
                <a:gd name="connsiteY4" fmla="*/ 5370 h 16614"/>
                <a:gd name="connsiteX0" fmla="*/ 0 w 9175"/>
                <a:gd name="connsiteY0" fmla="*/ 3431 h 10199"/>
                <a:gd name="connsiteX1" fmla="*/ 3423 w 9175"/>
                <a:gd name="connsiteY1" fmla="*/ 199 h 10199"/>
                <a:gd name="connsiteX2" fmla="*/ 9175 w 9175"/>
                <a:gd name="connsiteY2" fmla="*/ 0 h 10199"/>
                <a:gd name="connsiteX3" fmla="*/ 7505 w 9175"/>
                <a:gd name="connsiteY3" fmla="*/ 10199 h 10199"/>
                <a:gd name="connsiteX4" fmla="*/ 0 w 9175"/>
                <a:gd name="connsiteY4" fmla="*/ 3431 h 10199"/>
                <a:gd name="connsiteX0" fmla="*/ 0 w 10000"/>
                <a:gd name="connsiteY0" fmla="*/ 3364 h 3364"/>
                <a:gd name="connsiteX1" fmla="*/ 3731 w 10000"/>
                <a:gd name="connsiteY1" fmla="*/ 195 h 3364"/>
                <a:gd name="connsiteX2" fmla="*/ 10000 w 10000"/>
                <a:gd name="connsiteY2" fmla="*/ 0 h 3364"/>
                <a:gd name="connsiteX3" fmla="*/ 6831 w 10000"/>
                <a:gd name="connsiteY3" fmla="*/ 3169 h 3364"/>
                <a:gd name="connsiteX4" fmla="*/ 0 w 10000"/>
                <a:gd name="connsiteY4" fmla="*/ 3364 h 3364"/>
                <a:gd name="connsiteX0" fmla="*/ 0 w 10000"/>
                <a:gd name="connsiteY0" fmla="*/ 11741 h 11741"/>
                <a:gd name="connsiteX1" fmla="*/ 4068 w 10000"/>
                <a:gd name="connsiteY1" fmla="*/ 0 h 11741"/>
                <a:gd name="connsiteX2" fmla="*/ 10000 w 10000"/>
                <a:gd name="connsiteY2" fmla="*/ 1741 h 11741"/>
                <a:gd name="connsiteX3" fmla="*/ 6831 w 10000"/>
                <a:gd name="connsiteY3" fmla="*/ 11161 h 11741"/>
                <a:gd name="connsiteX4" fmla="*/ 0 w 10000"/>
                <a:gd name="connsiteY4" fmla="*/ 11741 h 11741"/>
                <a:gd name="connsiteX0" fmla="*/ 0 w 10000"/>
                <a:gd name="connsiteY0" fmla="*/ 10000 h 10000"/>
                <a:gd name="connsiteX1" fmla="*/ 4068 w 10000"/>
                <a:gd name="connsiteY1" fmla="*/ 580 h 10000"/>
                <a:gd name="connsiteX2" fmla="*/ 10000 w 10000"/>
                <a:gd name="connsiteY2" fmla="*/ 0 h 10000"/>
                <a:gd name="connsiteX3" fmla="*/ 6831 w 10000"/>
                <a:gd name="connsiteY3" fmla="*/ 9420 h 10000"/>
                <a:gd name="connsiteX4" fmla="*/ 0 w 10000"/>
                <a:gd name="connsiteY4" fmla="*/ 10000 h 10000"/>
                <a:gd name="connsiteX0" fmla="*/ 0 w 9830"/>
                <a:gd name="connsiteY0" fmla="*/ 8685 h 9420"/>
                <a:gd name="connsiteX1" fmla="*/ 3898 w 9830"/>
                <a:gd name="connsiteY1" fmla="*/ 580 h 9420"/>
                <a:gd name="connsiteX2" fmla="*/ 9830 w 9830"/>
                <a:gd name="connsiteY2" fmla="*/ 0 h 9420"/>
                <a:gd name="connsiteX3" fmla="*/ 6661 w 9830"/>
                <a:gd name="connsiteY3" fmla="*/ 9420 h 9420"/>
                <a:gd name="connsiteX4" fmla="*/ 0 w 9830"/>
                <a:gd name="connsiteY4" fmla="*/ 8685 h 9420"/>
                <a:gd name="connsiteX0" fmla="*/ 0 w 10000"/>
                <a:gd name="connsiteY0" fmla="*/ 9220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220 h 10000"/>
                <a:gd name="connsiteX0" fmla="*/ 0 w 10000"/>
                <a:gd name="connsiteY0" fmla="*/ 9499 h 10000"/>
                <a:gd name="connsiteX1" fmla="*/ 3965 w 10000"/>
                <a:gd name="connsiteY1" fmla="*/ 616 h 10000"/>
                <a:gd name="connsiteX2" fmla="*/ 10000 w 10000"/>
                <a:gd name="connsiteY2" fmla="*/ 0 h 10000"/>
                <a:gd name="connsiteX3" fmla="*/ 6776 w 10000"/>
                <a:gd name="connsiteY3" fmla="*/ 10000 h 10000"/>
                <a:gd name="connsiteX4" fmla="*/ 0 w 10000"/>
                <a:gd name="connsiteY4" fmla="*/ 9499 h 10000"/>
                <a:gd name="connsiteX0" fmla="*/ 0 w 10000"/>
                <a:gd name="connsiteY0" fmla="*/ 9499 h 10000"/>
                <a:gd name="connsiteX1" fmla="*/ 4601 w 10000"/>
                <a:gd name="connsiteY1" fmla="*/ 58 h 10000"/>
                <a:gd name="connsiteX2" fmla="*/ 10000 w 10000"/>
                <a:gd name="connsiteY2" fmla="*/ 0 h 10000"/>
                <a:gd name="connsiteX3" fmla="*/ 6776 w 10000"/>
                <a:gd name="connsiteY3" fmla="*/ 10000 h 10000"/>
                <a:gd name="connsiteX4" fmla="*/ 0 w 10000"/>
                <a:gd name="connsiteY4" fmla="*/ 94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499"/>
                  </a:moveTo>
                  <a:lnTo>
                    <a:pt x="4601" y="58"/>
                  </a:lnTo>
                  <a:lnTo>
                    <a:pt x="10000" y="0"/>
                  </a:lnTo>
                  <a:lnTo>
                    <a:pt x="6776" y="10000"/>
                  </a:lnTo>
                  <a:cubicBezTo>
                    <a:pt x="4517" y="9740"/>
                    <a:pt x="2403" y="9480"/>
                    <a:pt x="0" y="9499"/>
                  </a:cubicBezTo>
                  <a:close/>
                </a:path>
              </a:pathLst>
            </a:custGeom>
            <a:gradFill>
              <a:gsLst>
                <a:gs pos="99000">
                  <a:schemeClr val="accent4">
                    <a:lumMod val="48000"/>
                  </a:schemeClr>
                </a:gs>
                <a:gs pos="0">
                  <a:schemeClr val="accent4">
                    <a:lumMod val="9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Rectangle 8">
              <a:extLst>
                <a:ext uri="{FF2B5EF4-FFF2-40B4-BE49-F238E27FC236}">
                  <a16:creationId xmlns:a16="http://schemas.microsoft.com/office/drawing/2014/main" id="{087C52C9-C462-7C97-FA9E-609CE7BD94BD}"/>
                </a:ext>
              </a:extLst>
            </p:cNvPr>
            <p:cNvSpPr/>
            <p:nvPr/>
          </p:nvSpPr>
          <p:spPr>
            <a:xfrm>
              <a:off x="8383550" y="3570161"/>
              <a:ext cx="822960" cy="1005840"/>
            </a:xfrm>
            <a:prstGeom prst="rect">
              <a:avLst/>
            </a:prstGeom>
            <a:gradFill flip="none" rotWithShape="1">
              <a:gsLst>
                <a:gs pos="99000">
                  <a:schemeClr val="accent4">
                    <a:lumMod val="62000"/>
                  </a:schemeClr>
                </a:gs>
                <a:gs pos="44000">
                  <a:schemeClr val="accent4">
                    <a:lumMod val="80000"/>
                  </a:schemeClr>
                </a:gs>
              </a:gsLst>
              <a:lin ang="5400000" scaled="1"/>
              <a:tileRect/>
            </a:gra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Flowchart: Data 6">
              <a:extLst>
                <a:ext uri="{FF2B5EF4-FFF2-40B4-BE49-F238E27FC236}">
                  <a16:creationId xmlns:a16="http://schemas.microsoft.com/office/drawing/2014/main" id="{18157E33-B6AA-124A-5475-79775F023ACF}"/>
                </a:ext>
              </a:extLst>
            </p:cNvPr>
            <p:cNvSpPr/>
            <p:nvPr/>
          </p:nvSpPr>
          <p:spPr>
            <a:xfrm flipH="1">
              <a:off x="7866454" y="4374664"/>
              <a:ext cx="1097280" cy="15660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2315 h 12315"/>
                <a:gd name="connsiteX1" fmla="*/ 2000 w 10000"/>
                <a:gd name="connsiteY1" fmla="*/ 0 h 12315"/>
                <a:gd name="connsiteX2" fmla="*/ 10000 w 10000"/>
                <a:gd name="connsiteY2" fmla="*/ 2315 h 12315"/>
                <a:gd name="connsiteX3" fmla="*/ 8000 w 10000"/>
                <a:gd name="connsiteY3" fmla="*/ 12315 h 12315"/>
                <a:gd name="connsiteX4" fmla="*/ 0 w 10000"/>
                <a:gd name="connsiteY4" fmla="*/ 12315 h 12315"/>
                <a:gd name="connsiteX0" fmla="*/ 0 w 10000"/>
                <a:gd name="connsiteY0" fmla="*/ 16614 h 16614"/>
                <a:gd name="connsiteX1" fmla="*/ 4728 w 10000"/>
                <a:gd name="connsiteY1" fmla="*/ 0 h 16614"/>
                <a:gd name="connsiteX2" fmla="*/ 10000 w 10000"/>
                <a:gd name="connsiteY2" fmla="*/ 6614 h 16614"/>
                <a:gd name="connsiteX3" fmla="*/ 8000 w 10000"/>
                <a:gd name="connsiteY3" fmla="*/ 16614 h 16614"/>
                <a:gd name="connsiteX4" fmla="*/ 0 w 10000"/>
                <a:gd name="connsiteY4" fmla="*/ 16614 h 16614"/>
                <a:gd name="connsiteX0" fmla="*/ 0 w 8016"/>
                <a:gd name="connsiteY0" fmla="*/ 5370 h 16614"/>
                <a:gd name="connsiteX1" fmla="*/ 2744 w 8016"/>
                <a:gd name="connsiteY1" fmla="*/ 0 h 16614"/>
                <a:gd name="connsiteX2" fmla="*/ 8016 w 8016"/>
                <a:gd name="connsiteY2" fmla="*/ 6614 h 16614"/>
                <a:gd name="connsiteX3" fmla="*/ 6016 w 8016"/>
                <a:gd name="connsiteY3" fmla="*/ 16614 h 16614"/>
                <a:gd name="connsiteX4" fmla="*/ 0 w 8016"/>
                <a:gd name="connsiteY4" fmla="*/ 5370 h 16614"/>
                <a:gd name="connsiteX0" fmla="*/ 0 w 9175"/>
                <a:gd name="connsiteY0" fmla="*/ 3431 h 10199"/>
                <a:gd name="connsiteX1" fmla="*/ 3423 w 9175"/>
                <a:gd name="connsiteY1" fmla="*/ 199 h 10199"/>
                <a:gd name="connsiteX2" fmla="*/ 9175 w 9175"/>
                <a:gd name="connsiteY2" fmla="*/ 0 h 10199"/>
                <a:gd name="connsiteX3" fmla="*/ 7505 w 9175"/>
                <a:gd name="connsiteY3" fmla="*/ 10199 h 10199"/>
                <a:gd name="connsiteX4" fmla="*/ 0 w 9175"/>
                <a:gd name="connsiteY4" fmla="*/ 3431 h 10199"/>
                <a:gd name="connsiteX0" fmla="*/ 0 w 10000"/>
                <a:gd name="connsiteY0" fmla="*/ 3364 h 3364"/>
                <a:gd name="connsiteX1" fmla="*/ 3731 w 10000"/>
                <a:gd name="connsiteY1" fmla="*/ 195 h 3364"/>
                <a:gd name="connsiteX2" fmla="*/ 10000 w 10000"/>
                <a:gd name="connsiteY2" fmla="*/ 0 h 3364"/>
                <a:gd name="connsiteX3" fmla="*/ 6831 w 10000"/>
                <a:gd name="connsiteY3" fmla="*/ 3169 h 3364"/>
                <a:gd name="connsiteX4" fmla="*/ 0 w 10000"/>
                <a:gd name="connsiteY4" fmla="*/ 3364 h 3364"/>
                <a:gd name="connsiteX0" fmla="*/ 0 w 10000"/>
                <a:gd name="connsiteY0" fmla="*/ 11741 h 11741"/>
                <a:gd name="connsiteX1" fmla="*/ 4068 w 10000"/>
                <a:gd name="connsiteY1" fmla="*/ 0 h 11741"/>
                <a:gd name="connsiteX2" fmla="*/ 10000 w 10000"/>
                <a:gd name="connsiteY2" fmla="*/ 1741 h 11741"/>
                <a:gd name="connsiteX3" fmla="*/ 6831 w 10000"/>
                <a:gd name="connsiteY3" fmla="*/ 11161 h 11741"/>
                <a:gd name="connsiteX4" fmla="*/ 0 w 10000"/>
                <a:gd name="connsiteY4" fmla="*/ 11741 h 11741"/>
                <a:gd name="connsiteX0" fmla="*/ 0 w 10000"/>
                <a:gd name="connsiteY0" fmla="*/ 10000 h 10000"/>
                <a:gd name="connsiteX1" fmla="*/ 4068 w 10000"/>
                <a:gd name="connsiteY1" fmla="*/ 580 h 10000"/>
                <a:gd name="connsiteX2" fmla="*/ 10000 w 10000"/>
                <a:gd name="connsiteY2" fmla="*/ 0 h 10000"/>
                <a:gd name="connsiteX3" fmla="*/ 6831 w 10000"/>
                <a:gd name="connsiteY3" fmla="*/ 9420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4068" y="580"/>
                  </a:lnTo>
                  <a:lnTo>
                    <a:pt x="10000" y="0"/>
                  </a:lnTo>
                  <a:lnTo>
                    <a:pt x="6831" y="9420"/>
                  </a:lnTo>
                  <a:lnTo>
                    <a:pt x="0" y="10000"/>
                  </a:lnTo>
                  <a:close/>
                </a:path>
              </a:pathLst>
            </a:custGeom>
            <a:gradFill>
              <a:gsLst>
                <a:gs pos="99000">
                  <a:schemeClr val="accent4">
                    <a:lumMod val="17000"/>
                  </a:schemeClr>
                </a:gs>
                <a:gs pos="0">
                  <a:schemeClr val="accent4">
                    <a:lumMod val="78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8">
              <a:extLst>
                <a:ext uri="{FF2B5EF4-FFF2-40B4-BE49-F238E27FC236}">
                  <a16:creationId xmlns:a16="http://schemas.microsoft.com/office/drawing/2014/main" id="{A4437150-38BE-6417-4704-D323FC0F3BBD}"/>
                </a:ext>
              </a:extLst>
            </p:cNvPr>
            <p:cNvSpPr/>
            <p:nvPr/>
          </p:nvSpPr>
          <p:spPr>
            <a:xfrm>
              <a:off x="7644001" y="4333389"/>
              <a:ext cx="822960" cy="1005840"/>
            </a:xfrm>
            <a:prstGeom prst="rect">
              <a:avLst/>
            </a:prstGeom>
            <a:gradFill flip="none" rotWithShape="1">
              <a:gsLst>
                <a:gs pos="99000">
                  <a:schemeClr val="accent4">
                    <a:lumMod val="62000"/>
                  </a:schemeClr>
                </a:gs>
                <a:gs pos="44000">
                  <a:schemeClr val="accent4">
                    <a:lumMod val="80000"/>
                  </a:schemeClr>
                </a:gs>
              </a:gsLst>
              <a:lin ang="5400000" scaled="1"/>
              <a:tileRect/>
            </a:gradFill>
            <a:ln>
              <a:noFill/>
            </a:ln>
            <a:scene3d>
              <a:camera prst="orthographicFront">
                <a:rot lat="20466618" lon="2567695" rev="20598856"/>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4" name="Picture 2" descr="E:\002-KIMS BUSINESS\007-04-1-FIVERR\01-PPT-TEMPLATE\COVER-PSD\05-cut-01.png">
              <a:extLst>
                <a:ext uri="{FF2B5EF4-FFF2-40B4-BE49-F238E27FC236}">
                  <a16:creationId xmlns:a16="http://schemas.microsoft.com/office/drawing/2014/main" id="{AD6CB142-6923-C7D3-90CC-06D87ABB990F}"/>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5857" y="5196004"/>
              <a:ext cx="1851749" cy="21595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4" name="Straight Connector 18">
            <a:extLst>
              <a:ext uri="{FF2B5EF4-FFF2-40B4-BE49-F238E27FC236}">
                <a16:creationId xmlns:a16="http://schemas.microsoft.com/office/drawing/2014/main" id="{F6672263-754C-E608-C519-03C8E300E5E6}"/>
              </a:ext>
            </a:extLst>
          </p:cNvPr>
          <p:cNvCxnSpPr>
            <a:cxnSpLocks/>
          </p:cNvCxnSpPr>
          <p:nvPr/>
        </p:nvCxnSpPr>
        <p:spPr>
          <a:xfrm flipV="1">
            <a:off x="3730214" y="2173282"/>
            <a:ext cx="557784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DFAD558-4F17-3A96-E233-B881C8F334DF}"/>
              </a:ext>
            </a:extLst>
          </p:cNvPr>
          <p:cNvSpPr txBox="1"/>
          <p:nvPr/>
        </p:nvSpPr>
        <p:spPr>
          <a:xfrm>
            <a:off x="3965608" y="1306703"/>
            <a:ext cx="569771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prstClr val="black"/>
                </a:solidFill>
                <a:effectLst/>
                <a:uLnTx/>
                <a:uFillTx/>
                <a:latin typeface="Arial"/>
                <a:ea typeface="+mn-ea"/>
                <a:cs typeface="+mn-cs"/>
              </a:rPr>
              <a:t>Operations | ATS, Tech Pubs, &amp; Ground Support Solutions (G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Arial"/>
                <a:cs typeface="Arial" pitchFamily="34" charset="0"/>
              </a:rPr>
              <a:t>TechGPT maturation | Visibility for cases transferred between HON grou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Arial"/>
                <a:cs typeface="Arial" pitchFamily="34" charset="0"/>
              </a:rPr>
              <a:t>ITEM go-live delayed to Q1 2025 | Scope changed based on Customer feedback</a:t>
            </a:r>
          </a:p>
          <a:p>
            <a:pPr eaLnBrk="1" fontAlgn="auto" hangingPunct="1">
              <a:spcBef>
                <a:spcPts val="0"/>
              </a:spcBef>
              <a:spcAft>
                <a:spcPts val="0"/>
              </a:spcAft>
              <a:defRPr/>
            </a:pPr>
            <a:r>
              <a:rPr lang="en-US" sz="1200" kern="0">
                <a:solidFill>
                  <a:prstClr val="black"/>
                </a:solidFill>
                <a:latin typeface="Arial"/>
                <a:cs typeface="Arial" pitchFamily="34" charset="0"/>
              </a:rPr>
              <a:t>Drive ATS best practices into Tech Pubs &amp; GSS to improve customer support</a:t>
            </a:r>
          </a:p>
        </p:txBody>
      </p:sp>
      <p:sp>
        <p:nvSpPr>
          <p:cNvPr id="28" name="Rectangle 27">
            <a:extLst>
              <a:ext uri="{FF2B5EF4-FFF2-40B4-BE49-F238E27FC236}">
                <a16:creationId xmlns:a16="http://schemas.microsoft.com/office/drawing/2014/main" id="{0340281F-2BF9-2EE1-5FED-8131408E88E2}"/>
              </a:ext>
            </a:extLst>
          </p:cNvPr>
          <p:cNvSpPr/>
          <p:nvPr/>
        </p:nvSpPr>
        <p:spPr>
          <a:xfrm>
            <a:off x="3010049" y="1442832"/>
            <a:ext cx="73152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Freeform 224">
            <a:extLst>
              <a:ext uri="{FF2B5EF4-FFF2-40B4-BE49-F238E27FC236}">
                <a16:creationId xmlns:a16="http://schemas.microsoft.com/office/drawing/2014/main" id="{661FFEAC-7F1A-F612-EBF7-8C153F12F9D2}"/>
              </a:ext>
            </a:extLst>
          </p:cNvPr>
          <p:cNvSpPr>
            <a:spLocks noEditPoints="1"/>
          </p:cNvSpPr>
          <p:nvPr/>
        </p:nvSpPr>
        <p:spPr bwMode="auto">
          <a:xfrm>
            <a:off x="3187282" y="1616986"/>
            <a:ext cx="378399" cy="413862"/>
          </a:xfrm>
          <a:custGeom>
            <a:avLst/>
            <a:gdLst>
              <a:gd name="T0" fmla="*/ 102 w 107"/>
              <a:gd name="T1" fmla="*/ 0 h 106"/>
              <a:gd name="T2" fmla="*/ 106 w 107"/>
              <a:gd name="T3" fmla="*/ 4 h 106"/>
              <a:gd name="T4" fmla="*/ 102 w 107"/>
              <a:gd name="T5" fmla="*/ 41 h 106"/>
              <a:gd name="T6" fmla="*/ 86 w 107"/>
              <a:gd name="T7" fmla="*/ 26 h 106"/>
              <a:gd name="T8" fmla="*/ 43 w 107"/>
              <a:gd name="T9" fmla="*/ 84 h 106"/>
              <a:gd name="T10" fmla="*/ 37 w 107"/>
              <a:gd name="T11" fmla="*/ 98 h 106"/>
              <a:gd name="T12" fmla="*/ 8 w 107"/>
              <a:gd name="T13" fmla="*/ 69 h 106"/>
              <a:gd name="T14" fmla="*/ 22 w 107"/>
              <a:gd name="T15" fmla="*/ 63 h 106"/>
              <a:gd name="T16" fmla="*/ 80 w 107"/>
              <a:gd name="T17" fmla="*/ 20 h 106"/>
              <a:gd name="T18" fmla="*/ 66 w 107"/>
              <a:gd name="T19" fmla="*/ 1 h 106"/>
              <a:gd name="T20" fmla="*/ 32 w 107"/>
              <a:gd name="T21" fmla="*/ 74 h 106"/>
              <a:gd name="T22" fmla="*/ 32 w 107"/>
              <a:gd name="T23" fmla="*/ 74 h 106"/>
              <a:gd name="T24" fmla="*/ 13 w 107"/>
              <a:gd name="T25" fmla="*/ 75 h 106"/>
              <a:gd name="T26" fmla="*/ 10 w 107"/>
              <a:gd name="T27" fmla="*/ 84 h 106"/>
              <a:gd name="T28" fmla="*/ 32 w 107"/>
              <a:gd name="T29" fmla="*/ 93 h 106"/>
              <a:gd name="T30" fmla="*/ 36 w 107"/>
              <a:gd name="T31" fmla="*/ 84 h 106"/>
              <a:gd name="T32" fmla="*/ 32 w 107"/>
              <a:gd name="T33" fmla="*/ 74 h 106"/>
              <a:gd name="T34" fmla="*/ 66 w 107"/>
              <a:gd name="T35" fmla="*/ 103 h 106"/>
              <a:gd name="T36" fmla="*/ 81 w 107"/>
              <a:gd name="T37" fmla="*/ 84 h 106"/>
              <a:gd name="T38" fmla="*/ 67 w 107"/>
              <a:gd name="T39" fmla="*/ 64 h 106"/>
              <a:gd name="T40" fmla="*/ 86 w 107"/>
              <a:gd name="T41" fmla="*/ 78 h 106"/>
              <a:gd name="T42" fmla="*/ 105 w 107"/>
              <a:gd name="T43" fmla="*/ 64 h 106"/>
              <a:gd name="T44" fmla="*/ 91 w 107"/>
              <a:gd name="T45" fmla="*/ 84 h 106"/>
              <a:gd name="T46" fmla="*/ 105 w 107"/>
              <a:gd name="T47" fmla="*/ 103 h 106"/>
              <a:gd name="T48" fmla="*/ 86 w 107"/>
              <a:gd name="T49" fmla="*/ 89 h 106"/>
              <a:gd name="T50" fmla="*/ 8 w 107"/>
              <a:gd name="T51" fmla="*/ 40 h 106"/>
              <a:gd name="T52" fmla="*/ 3 w 107"/>
              <a:gd name="T53" fmla="*/ 35 h 106"/>
              <a:gd name="T54" fmla="*/ 3 w 107"/>
              <a:gd name="T55" fmla="*/ 6 h 106"/>
              <a:gd name="T56" fmla="*/ 8 w 107"/>
              <a:gd name="T57" fmla="*/ 1 h 106"/>
              <a:gd name="T58" fmla="*/ 37 w 107"/>
              <a:gd name="T59" fmla="*/ 1 h 106"/>
              <a:gd name="T60" fmla="*/ 42 w 107"/>
              <a:gd name="T61" fmla="*/ 6 h 106"/>
              <a:gd name="T62" fmla="*/ 42 w 107"/>
              <a:gd name="T63" fmla="*/ 35 h 106"/>
              <a:gd name="T64" fmla="*/ 37 w 107"/>
              <a:gd name="T65" fmla="*/ 40 h 106"/>
              <a:gd name="T66" fmla="*/ 8 w 107"/>
              <a:gd name="T67" fmla="*/ 40 h 106"/>
              <a:gd name="T68" fmla="*/ 78 w 107"/>
              <a:gd name="T69" fmla="*/ 7 h 106"/>
              <a:gd name="T70" fmla="*/ 99 w 107"/>
              <a:gd name="T71" fmla="*/ 2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 h="106">
                <a:moveTo>
                  <a:pt x="69" y="0"/>
                </a:moveTo>
                <a:cubicBezTo>
                  <a:pt x="102" y="0"/>
                  <a:pt x="102" y="0"/>
                  <a:pt x="102" y="0"/>
                </a:cubicBezTo>
                <a:cubicBezTo>
                  <a:pt x="104" y="0"/>
                  <a:pt x="106" y="2"/>
                  <a:pt x="106" y="4"/>
                </a:cubicBezTo>
                <a:cubicBezTo>
                  <a:pt x="106" y="4"/>
                  <a:pt x="106" y="4"/>
                  <a:pt x="106" y="4"/>
                </a:cubicBezTo>
                <a:cubicBezTo>
                  <a:pt x="106" y="37"/>
                  <a:pt x="106" y="37"/>
                  <a:pt x="106" y="37"/>
                </a:cubicBezTo>
                <a:cubicBezTo>
                  <a:pt x="106" y="39"/>
                  <a:pt x="104" y="41"/>
                  <a:pt x="102" y="41"/>
                </a:cubicBezTo>
                <a:cubicBezTo>
                  <a:pt x="101" y="41"/>
                  <a:pt x="100" y="40"/>
                  <a:pt x="100" y="40"/>
                </a:cubicBezTo>
                <a:cubicBezTo>
                  <a:pt x="86" y="26"/>
                  <a:pt x="86" y="26"/>
                  <a:pt x="86" y="26"/>
                </a:cubicBezTo>
                <a:cubicBezTo>
                  <a:pt x="39" y="72"/>
                  <a:pt x="39" y="72"/>
                  <a:pt x="39" y="72"/>
                </a:cubicBezTo>
                <a:cubicBezTo>
                  <a:pt x="42" y="75"/>
                  <a:pt x="43" y="79"/>
                  <a:pt x="43" y="84"/>
                </a:cubicBezTo>
                <a:cubicBezTo>
                  <a:pt x="43" y="89"/>
                  <a:pt x="41" y="94"/>
                  <a:pt x="37" y="98"/>
                </a:cubicBezTo>
                <a:cubicBezTo>
                  <a:pt x="37" y="98"/>
                  <a:pt x="37" y="98"/>
                  <a:pt x="37" y="98"/>
                </a:cubicBezTo>
                <a:cubicBezTo>
                  <a:pt x="29" y="106"/>
                  <a:pt x="16" y="106"/>
                  <a:pt x="8" y="98"/>
                </a:cubicBezTo>
                <a:cubicBezTo>
                  <a:pt x="0" y="90"/>
                  <a:pt x="0" y="77"/>
                  <a:pt x="8" y="69"/>
                </a:cubicBezTo>
                <a:cubicBezTo>
                  <a:pt x="8" y="69"/>
                  <a:pt x="8" y="69"/>
                  <a:pt x="8" y="69"/>
                </a:cubicBezTo>
                <a:cubicBezTo>
                  <a:pt x="12" y="65"/>
                  <a:pt x="17" y="63"/>
                  <a:pt x="22" y="63"/>
                </a:cubicBezTo>
                <a:cubicBezTo>
                  <a:pt x="27" y="63"/>
                  <a:pt x="31" y="64"/>
                  <a:pt x="34" y="67"/>
                </a:cubicBezTo>
                <a:cubicBezTo>
                  <a:pt x="80" y="20"/>
                  <a:pt x="80" y="20"/>
                  <a:pt x="80" y="20"/>
                </a:cubicBezTo>
                <a:cubicBezTo>
                  <a:pt x="66" y="6"/>
                  <a:pt x="66" y="6"/>
                  <a:pt x="66" y="6"/>
                </a:cubicBezTo>
                <a:cubicBezTo>
                  <a:pt x="65" y="5"/>
                  <a:pt x="65" y="3"/>
                  <a:pt x="66" y="1"/>
                </a:cubicBezTo>
                <a:cubicBezTo>
                  <a:pt x="67" y="0"/>
                  <a:pt x="68" y="0"/>
                  <a:pt x="69" y="0"/>
                </a:cubicBezTo>
                <a:close/>
                <a:moveTo>
                  <a:pt x="32" y="74"/>
                </a:moveTo>
                <a:cubicBezTo>
                  <a:pt x="32" y="74"/>
                  <a:pt x="32" y="74"/>
                  <a:pt x="32" y="74"/>
                </a:cubicBezTo>
                <a:cubicBezTo>
                  <a:pt x="32" y="74"/>
                  <a:pt x="32" y="74"/>
                  <a:pt x="32" y="74"/>
                </a:cubicBezTo>
                <a:cubicBezTo>
                  <a:pt x="29" y="72"/>
                  <a:pt x="26" y="71"/>
                  <a:pt x="23" y="71"/>
                </a:cubicBezTo>
                <a:cubicBezTo>
                  <a:pt x="19" y="71"/>
                  <a:pt x="16" y="72"/>
                  <a:pt x="13" y="75"/>
                </a:cubicBezTo>
                <a:cubicBezTo>
                  <a:pt x="13" y="75"/>
                  <a:pt x="13" y="75"/>
                  <a:pt x="13" y="75"/>
                </a:cubicBezTo>
                <a:cubicBezTo>
                  <a:pt x="11" y="77"/>
                  <a:pt x="10" y="80"/>
                  <a:pt x="10" y="84"/>
                </a:cubicBezTo>
                <a:cubicBezTo>
                  <a:pt x="10" y="87"/>
                  <a:pt x="11" y="90"/>
                  <a:pt x="13" y="93"/>
                </a:cubicBezTo>
                <a:cubicBezTo>
                  <a:pt x="18" y="98"/>
                  <a:pt x="27" y="98"/>
                  <a:pt x="32" y="93"/>
                </a:cubicBezTo>
                <a:cubicBezTo>
                  <a:pt x="32" y="93"/>
                  <a:pt x="32" y="93"/>
                  <a:pt x="32" y="93"/>
                </a:cubicBezTo>
                <a:cubicBezTo>
                  <a:pt x="34" y="90"/>
                  <a:pt x="36" y="87"/>
                  <a:pt x="36" y="84"/>
                </a:cubicBezTo>
                <a:cubicBezTo>
                  <a:pt x="36" y="80"/>
                  <a:pt x="34" y="77"/>
                  <a:pt x="32" y="75"/>
                </a:cubicBezTo>
                <a:lnTo>
                  <a:pt x="32" y="74"/>
                </a:lnTo>
                <a:close/>
                <a:moveTo>
                  <a:pt x="72" y="103"/>
                </a:moveTo>
                <a:cubicBezTo>
                  <a:pt x="70" y="104"/>
                  <a:pt x="68" y="104"/>
                  <a:pt x="66" y="103"/>
                </a:cubicBezTo>
                <a:cubicBezTo>
                  <a:pt x="65" y="101"/>
                  <a:pt x="65" y="99"/>
                  <a:pt x="66" y="98"/>
                </a:cubicBezTo>
                <a:cubicBezTo>
                  <a:pt x="81" y="84"/>
                  <a:pt x="81" y="84"/>
                  <a:pt x="81" y="84"/>
                </a:cubicBezTo>
                <a:cubicBezTo>
                  <a:pt x="66" y="69"/>
                  <a:pt x="66" y="69"/>
                  <a:pt x="66" y="69"/>
                </a:cubicBezTo>
                <a:cubicBezTo>
                  <a:pt x="65" y="68"/>
                  <a:pt x="65" y="66"/>
                  <a:pt x="67" y="64"/>
                </a:cubicBezTo>
                <a:cubicBezTo>
                  <a:pt x="68" y="63"/>
                  <a:pt x="70" y="63"/>
                  <a:pt x="72" y="64"/>
                </a:cubicBezTo>
                <a:cubicBezTo>
                  <a:pt x="86" y="78"/>
                  <a:pt x="86" y="78"/>
                  <a:pt x="86" y="78"/>
                </a:cubicBezTo>
                <a:cubicBezTo>
                  <a:pt x="100" y="64"/>
                  <a:pt x="100" y="64"/>
                  <a:pt x="100" y="64"/>
                </a:cubicBezTo>
                <a:cubicBezTo>
                  <a:pt x="101" y="63"/>
                  <a:pt x="104" y="63"/>
                  <a:pt x="105" y="64"/>
                </a:cubicBezTo>
                <a:cubicBezTo>
                  <a:pt x="107" y="66"/>
                  <a:pt x="107" y="68"/>
                  <a:pt x="105" y="69"/>
                </a:cubicBezTo>
                <a:cubicBezTo>
                  <a:pt x="91" y="84"/>
                  <a:pt x="91" y="84"/>
                  <a:pt x="91" y="84"/>
                </a:cubicBezTo>
                <a:cubicBezTo>
                  <a:pt x="105" y="98"/>
                  <a:pt x="105" y="98"/>
                  <a:pt x="105" y="98"/>
                </a:cubicBezTo>
                <a:cubicBezTo>
                  <a:pt x="107" y="99"/>
                  <a:pt x="107" y="101"/>
                  <a:pt x="105" y="103"/>
                </a:cubicBezTo>
                <a:cubicBezTo>
                  <a:pt x="104" y="104"/>
                  <a:pt x="101" y="104"/>
                  <a:pt x="100" y="103"/>
                </a:cubicBezTo>
                <a:cubicBezTo>
                  <a:pt x="86" y="89"/>
                  <a:pt x="86" y="89"/>
                  <a:pt x="86" y="89"/>
                </a:cubicBezTo>
                <a:lnTo>
                  <a:pt x="72" y="103"/>
                </a:lnTo>
                <a:close/>
                <a:moveTo>
                  <a:pt x="8" y="40"/>
                </a:moveTo>
                <a:cubicBezTo>
                  <a:pt x="7" y="41"/>
                  <a:pt x="5" y="41"/>
                  <a:pt x="3" y="40"/>
                </a:cubicBezTo>
                <a:cubicBezTo>
                  <a:pt x="2" y="38"/>
                  <a:pt x="2" y="36"/>
                  <a:pt x="3" y="35"/>
                </a:cubicBezTo>
                <a:cubicBezTo>
                  <a:pt x="17" y="20"/>
                  <a:pt x="17" y="20"/>
                  <a:pt x="17" y="20"/>
                </a:cubicBezTo>
                <a:cubicBezTo>
                  <a:pt x="3" y="6"/>
                  <a:pt x="3" y="6"/>
                  <a:pt x="3" y="6"/>
                </a:cubicBezTo>
                <a:cubicBezTo>
                  <a:pt x="2" y="5"/>
                  <a:pt x="2" y="3"/>
                  <a:pt x="3" y="1"/>
                </a:cubicBezTo>
                <a:cubicBezTo>
                  <a:pt x="5" y="0"/>
                  <a:pt x="7" y="0"/>
                  <a:pt x="8" y="1"/>
                </a:cubicBezTo>
                <a:cubicBezTo>
                  <a:pt x="22" y="15"/>
                  <a:pt x="22" y="15"/>
                  <a:pt x="22" y="15"/>
                </a:cubicBezTo>
                <a:cubicBezTo>
                  <a:pt x="37" y="1"/>
                  <a:pt x="37" y="1"/>
                  <a:pt x="37" y="1"/>
                </a:cubicBezTo>
                <a:cubicBezTo>
                  <a:pt x="38" y="0"/>
                  <a:pt x="40" y="0"/>
                  <a:pt x="42" y="1"/>
                </a:cubicBezTo>
                <a:cubicBezTo>
                  <a:pt x="43" y="3"/>
                  <a:pt x="43" y="5"/>
                  <a:pt x="42" y="6"/>
                </a:cubicBezTo>
                <a:cubicBezTo>
                  <a:pt x="28" y="20"/>
                  <a:pt x="28" y="20"/>
                  <a:pt x="28" y="20"/>
                </a:cubicBezTo>
                <a:cubicBezTo>
                  <a:pt x="42" y="35"/>
                  <a:pt x="42" y="35"/>
                  <a:pt x="42" y="35"/>
                </a:cubicBezTo>
                <a:cubicBezTo>
                  <a:pt x="43" y="36"/>
                  <a:pt x="43" y="38"/>
                  <a:pt x="41" y="40"/>
                </a:cubicBezTo>
                <a:cubicBezTo>
                  <a:pt x="40" y="41"/>
                  <a:pt x="38" y="41"/>
                  <a:pt x="37" y="40"/>
                </a:cubicBezTo>
                <a:cubicBezTo>
                  <a:pt x="22" y="26"/>
                  <a:pt x="22" y="26"/>
                  <a:pt x="22" y="26"/>
                </a:cubicBezTo>
                <a:lnTo>
                  <a:pt x="8" y="40"/>
                </a:lnTo>
                <a:close/>
                <a:moveTo>
                  <a:pt x="99" y="7"/>
                </a:moveTo>
                <a:cubicBezTo>
                  <a:pt x="78" y="7"/>
                  <a:pt x="78" y="7"/>
                  <a:pt x="78" y="7"/>
                </a:cubicBezTo>
                <a:cubicBezTo>
                  <a:pt x="88" y="18"/>
                  <a:pt x="88" y="18"/>
                  <a:pt x="88" y="18"/>
                </a:cubicBezTo>
                <a:cubicBezTo>
                  <a:pt x="99" y="28"/>
                  <a:pt x="99" y="28"/>
                  <a:pt x="99" y="28"/>
                </a:cubicBezTo>
                <a:lnTo>
                  <a:pt x="99"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0" name="Straight Connector 28">
            <a:extLst>
              <a:ext uri="{FF2B5EF4-FFF2-40B4-BE49-F238E27FC236}">
                <a16:creationId xmlns:a16="http://schemas.microsoft.com/office/drawing/2014/main" id="{802FD951-44B4-9E9A-18E5-4FF9C38E582F}"/>
              </a:ext>
            </a:extLst>
          </p:cNvPr>
          <p:cNvCxnSpPr>
            <a:cxnSpLocks/>
          </p:cNvCxnSpPr>
          <p:nvPr/>
        </p:nvCxnSpPr>
        <p:spPr>
          <a:xfrm flipV="1">
            <a:off x="2908301" y="3209592"/>
            <a:ext cx="5577840" cy="0"/>
          </a:xfrm>
          <a:prstGeom prst="line">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464D316-E5F1-9498-3FDA-A6669B905774}"/>
              </a:ext>
            </a:extLst>
          </p:cNvPr>
          <p:cNvSpPr txBox="1"/>
          <p:nvPr/>
        </p:nvSpPr>
        <p:spPr>
          <a:xfrm>
            <a:off x="3068971" y="2486540"/>
            <a:ext cx="5144426"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prstClr val="black"/>
                </a:solidFill>
                <a:effectLst/>
                <a:uLnTx/>
                <a:uFillTx/>
                <a:latin typeface="Arial"/>
                <a:ea typeface="+mn-ea"/>
                <a:cs typeface="+mn-cs"/>
              </a:rPr>
              <a:t>Released </a:t>
            </a:r>
            <a:r>
              <a:rPr kumimoji="0" lang="en-US" altLang="ko-KR" sz="1400" b="1" i="0" u="none" strike="noStrike" kern="1200" cap="none" spc="0" normalizeH="0" baseline="0" noProof="0" dirty="0">
                <a:ln>
                  <a:noFill/>
                </a:ln>
                <a:solidFill>
                  <a:prstClr val="black"/>
                </a:solidFill>
                <a:effectLst/>
                <a:uLnTx/>
                <a:uFillTx/>
                <a:latin typeface="Arial"/>
                <a:ea typeface="+mn-ea"/>
                <a:cs typeface="+mn-cs"/>
              </a:rPr>
              <a:t>4 RNP </a:t>
            </a:r>
            <a:r>
              <a:rPr lang="en-US" altLang="ko-KR" sz="1400" b="1" dirty="0">
                <a:solidFill>
                  <a:prstClr val="black"/>
                </a:solidFill>
                <a:latin typeface="Arial"/>
              </a:rPr>
              <a:t>and 7 FMS Guided Visual </a:t>
            </a:r>
            <a:r>
              <a:rPr kumimoji="0" lang="en-US" altLang="ko-KR" sz="1400" b="1" i="0" u="none" strike="noStrike" kern="1200" cap="none" spc="0" normalizeH="0" baseline="0" noProof="0" dirty="0">
                <a:ln>
                  <a:noFill/>
                </a:ln>
                <a:solidFill>
                  <a:prstClr val="black"/>
                </a:solidFill>
                <a:effectLst/>
                <a:uLnTx/>
                <a:uFillTx/>
                <a:latin typeface="Arial"/>
                <a:ea typeface="+mn-ea"/>
                <a:cs typeface="+mn-cs"/>
              </a:rPr>
              <a:t>Procedures</a:t>
            </a:r>
          </a:p>
          <a:p>
            <a:pPr eaLnBrk="1" fontAlgn="auto" hangingPunct="1">
              <a:spcBef>
                <a:spcPts val="0"/>
              </a:spcBef>
              <a:spcAft>
                <a:spcPts val="0"/>
              </a:spcAft>
              <a:defRPr/>
            </a:pPr>
            <a:r>
              <a:rPr lang="en-US" sz="1200" kern="0" dirty="0">
                <a:solidFill>
                  <a:prstClr val="black"/>
                </a:solidFill>
                <a:latin typeface="Arial"/>
                <a:cs typeface="Arial" pitchFamily="34" charset="0"/>
              </a:rPr>
              <a:t>RNP | Released 5 HON special procedures</a:t>
            </a:r>
          </a:p>
          <a:p>
            <a:pPr eaLnBrk="1" fontAlgn="auto" hangingPunct="1">
              <a:spcBef>
                <a:spcPts val="0"/>
              </a:spcBef>
              <a:spcAft>
                <a:spcPts val="0"/>
              </a:spcAft>
              <a:defRPr/>
            </a:pPr>
            <a:r>
              <a:rPr lang="en-US" altLang="ko-KR" sz="1200" kern="0" dirty="0">
                <a:solidFill>
                  <a:prstClr val="black"/>
                </a:solidFill>
                <a:latin typeface="Arial"/>
                <a:cs typeface="Arial" pitchFamily="34" charset="0"/>
              </a:rPr>
              <a:t>FMS Guided Visuals | Released 15 HON procedures, 10 in work</a:t>
            </a:r>
            <a:endParaRPr lang="ko-KR" altLang="en-US" sz="1200" kern="0" dirty="0">
              <a:solidFill>
                <a:prstClr val="black"/>
              </a:solidFill>
              <a:latin typeface="Arial"/>
              <a:cs typeface="Arial" pitchFamily="34" charset="0"/>
            </a:endParaRPr>
          </a:p>
        </p:txBody>
      </p:sp>
      <p:sp>
        <p:nvSpPr>
          <p:cNvPr id="34" name="Rectangle 32">
            <a:extLst>
              <a:ext uri="{FF2B5EF4-FFF2-40B4-BE49-F238E27FC236}">
                <a16:creationId xmlns:a16="http://schemas.microsoft.com/office/drawing/2014/main" id="{9041919E-0022-AD36-C83D-30A95BCB646E}"/>
              </a:ext>
            </a:extLst>
          </p:cNvPr>
          <p:cNvSpPr/>
          <p:nvPr/>
        </p:nvSpPr>
        <p:spPr>
          <a:xfrm>
            <a:off x="2192205" y="2483861"/>
            <a:ext cx="73152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5" name="Straight Connector 33">
            <a:extLst>
              <a:ext uri="{FF2B5EF4-FFF2-40B4-BE49-F238E27FC236}">
                <a16:creationId xmlns:a16="http://schemas.microsoft.com/office/drawing/2014/main" id="{04567C9C-7594-7881-900D-B35C789F4A5C}"/>
              </a:ext>
            </a:extLst>
          </p:cNvPr>
          <p:cNvCxnSpPr>
            <a:cxnSpLocks/>
          </p:cNvCxnSpPr>
          <p:nvPr/>
        </p:nvCxnSpPr>
        <p:spPr>
          <a:xfrm flipV="1">
            <a:off x="2081483" y="4211388"/>
            <a:ext cx="557784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A50525B-97BF-C550-427D-FB0F673CC47C}"/>
              </a:ext>
            </a:extLst>
          </p:cNvPr>
          <p:cNvSpPr txBox="1"/>
          <p:nvPr/>
        </p:nvSpPr>
        <p:spPr>
          <a:xfrm>
            <a:off x="2219883" y="3509511"/>
            <a:ext cx="5090189"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prstClr val="black"/>
                </a:solidFill>
                <a:effectLst/>
                <a:uLnTx/>
                <a:uFillTx/>
                <a:latin typeface="Arial"/>
                <a:ea typeface="+mn-ea"/>
                <a:cs typeface="+mn-cs"/>
              </a:rPr>
              <a:t>Prioritized 4 TFE731 2</a:t>
            </a:r>
            <a:r>
              <a:rPr kumimoji="0" lang="en-US" altLang="ko-KR" sz="1400" b="1" i="0" u="none" strike="noStrike" kern="1200" cap="none" spc="0" normalizeH="0" baseline="30000" noProof="0">
                <a:ln>
                  <a:noFill/>
                </a:ln>
                <a:solidFill>
                  <a:prstClr val="black"/>
                </a:solidFill>
                <a:effectLst/>
                <a:uLnTx/>
                <a:uFillTx/>
                <a:latin typeface="Arial"/>
                <a:ea typeface="+mn-ea"/>
                <a:cs typeface="+mn-cs"/>
              </a:rPr>
              <a:t>nd</a:t>
            </a:r>
            <a:r>
              <a:rPr kumimoji="0" lang="en-US" altLang="ko-KR" sz="1400" b="1" i="0" u="none" strike="noStrike" kern="1200" cap="none" spc="0" normalizeH="0" baseline="0" noProof="0">
                <a:ln>
                  <a:noFill/>
                </a:ln>
                <a:solidFill>
                  <a:prstClr val="black"/>
                </a:solidFill>
                <a:effectLst/>
                <a:uLnTx/>
                <a:uFillTx/>
                <a:latin typeface="Arial"/>
                <a:ea typeface="+mn-ea"/>
                <a:cs typeface="+mn-cs"/>
              </a:rPr>
              <a:t> generation manual revis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Arial"/>
                <a:cs typeface="Arial" pitchFamily="34" charset="0"/>
              </a:rPr>
              <a:t>IPC 72-03-13 (</a:t>
            </a:r>
            <a:r>
              <a:rPr lang="en-US" sz="1200" kern="0">
                <a:solidFill>
                  <a:srgbClr val="00B050"/>
                </a:solidFill>
                <a:latin typeface="Arial"/>
                <a:cs typeface="Arial" pitchFamily="34" charset="0"/>
                <a:sym typeface="Wingdings" panose="05000000000000000000" pitchFamily="2" charset="2"/>
              </a:rPr>
              <a:t></a:t>
            </a:r>
            <a:r>
              <a:rPr lang="en-US" sz="1200" kern="0">
                <a:solidFill>
                  <a:prstClr val="black"/>
                </a:solidFill>
                <a:latin typeface="Arial"/>
                <a:cs typeface="Arial" pitchFamily="34" charset="0"/>
                <a:sym typeface="Wingdings" panose="05000000000000000000" pitchFamily="2" charset="2"/>
              </a:rPr>
              <a:t>), </a:t>
            </a:r>
            <a:r>
              <a:rPr lang="en-US" sz="1200" kern="0">
                <a:solidFill>
                  <a:prstClr val="black"/>
                </a:solidFill>
                <a:latin typeface="Arial"/>
                <a:cs typeface="Arial" pitchFamily="34" charset="0"/>
              </a:rPr>
              <a:t>LMM 72-03-06 (</a:t>
            </a:r>
            <a:r>
              <a:rPr lang="en-US" sz="1200" kern="0">
                <a:solidFill>
                  <a:srgbClr val="00B050"/>
                </a:solidFill>
                <a:latin typeface="Arial"/>
                <a:cs typeface="Arial" pitchFamily="34" charset="0"/>
                <a:sym typeface="Wingdings" panose="05000000000000000000" pitchFamily="2" charset="2"/>
              </a:rPr>
              <a:t></a:t>
            </a:r>
            <a:r>
              <a:rPr lang="en-US" sz="1200" kern="0">
                <a:solidFill>
                  <a:prstClr val="black"/>
                </a:solidFill>
                <a:latin typeface="Arial"/>
                <a:cs typeface="Arial" pitchFamily="34" charset="0"/>
                <a:sym typeface="Wingdings" panose="05000000000000000000" pitchFamily="2" charset="2"/>
              </a:rPr>
              <a:t>), </a:t>
            </a:r>
            <a:r>
              <a:rPr lang="en-US" sz="1200" kern="0">
                <a:solidFill>
                  <a:prstClr val="black"/>
                </a:solidFill>
                <a:latin typeface="Arial"/>
                <a:cs typeface="Arial" pitchFamily="34" charset="0"/>
              </a:rPr>
              <a:t>RM 72-IR-02, &amp; HMM 72-03-0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solidFill>
                  <a:prstClr val="black"/>
                </a:solidFill>
                <a:latin typeface="Arial"/>
                <a:cs typeface="Arial" pitchFamily="34" charset="0"/>
              </a:rPr>
              <a:t>Addresses 389 of 672 changes to TFE731-20/-40/-50/-60 manuals</a:t>
            </a:r>
          </a:p>
        </p:txBody>
      </p:sp>
      <p:sp>
        <p:nvSpPr>
          <p:cNvPr id="39" name="Rectangle 37">
            <a:extLst>
              <a:ext uri="{FF2B5EF4-FFF2-40B4-BE49-F238E27FC236}">
                <a16:creationId xmlns:a16="http://schemas.microsoft.com/office/drawing/2014/main" id="{8F2369C6-3E77-FB1A-F30B-EA8D2F4B9107}"/>
              </a:ext>
            </a:extLst>
          </p:cNvPr>
          <p:cNvSpPr/>
          <p:nvPr/>
        </p:nvSpPr>
        <p:spPr>
          <a:xfrm>
            <a:off x="1345871" y="3479868"/>
            <a:ext cx="731520" cy="7315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Freeform 210">
            <a:extLst>
              <a:ext uri="{FF2B5EF4-FFF2-40B4-BE49-F238E27FC236}">
                <a16:creationId xmlns:a16="http://schemas.microsoft.com/office/drawing/2014/main" id="{52D42BE7-0A12-DFC3-0A60-A3FA1DE79374}"/>
              </a:ext>
            </a:extLst>
          </p:cNvPr>
          <p:cNvSpPr>
            <a:spLocks noEditPoints="1"/>
          </p:cNvSpPr>
          <p:nvPr/>
        </p:nvSpPr>
        <p:spPr bwMode="auto">
          <a:xfrm>
            <a:off x="1419720" y="3597222"/>
            <a:ext cx="546217" cy="488014"/>
          </a:xfrm>
          <a:custGeom>
            <a:avLst/>
            <a:gdLst>
              <a:gd name="T0" fmla="*/ 320 w 321"/>
              <a:gd name="T1" fmla="*/ 276 h 288"/>
              <a:gd name="T2" fmla="*/ 209 w 321"/>
              <a:gd name="T3" fmla="*/ 86 h 288"/>
              <a:gd name="T4" fmla="*/ 209 w 321"/>
              <a:gd name="T5" fmla="*/ 64 h 288"/>
              <a:gd name="T6" fmla="*/ 265 w 321"/>
              <a:gd name="T7" fmla="*/ 64 h 288"/>
              <a:gd name="T8" fmla="*/ 273 w 321"/>
              <a:gd name="T9" fmla="*/ 56 h 288"/>
              <a:gd name="T10" fmla="*/ 273 w 321"/>
              <a:gd name="T11" fmla="*/ 56 h 288"/>
              <a:gd name="T12" fmla="*/ 273 w 321"/>
              <a:gd name="T13" fmla="*/ 8 h 288"/>
              <a:gd name="T14" fmla="*/ 265 w 321"/>
              <a:gd name="T15" fmla="*/ 0 h 288"/>
              <a:gd name="T16" fmla="*/ 265 w 321"/>
              <a:gd name="T17" fmla="*/ 0 h 288"/>
              <a:gd name="T18" fmla="*/ 201 w 321"/>
              <a:gd name="T19" fmla="*/ 0 h 288"/>
              <a:gd name="T20" fmla="*/ 193 w 321"/>
              <a:gd name="T21" fmla="*/ 8 h 288"/>
              <a:gd name="T22" fmla="*/ 193 w 321"/>
              <a:gd name="T23" fmla="*/ 8 h 288"/>
              <a:gd name="T24" fmla="*/ 193 w 321"/>
              <a:gd name="T25" fmla="*/ 86 h 288"/>
              <a:gd name="T26" fmla="*/ 136 w 321"/>
              <a:gd name="T27" fmla="*/ 171 h 288"/>
              <a:gd name="T28" fmla="*/ 95 w 321"/>
              <a:gd name="T29" fmla="*/ 130 h 288"/>
              <a:gd name="T30" fmla="*/ 83 w 321"/>
              <a:gd name="T31" fmla="*/ 130 h 288"/>
              <a:gd name="T32" fmla="*/ 82 w 321"/>
              <a:gd name="T33" fmla="*/ 132 h 288"/>
              <a:gd name="T34" fmla="*/ 2 w 321"/>
              <a:gd name="T35" fmla="*/ 276 h 288"/>
              <a:gd name="T36" fmla="*/ 5 w 321"/>
              <a:gd name="T37" fmla="*/ 287 h 288"/>
              <a:gd name="T38" fmla="*/ 9 w 321"/>
              <a:gd name="T39" fmla="*/ 288 h 288"/>
              <a:gd name="T40" fmla="*/ 313 w 321"/>
              <a:gd name="T41" fmla="*/ 288 h 288"/>
              <a:gd name="T42" fmla="*/ 321 w 321"/>
              <a:gd name="T43" fmla="*/ 280 h 288"/>
              <a:gd name="T44" fmla="*/ 320 w 321"/>
              <a:gd name="T45" fmla="*/ 276 h 288"/>
              <a:gd name="T46" fmla="*/ 209 w 321"/>
              <a:gd name="T47" fmla="*/ 16 h 288"/>
              <a:gd name="T48" fmla="*/ 257 w 321"/>
              <a:gd name="T49" fmla="*/ 16 h 288"/>
              <a:gd name="T50" fmla="*/ 257 w 321"/>
              <a:gd name="T51" fmla="*/ 48 h 288"/>
              <a:gd name="T52" fmla="*/ 209 w 321"/>
              <a:gd name="T53" fmla="*/ 48 h 288"/>
              <a:gd name="T54" fmla="*/ 209 w 321"/>
              <a:gd name="T55" fmla="*/ 16 h 288"/>
              <a:gd name="T56" fmla="*/ 23 w 321"/>
              <a:gd name="T57" fmla="*/ 272 h 288"/>
              <a:gd name="T58" fmla="*/ 91 w 321"/>
              <a:gd name="T59" fmla="*/ 149 h 288"/>
              <a:gd name="T60" fmla="*/ 131 w 321"/>
              <a:gd name="T61" fmla="*/ 190 h 288"/>
              <a:gd name="T62" fmla="*/ 138 w 321"/>
              <a:gd name="T63" fmla="*/ 192 h 288"/>
              <a:gd name="T64" fmla="*/ 144 w 321"/>
              <a:gd name="T65" fmla="*/ 188 h 288"/>
              <a:gd name="T66" fmla="*/ 201 w 321"/>
              <a:gd name="T67" fmla="*/ 103 h 288"/>
              <a:gd name="T68" fmla="*/ 299 w 321"/>
              <a:gd name="T69" fmla="*/ 272 h 288"/>
              <a:gd name="T70" fmla="*/ 23 w 321"/>
              <a:gd name="T71" fmla="*/ 2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288">
                <a:moveTo>
                  <a:pt x="320" y="276"/>
                </a:moveTo>
                <a:cubicBezTo>
                  <a:pt x="209" y="86"/>
                  <a:pt x="209" y="86"/>
                  <a:pt x="209" y="86"/>
                </a:cubicBezTo>
                <a:cubicBezTo>
                  <a:pt x="209" y="64"/>
                  <a:pt x="209" y="64"/>
                  <a:pt x="209" y="64"/>
                </a:cubicBezTo>
                <a:cubicBezTo>
                  <a:pt x="265" y="64"/>
                  <a:pt x="265" y="64"/>
                  <a:pt x="265" y="64"/>
                </a:cubicBezTo>
                <a:cubicBezTo>
                  <a:pt x="269" y="64"/>
                  <a:pt x="273" y="60"/>
                  <a:pt x="273" y="56"/>
                </a:cubicBezTo>
                <a:cubicBezTo>
                  <a:pt x="273" y="56"/>
                  <a:pt x="273" y="56"/>
                  <a:pt x="273" y="56"/>
                </a:cubicBezTo>
                <a:cubicBezTo>
                  <a:pt x="273" y="8"/>
                  <a:pt x="273" y="8"/>
                  <a:pt x="273" y="8"/>
                </a:cubicBezTo>
                <a:cubicBezTo>
                  <a:pt x="273" y="4"/>
                  <a:pt x="269" y="0"/>
                  <a:pt x="265" y="0"/>
                </a:cubicBezTo>
                <a:cubicBezTo>
                  <a:pt x="265" y="0"/>
                  <a:pt x="265" y="0"/>
                  <a:pt x="265" y="0"/>
                </a:cubicBezTo>
                <a:cubicBezTo>
                  <a:pt x="201" y="0"/>
                  <a:pt x="201" y="0"/>
                  <a:pt x="201" y="0"/>
                </a:cubicBezTo>
                <a:cubicBezTo>
                  <a:pt x="197" y="0"/>
                  <a:pt x="193" y="4"/>
                  <a:pt x="193" y="8"/>
                </a:cubicBezTo>
                <a:cubicBezTo>
                  <a:pt x="193" y="8"/>
                  <a:pt x="193" y="8"/>
                  <a:pt x="193" y="8"/>
                </a:cubicBezTo>
                <a:cubicBezTo>
                  <a:pt x="193" y="86"/>
                  <a:pt x="193" y="86"/>
                  <a:pt x="193" y="86"/>
                </a:cubicBezTo>
                <a:cubicBezTo>
                  <a:pt x="136" y="171"/>
                  <a:pt x="136" y="171"/>
                  <a:pt x="136" y="171"/>
                </a:cubicBezTo>
                <a:cubicBezTo>
                  <a:pt x="95" y="130"/>
                  <a:pt x="95" y="130"/>
                  <a:pt x="95" y="130"/>
                </a:cubicBezTo>
                <a:cubicBezTo>
                  <a:pt x="92" y="127"/>
                  <a:pt x="86" y="127"/>
                  <a:pt x="83" y="130"/>
                </a:cubicBezTo>
                <a:cubicBezTo>
                  <a:pt x="83" y="131"/>
                  <a:pt x="82" y="131"/>
                  <a:pt x="82" y="132"/>
                </a:cubicBezTo>
                <a:cubicBezTo>
                  <a:pt x="2" y="276"/>
                  <a:pt x="2" y="276"/>
                  <a:pt x="2" y="276"/>
                </a:cubicBezTo>
                <a:cubicBezTo>
                  <a:pt x="0" y="280"/>
                  <a:pt x="1" y="285"/>
                  <a:pt x="5" y="287"/>
                </a:cubicBezTo>
                <a:cubicBezTo>
                  <a:pt x="6" y="288"/>
                  <a:pt x="8" y="288"/>
                  <a:pt x="9" y="288"/>
                </a:cubicBezTo>
                <a:cubicBezTo>
                  <a:pt x="313" y="288"/>
                  <a:pt x="313" y="288"/>
                  <a:pt x="313" y="288"/>
                </a:cubicBezTo>
                <a:cubicBezTo>
                  <a:pt x="317" y="288"/>
                  <a:pt x="321" y="284"/>
                  <a:pt x="321" y="280"/>
                </a:cubicBezTo>
                <a:cubicBezTo>
                  <a:pt x="321" y="279"/>
                  <a:pt x="321" y="277"/>
                  <a:pt x="320" y="276"/>
                </a:cubicBezTo>
                <a:close/>
                <a:moveTo>
                  <a:pt x="209" y="16"/>
                </a:moveTo>
                <a:cubicBezTo>
                  <a:pt x="257" y="16"/>
                  <a:pt x="257" y="16"/>
                  <a:pt x="257" y="16"/>
                </a:cubicBezTo>
                <a:cubicBezTo>
                  <a:pt x="257" y="48"/>
                  <a:pt x="257" y="48"/>
                  <a:pt x="257" y="48"/>
                </a:cubicBezTo>
                <a:cubicBezTo>
                  <a:pt x="209" y="48"/>
                  <a:pt x="209" y="48"/>
                  <a:pt x="209" y="48"/>
                </a:cubicBezTo>
                <a:lnTo>
                  <a:pt x="209" y="16"/>
                </a:lnTo>
                <a:close/>
                <a:moveTo>
                  <a:pt x="23" y="272"/>
                </a:moveTo>
                <a:cubicBezTo>
                  <a:pt x="91" y="149"/>
                  <a:pt x="91" y="149"/>
                  <a:pt x="91" y="149"/>
                </a:cubicBezTo>
                <a:cubicBezTo>
                  <a:pt x="131" y="190"/>
                  <a:pt x="131" y="190"/>
                  <a:pt x="131" y="190"/>
                </a:cubicBezTo>
                <a:cubicBezTo>
                  <a:pt x="133" y="191"/>
                  <a:pt x="135" y="192"/>
                  <a:pt x="138" y="192"/>
                </a:cubicBezTo>
                <a:cubicBezTo>
                  <a:pt x="140" y="192"/>
                  <a:pt x="142" y="190"/>
                  <a:pt x="144" y="188"/>
                </a:cubicBezTo>
                <a:cubicBezTo>
                  <a:pt x="201" y="103"/>
                  <a:pt x="201" y="103"/>
                  <a:pt x="201" y="103"/>
                </a:cubicBezTo>
                <a:cubicBezTo>
                  <a:pt x="299" y="272"/>
                  <a:pt x="299" y="272"/>
                  <a:pt x="299" y="272"/>
                </a:cubicBezTo>
                <a:lnTo>
                  <a:pt x="23" y="2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41" name="Group 217">
            <a:extLst>
              <a:ext uri="{FF2B5EF4-FFF2-40B4-BE49-F238E27FC236}">
                <a16:creationId xmlns:a16="http://schemas.microsoft.com/office/drawing/2014/main" id="{E00D36C5-7646-51A7-0D2B-67D074CB0826}"/>
              </a:ext>
            </a:extLst>
          </p:cNvPr>
          <p:cNvGrpSpPr>
            <a:grpSpLocks noChangeAspect="1"/>
          </p:cNvGrpSpPr>
          <p:nvPr/>
        </p:nvGrpSpPr>
        <p:grpSpPr bwMode="auto">
          <a:xfrm>
            <a:off x="2264826" y="2560862"/>
            <a:ext cx="586889" cy="582491"/>
            <a:chOff x="3734" y="1898"/>
            <a:chExt cx="267" cy="265"/>
          </a:xfrm>
          <a:solidFill>
            <a:schemeClr val="bg1"/>
          </a:solidFill>
        </p:grpSpPr>
        <p:sp>
          <p:nvSpPr>
            <p:cNvPr id="42" name="Freeform 218">
              <a:extLst>
                <a:ext uri="{FF2B5EF4-FFF2-40B4-BE49-F238E27FC236}">
                  <a16:creationId xmlns:a16="http://schemas.microsoft.com/office/drawing/2014/main" id="{1523A916-ACEA-4D89-DE2D-27423798F8E9}"/>
                </a:ext>
              </a:extLst>
            </p:cNvPr>
            <p:cNvSpPr>
              <a:spLocks/>
            </p:cNvSpPr>
            <p:nvPr/>
          </p:nvSpPr>
          <p:spPr bwMode="auto">
            <a:xfrm>
              <a:off x="3734" y="1934"/>
              <a:ext cx="223" cy="229"/>
            </a:xfrm>
            <a:custGeom>
              <a:avLst/>
              <a:gdLst>
                <a:gd name="T0" fmla="*/ 300 w 353"/>
                <a:gd name="T1" fmla="*/ 105 h 365"/>
                <a:gd name="T2" fmla="*/ 260 w 353"/>
                <a:gd name="T3" fmla="*/ 300 h 365"/>
                <a:gd name="T4" fmla="*/ 65 w 353"/>
                <a:gd name="T5" fmla="*/ 260 h 365"/>
                <a:gd name="T6" fmla="*/ 105 w 353"/>
                <a:gd name="T7" fmla="*/ 65 h 365"/>
                <a:gd name="T8" fmla="*/ 260 w 353"/>
                <a:gd name="T9" fmla="*/ 65 h 365"/>
                <a:gd name="T10" fmla="*/ 275 w 353"/>
                <a:gd name="T11" fmla="*/ 50 h 365"/>
                <a:gd name="T12" fmla="*/ 51 w 353"/>
                <a:gd name="T13" fmla="*/ 90 h 365"/>
                <a:gd name="T14" fmla="*/ 91 w 353"/>
                <a:gd name="T15" fmla="*/ 314 h 365"/>
                <a:gd name="T16" fmla="*/ 315 w 353"/>
                <a:gd name="T17" fmla="*/ 274 h 365"/>
                <a:gd name="T18" fmla="*/ 315 w 353"/>
                <a:gd name="T19" fmla="*/ 90 h 365"/>
                <a:gd name="T20" fmla="*/ 300 w 353"/>
                <a:gd name="T21" fmla="*/ 10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65">
                  <a:moveTo>
                    <a:pt x="300" y="105"/>
                  </a:moveTo>
                  <a:cubicBezTo>
                    <a:pt x="343" y="170"/>
                    <a:pt x="325" y="257"/>
                    <a:pt x="260" y="300"/>
                  </a:cubicBezTo>
                  <a:cubicBezTo>
                    <a:pt x="195" y="343"/>
                    <a:pt x="108" y="325"/>
                    <a:pt x="65" y="260"/>
                  </a:cubicBezTo>
                  <a:cubicBezTo>
                    <a:pt x="22" y="195"/>
                    <a:pt x="40" y="108"/>
                    <a:pt x="105" y="65"/>
                  </a:cubicBezTo>
                  <a:cubicBezTo>
                    <a:pt x="152" y="34"/>
                    <a:pt x="213" y="34"/>
                    <a:pt x="260" y="65"/>
                  </a:cubicBezTo>
                  <a:cubicBezTo>
                    <a:pt x="275" y="50"/>
                    <a:pt x="275" y="50"/>
                    <a:pt x="275" y="50"/>
                  </a:cubicBezTo>
                  <a:cubicBezTo>
                    <a:pt x="202" y="0"/>
                    <a:pt x="101" y="17"/>
                    <a:pt x="51" y="90"/>
                  </a:cubicBezTo>
                  <a:cubicBezTo>
                    <a:pt x="0" y="163"/>
                    <a:pt x="18" y="264"/>
                    <a:pt x="91" y="314"/>
                  </a:cubicBezTo>
                  <a:cubicBezTo>
                    <a:pt x="163" y="365"/>
                    <a:pt x="264" y="347"/>
                    <a:pt x="315" y="274"/>
                  </a:cubicBezTo>
                  <a:cubicBezTo>
                    <a:pt x="353" y="219"/>
                    <a:pt x="353" y="146"/>
                    <a:pt x="315" y="90"/>
                  </a:cubicBezTo>
                  <a:lnTo>
                    <a:pt x="3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219">
              <a:extLst>
                <a:ext uri="{FF2B5EF4-FFF2-40B4-BE49-F238E27FC236}">
                  <a16:creationId xmlns:a16="http://schemas.microsoft.com/office/drawing/2014/main" id="{5E46F789-6212-DD75-0957-7FE77465D637}"/>
                </a:ext>
              </a:extLst>
            </p:cNvPr>
            <p:cNvSpPr>
              <a:spLocks/>
            </p:cNvSpPr>
            <p:nvPr/>
          </p:nvSpPr>
          <p:spPr bwMode="auto">
            <a:xfrm>
              <a:off x="3777" y="1976"/>
              <a:ext cx="138" cy="145"/>
            </a:xfrm>
            <a:custGeom>
              <a:avLst/>
              <a:gdLst>
                <a:gd name="T0" fmla="*/ 115 w 219"/>
                <a:gd name="T1" fmla="*/ 34 h 229"/>
                <a:gd name="T2" fmla="*/ 148 w 219"/>
                <a:gd name="T3" fmla="*/ 41 h 229"/>
                <a:gd name="T4" fmla="*/ 163 w 219"/>
                <a:gd name="T5" fmla="*/ 26 h 229"/>
                <a:gd name="T6" fmla="*/ 27 w 219"/>
                <a:gd name="T7" fmla="*/ 66 h 229"/>
                <a:gd name="T8" fmla="*/ 67 w 219"/>
                <a:gd name="T9" fmla="*/ 202 h 229"/>
                <a:gd name="T10" fmla="*/ 203 w 219"/>
                <a:gd name="T11" fmla="*/ 162 h 229"/>
                <a:gd name="T12" fmla="*/ 203 w 219"/>
                <a:gd name="T13" fmla="*/ 66 h 229"/>
                <a:gd name="T14" fmla="*/ 188 w 219"/>
                <a:gd name="T15" fmla="*/ 81 h 229"/>
                <a:gd name="T16" fmla="*/ 195 w 219"/>
                <a:gd name="T17" fmla="*/ 114 h 229"/>
                <a:gd name="T18" fmla="*/ 115 w 219"/>
                <a:gd name="T19" fmla="*/ 194 h 229"/>
                <a:gd name="T20" fmla="*/ 35 w 219"/>
                <a:gd name="T21" fmla="*/ 114 h 229"/>
                <a:gd name="T22" fmla="*/ 115 w 219"/>
                <a:gd name="T23" fmla="*/ 3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29">
                  <a:moveTo>
                    <a:pt x="115" y="34"/>
                  </a:moveTo>
                  <a:cubicBezTo>
                    <a:pt x="126" y="34"/>
                    <a:pt x="137" y="37"/>
                    <a:pt x="148" y="41"/>
                  </a:cubicBezTo>
                  <a:cubicBezTo>
                    <a:pt x="163" y="26"/>
                    <a:pt x="163" y="26"/>
                    <a:pt x="163" y="26"/>
                  </a:cubicBezTo>
                  <a:cubicBezTo>
                    <a:pt x="114" y="0"/>
                    <a:pt x="53" y="18"/>
                    <a:pt x="27" y="66"/>
                  </a:cubicBezTo>
                  <a:cubicBezTo>
                    <a:pt x="0" y="115"/>
                    <a:pt x="18" y="176"/>
                    <a:pt x="67" y="202"/>
                  </a:cubicBezTo>
                  <a:cubicBezTo>
                    <a:pt x="115" y="229"/>
                    <a:pt x="176" y="211"/>
                    <a:pt x="203" y="162"/>
                  </a:cubicBezTo>
                  <a:cubicBezTo>
                    <a:pt x="219" y="132"/>
                    <a:pt x="219" y="96"/>
                    <a:pt x="203" y="66"/>
                  </a:cubicBezTo>
                  <a:cubicBezTo>
                    <a:pt x="188" y="81"/>
                    <a:pt x="188" y="81"/>
                    <a:pt x="188" y="81"/>
                  </a:cubicBezTo>
                  <a:cubicBezTo>
                    <a:pt x="192" y="92"/>
                    <a:pt x="195" y="103"/>
                    <a:pt x="195" y="114"/>
                  </a:cubicBezTo>
                  <a:cubicBezTo>
                    <a:pt x="195" y="158"/>
                    <a:pt x="159" y="194"/>
                    <a:pt x="115" y="194"/>
                  </a:cubicBezTo>
                  <a:cubicBezTo>
                    <a:pt x="71" y="194"/>
                    <a:pt x="35" y="158"/>
                    <a:pt x="35" y="114"/>
                  </a:cubicBezTo>
                  <a:cubicBezTo>
                    <a:pt x="35" y="70"/>
                    <a:pt x="71" y="34"/>
                    <a:pt x="115"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220">
              <a:extLst>
                <a:ext uri="{FF2B5EF4-FFF2-40B4-BE49-F238E27FC236}">
                  <a16:creationId xmlns:a16="http://schemas.microsoft.com/office/drawing/2014/main" id="{5CFBF76F-200C-96CB-8612-71B952B59677}"/>
                </a:ext>
              </a:extLst>
            </p:cNvPr>
            <p:cNvSpPr>
              <a:spLocks/>
            </p:cNvSpPr>
            <p:nvPr/>
          </p:nvSpPr>
          <p:spPr bwMode="auto">
            <a:xfrm>
              <a:off x="3845" y="1898"/>
              <a:ext cx="156" cy="155"/>
            </a:xfrm>
            <a:custGeom>
              <a:avLst/>
              <a:gdLst>
                <a:gd name="T0" fmla="*/ 236 w 246"/>
                <a:gd name="T1" fmla="*/ 51 h 246"/>
                <a:gd name="T2" fmla="*/ 213 w 246"/>
                <a:gd name="T3" fmla="*/ 33 h 246"/>
                <a:gd name="T4" fmla="*/ 200 w 246"/>
                <a:gd name="T5" fmla="*/ 18 h 246"/>
                <a:gd name="T6" fmla="*/ 195 w 246"/>
                <a:gd name="T7" fmla="*/ 10 h 246"/>
                <a:gd name="T8" fmla="*/ 188 w 246"/>
                <a:gd name="T9" fmla="*/ 0 h 246"/>
                <a:gd name="T10" fmla="*/ 126 w 246"/>
                <a:gd name="T11" fmla="*/ 62 h 246"/>
                <a:gd name="T12" fmla="*/ 126 w 246"/>
                <a:gd name="T13" fmla="*/ 106 h 246"/>
                <a:gd name="T14" fmla="*/ 0 w 246"/>
                <a:gd name="T15" fmla="*/ 232 h 246"/>
                <a:gd name="T16" fmla="*/ 1 w 246"/>
                <a:gd name="T17" fmla="*/ 245 h 246"/>
                <a:gd name="T18" fmla="*/ 14 w 246"/>
                <a:gd name="T19" fmla="*/ 246 h 246"/>
                <a:gd name="T20" fmla="*/ 140 w 246"/>
                <a:gd name="T21" fmla="*/ 120 h 246"/>
                <a:gd name="T22" fmla="*/ 184 w 246"/>
                <a:gd name="T23" fmla="*/ 120 h 246"/>
                <a:gd name="T24" fmla="*/ 246 w 246"/>
                <a:gd name="T25" fmla="*/ 58 h 246"/>
                <a:gd name="T26" fmla="*/ 236 w 246"/>
                <a:gd name="T27" fmla="*/ 5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 h="246">
                  <a:moveTo>
                    <a:pt x="236" y="51"/>
                  </a:moveTo>
                  <a:cubicBezTo>
                    <a:pt x="228" y="46"/>
                    <a:pt x="220" y="40"/>
                    <a:pt x="213" y="33"/>
                  </a:cubicBezTo>
                  <a:cubicBezTo>
                    <a:pt x="209" y="28"/>
                    <a:pt x="204" y="23"/>
                    <a:pt x="200" y="18"/>
                  </a:cubicBezTo>
                  <a:cubicBezTo>
                    <a:pt x="197" y="13"/>
                    <a:pt x="195" y="10"/>
                    <a:pt x="195" y="10"/>
                  </a:cubicBezTo>
                  <a:cubicBezTo>
                    <a:pt x="188" y="0"/>
                    <a:pt x="188" y="0"/>
                    <a:pt x="188" y="0"/>
                  </a:cubicBezTo>
                  <a:cubicBezTo>
                    <a:pt x="126" y="62"/>
                    <a:pt x="126" y="62"/>
                    <a:pt x="126" y="62"/>
                  </a:cubicBezTo>
                  <a:cubicBezTo>
                    <a:pt x="126" y="106"/>
                    <a:pt x="126" y="106"/>
                    <a:pt x="126" y="106"/>
                  </a:cubicBezTo>
                  <a:cubicBezTo>
                    <a:pt x="0" y="232"/>
                    <a:pt x="0" y="232"/>
                    <a:pt x="0" y="232"/>
                  </a:cubicBezTo>
                  <a:cubicBezTo>
                    <a:pt x="1" y="245"/>
                    <a:pt x="1" y="245"/>
                    <a:pt x="1" y="245"/>
                  </a:cubicBezTo>
                  <a:cubicBezTo>
                    <a:pt x="14" y="246"/>
                    <a:pt x="14" y="246"/>
                    <a:pt x="14" y="246"/>
                  </a:cubicBezTo>
                  <a:cubicBezTo>
                    <a:pt x="140" y="120"/>
                    <a:pt x="140" y="120"/>
                    <a:pt x="140" y="120"/>
                  </a:cubicBezTo>
                  <a:cubicBezTo>
                    <a:pt x="184" y="120"/>
                    <a:pt x="184" y="120"/>
                    <a:pt x="184" y="120"/>
                  </a:cubicBezTo>
                  <a:cubicBezTo>
                    <a:pt x="246" y="58"/>
                    <a:pt x="246" y="58"/>
                    <a:pt x="246" y="58"/>
                  </a:cubicBezTo>
                  <a:lnTo>
                    <a:pt x="2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cxnSp>
        <p:nvCxnSpPr>
          <p:cNvPr id="46" name="Straight Connector 33">
            <a:extLst>
              <a:ext uri="{FF2B5EF4-FFF2-40B4-BE49-F238E27FC236}">
                <a16:creationId xmlns:a16="http://schemas.microsoft.com/office/drawing/2014/main" id="{8163EBA6-6D1C-6ED8-BC29-DF0BF1DC3F81}"/>
              </a:ext>
            </a:extLst>
          </p:cNvPr>
          <p:cNvCxnSpPr>
            <a:cxnSpLocks/>
          </p:cNvCxnSpPr>
          <p:nvPr/>
        </p:nvCxnSpPr>
        <p:spPr>
          <a:xfrm flipV="1">
            <a:off x="1238830" y="5266492"/>
            <a:ext cx="5943600" cy="0"/>
          </a:xfrm>
          <a:prstGeom prst="line">
            <a:avLst/>
          </a:prstGeom>
          <a:ln>
            <a:solidFill>
              <a:srgbClr val="1792E5"/>
            </a:solidFill>
            <a:tailEnd type="oval"/>
          </a:ln>
        </p:spPr>
        <p:style>
          <a:lnRef idx="1">
            <a:schemeClr val="accent1"/>
          </a:lnRef>
          <a:fillRef idx="0">
            <a:schemeClr val="accent1"/>
          </a:fillRef>
          <a:effectRef idx="0">
            <a:schemeClr val="accent1"/>
          </a:effectRef>
          <a:fontRef idx="minor">
            <a:schemeClr val="tx1"/>
          </a:fontRef>
        </p:style>
      </p:cxnSp>
      <p:sp>
        <p:nvSpPr>
          <p:cNvPr id="50" name="Rectangle 37">
            <a:extLst>
              <a:ext uri="{FF2B5EF4-FFF2-40B4-BE49-F238E27FC236}">
                <a16:creationId xmlns:a16="http://schemas.microsoft.com/office/drawing/2014/main" id="{3D924828-F701-EE03-5B0B-C5C855E870F0}"/>
              </a:ext>
            </a:extLst>
          </p:cNvPr>
          <p:cNvSpPr/>
          <p:nvPr/>
        </p:nvSpPr>
        <p:spPr>
          <a:xfrm>
            <a:off x="503218" y="4534972"/>
            <a:ext cx="731520" cy="731520"/>
          </a:xfrm>
          <a:prstGeom prst="rect">
            <a:avLst/>
          </a:prstGeom>
          <a:solidFill>
            <a:srgbClr val="1792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52" name="Group 51">
            <a:extLst>
              <a:ext uri="{FF2B5EF4-FFF2-40B4-BE49-F238E27FC236}">
                <a16:creationId xmlns:a16="http://schemas.microsoft.com/office/drawing/2014/main" id="{B41D646D-E596-C8EF-98FA-D13AA5F35B65}"/>
              </a:ext>
            </a:extLst>
          </p:cNvPr>
          <p:cNvGrpSpPr>
            <a:grpSpLocks noChangeAspect="1"/>
          </p:cNvGrpSpPr>
          <p:nvPr/>
        </p:nvGrpSpPr>
        <p:grpSpPr>
          <a:xfrm>
            <a:off x="675712" y="4601646"/>
            <a:ext cx="365729" cy="548640"/>
            <a:chOff x="10190616" y="4253965"/>
            <a:chExt cx="1263339" cy="1895184"/>
          </a:xfrm>
          <a:solidFill>
            <a:schemeClr val="bg1"/>
          </a:solidFill>
        </p:grpSpPr>
        <p:sp>
          <p:nvSpPr>
            <p:cNvPr id="53" name="Freeform: Shape 52">
              <a:extLst>
                <a:ext uri="{FF2B5EF4-FFF2-40B4-BE49-F238E27FC236}">
                  <a16:creationId xmlns:a16="http://schemas.microsoft.com/office/drawing/2014/main" id="{923D5E79-2FC7-01FA-C213-09BF523B5641}"/>
                </a:ext>
              </a:extLst>
            </p:cNvPr>
            <p:cNvSpPr/>
            <p:nvPr/>
          </p:nvSpPr>
          <p:spPr>
            <a:xfrm>
              <a:off x="10638527" y="5942421"/>
              <a:ext cx="367517" cy="206728"/>
            </a:xfrm>
            <a:custGeom>
              <a:avLst/>
              <a:gdLst>
                <a:gd name="connsiteX0" fmla="*/ 41453 w 367516"/>
                <a:gd name="connsiteY0" fmla="*/ 41453 h 206728"/>
                <a:gd name="connsiteX1" fmla="*/ 190757 w 367516"/>
                <a:gd name="connsiteY1" fmla="*/ 179272 h 206728"/>
                <a:gd name="connsiteX2" fmla="*/ 340061 w 367516"/>
                <a:gd name="connsiteY2" fmla="*/ 41453 h 206728"/>
                <a:gd name="connsiteX3" fmla="*/ 41453 w 367516"/>
                <a:gd name="connsiteY3" fmla="*/ 41453 h 206728"/>
              </a:gdLst>
              <a:ahLst/>
              <a:cxnLst>
                <a:cxn ang="0">
                  <a:pos x="connsiteX0" y="connsiteY0"/>
                </a:cxn>
                <a:cxn ang="0">
                  <a:pos x="connsiteX1" y="connsiteY1"/>
                </a:cxn>
                <a:cxn ang="0">
                  <a:pos x="connsiteX2" y="connsiteY2"/>
                </a:cxn>
                <a:cxn ang="0">
                  <a:pos x="connsiteX3" y="connsiteY3"/>
                </a:cxn>
              </a:cxnLst>
              <a:rect l="l" t="t" r="r" b="b"/>
              <a:pathLst>
                <a:path w="367516" h="206728">
                  <a:moveTo>
                    <a:pt x="41453" y="41453"/>
                  </a:moveTo>
                  <a:cubicBezTo>
                    <a:pt x="48344" y="119551"/>
                    <a:pt x="112660" y="179272"/>
                    <a:pt x="190757" y="179272"/>
                  </a:cubicBezTo>
                  <a:cubicBezTo>
                    <a:pt x="268854" y="179272"/>
                    <a:pt x="333170" y="119551"/>
                    <a:pt x="340061" y="41453"/>
                  </a:cubicBezTo>
                  <a:lnTo>
                    <a:pt x="41453" y="41453"/>
                  </a:lnTo>
                  <a:close/>
                </a:path>
              </a:pathLst>
            </a:custGeom>
            <a:grpFill/>
            <a:ln w="22920"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54" name="Freeform: Shape 53">
              <a:extLst>
                <a:ext uri="{FF2B5EF4-FFF2-40B4-BE49-F238E27FC236}">
                  <a16:creationId xmlns:a16="http://schemas.microsoft.com/office/drawing/2014/main" id="{A16CE121-5C2E-3E6D-BA13-363D498D1734}"/>
                </a:ext>
              </a:extLst>
            </p:cNvPr>
            <p:cNvSpPr/>
            <p:nvPr/>
          </p:nvSpPr>
          <p:spPr>
            <a:xfrm>
              <a:off x="10190616" y="4253965"/>
              <a:ext cx="1263339" cy="1309279"/>
            </a:xfrm>
            <a:custGeom>
              <a:avLst/>
              <a:gdLst>
                <a:gd name="connsiteX0" fmla="*/ 638668 w 1263338"/>
                <a:gd name="connsiteY0" fmla="*/ 41453 h 1309278"/>
                <a:gd name="connsiteX1" fmla="*/ 638668 w 1263338"/>
                <a:gd name="connsiteY1" fmla="*/ 41453 h 1309278"/>
                <a:gd name="connsiteX2" fmla="*/ 638668 w 1263338"/>
                <a:gd name="connsiteY2" fmla="*/ 41453 h 1309278"/>
                <a:gd name="connsiteX3" fmla="*/ 41453 w 1263338"/>
                <a:gd name="connsiteY3" fmla="*/ 631777 h 1309278"/>
                <a:gd name="connsiteX4" fmla="*/ 41453 w 1263338"/>
                <a:gd name="connsiteY4" fmla="*/ 652450 h 1309278"/>
                <a:gd name="connsiteX5" fmla="*/ 82799 w 1263338"/>
                <a:gd name="connsiteY5" fmla="*/ 859178 h 1309278"/>
                <a:gd name="connsiteX6" fmla="*/ 186163 w 1263338"/>
                <a:gd name="connsiteY6" fmla="*/ 1029154 h 1309278"/>
                <a:gd name="connsiteX7" fmla="*/ 326279 w 1263338"/>
                <a:gd name="connsiteY7" fmla="*/ 1256555 h 1309278"/>
                <a:gd name="connsiteX8" fmla="*/ 367624 w 1263338"/>
                <a:gd name="connsiteY8" fmla="*/ 1281822 h 1309278"/>
                <a:gd name="connsiteX9" fmla="*/ 909711 w 1263338"/>
                <a:gd name="connsiteY9" fmla="*/ 1281822 h 1309278"/>
                <a:gd name="connsiteX10" fmla="*/ 951057 w 1263338"/>
                <a:gd name="connsiteY10" fmla="*/ 1256555 h 1309278"/>
                <a:gd name="connsiteX11" fmla="*/ 1091173 w 1263338"/>
                <a:gd name="connsiteY11" fmla="*/ 1029154 h 1309278"/>
                <a:gd name="connsiteX12" fmla="*/ 1194537 w 1263338"/>
                <a:gd name="connsiteY12" fmla="*/ 859178 h 1309278"/>
                <a:gd name="connsiteX13" fmla="*/ 1235883 w 1263338"/>
                <a:gd name="connsiteY13" fmla="*/ 652450 h 1309278"/>
                <a:gd name="connsiteX14" fmla="*/ 1235883 w 1263338"/>
                <a:gd name="connsiteY14" fmla="*/ 631777 h 1309278"/>
                <a:gd name="connsiteX15" fmla="*/ 638668 w 1263338"/>
                <a:gd name="connsiteY15" fmla="*/ 41453 h 1309278"/>
                <a:gd name="connsiteX16" fmla="*/ 1098064 w 1263338"/>
                <a:gd name="connsiteY16" fmla="*/ 650153 h 1309278"/>
                <a:gd name="connsiteX17" fmla="*/ 1065906 w 1263338"/>
                <a:gd name="connsiteY17" fmla="*/ 810941 h 1309278"/>
                <a:gd name="connsiteX18" fmla="*/ 987809 w 1263338"/>
                <a:gd name="connsiteY18" fmla="*/ 937275 h 1309278"/>
                <a:gd name="connsiteX19" fmla="*/ 854584 w 1263338"/>
                <a:gd name="connsiteY19" fmla="*/ 1144003 h 1309278"/>
                <a:gd name="connsiteX20" fmla="*/ 638668 w 1263338"/>
                <a:gd name="connsiteY20" fmla="*/ 1144003 h 1309278"/>
                <a:gd name="connsiteX21" fmla="*/ 425049 w 1263338"/>
                <a:gd name="connsiteY21" fmla="*/ 1144003 h 1309278"/>
                <a:gd name="connsiteX22" fmla="*/ 291824 w 1263338"/>
                <a:gd name="connsiteY22" fmla="*/ 937275 h 1309278"/>
                <a:gd name="connsiteX23" fmla="*/ 213727 w 1263338"/>
                <a:gd name="connsiteY23" fmla="*/ 810941 h 1309278"/>
                <a:gd name="connsiteX24" fmla="*/ 181569 w 1263338"/>
                <a:gd name="connsiteY24" fmla="*/ 650153 h 1309278"/>
                <a:gd name="connsiteX25" fmla="*/ 181569 w 1263338"/>
                <a:gd name="connsiteY25" fmla="*/ 631777 h 1309278"/>
                <a:gd name="connsiteX26" fmla="*/ 640965 w 1263338"/>
                <a:gd name="connsiteY26" fmla="*/ 176975 h 1309278"/>
                <a:gd name="connsiteX27" fmla="*/ 640965 w 1263338"/>
                <a:gd name="connsiteY27" fmla="*/ 176975 h 1309278"/>
                <a:gd name="connsiteX28" fmla="*/ 640965 w 1263338"/>
                <a:gd name="connsiteY28" fmla="*/ 176975 h 1309278"/>
                <a:gd name="connsiteX29" fmla="*/ 640965 w 1263338"/>
                <a:gd name="connsiteY29" fmla="*/ 176975 h 1309278"/>
                <a:gd name="connsiteX30" fmla="*/ 640965 w 1263338"/>
                <a:gd name="connsiteY30" fmla="*/ 176975 h 1309278"/>
                <a:gd name="connsiteX31" fmla="*/ 640965 w 1263338"/>
                <a:gd name="connsiteY31" fmla="*/ 176975 h 1309278"/>
                <a:gd name="connsiteX32" fmla="*/ 640965 w 1263338"/>
                <a:gd name="connsiteY32" fmla="*/ 176975 h 1309278"/>
                <a:gd name="connsiteX33" fmla="*/ 1100361 w 1263338"/>
                <a:gd name="connsiteY33" fmla="*/ 631777 h 1309278"/>
                <a:gd name="connsiteX34" fmla="*/ 1100361 w 1263338"/>
                <a:gd name="connsiteY34" fmla="*/ 650153 h 130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63338" h="1309278">
                  <a:moveTo>
                    <a:pt x="638668" y="41453"/>
                  </a:moveTo>
                  <a:cubicBezTo>
                    <a:pt x="638668" y="41453"/>
                    <a:pt x="638668" y="41453"/>
                    <a:pt x="638668" y="41453"/>
                  </a:cubicBezTo>
                  <a:cubicBezTo>
                    <a:pt x="638668" y="41453"/>
                    <a:pt x="638668" y="41453"/>
                    <a:pt x="638668" y="41453"/>
                  </a:cubicBezTo>
                  <a:cubicBezTo>
                    <a:pt x="312497" y="43750"/>
                    <a:pt x="48344" y="305606"/>
                    <a:pt x="41453" y="631777"/>
                  </a:cubicBezTo>
                  <a:lnTo>
                    <a:pt x="41453" y="652450"/>
                  </a:lnTo>
                  <a:cubicBezTo>
                    <a:pt x="43750" y="723656"/>
                    <a:pt x="57532" y="792566"/>
                    <a:pt x="82799" y="859178"/>
                  </a:cubicBezTo>
                  <a:cubicBezTo>
                    <a:pt x="108066" y="921196"/>
                    <a:pt x="142520" y="978621"/>
                    <a:pt x="186163" y="1029154"/>
                  </a:cubicBezTo>
                  <a:cubicBezTo>
                    <a:pt x="241291" y="1088876"/>
                    <a:pt x="301012" y="1206022"/>
                    <a:pt x="326279" y="1256555"/>
                  </a:cubicBezTo>
                  <a:cubicBezTo>
                    <a:pt x="333170" y="1272634"/>
                    <a:pt x="349249" y="1281822"/>
                    <a:pt x="367624" y="1281822"/>
                  </a:cubicBezTo>
                  <a:lnTo>
                    <a:pt x="909711" y="1281822"/>
                  </a:lnTo>
                  <a:cubicBezTo>
                    <a:pt x="928087" y="1281822"/>
                    <a:pt x="944166" y="1272634"/>
                    <a:pt x="951057" y="1256555"/>
                  </a:cubicBezTo>
                  <a:cubicBezTo>
                    <a:pt x="976324" y="1206022"/>
                    <a:pt x="1036045" y="1088876"/>
                    <a:pt x="1091173" y="1029154"/>
                  </a:cubicBezTo>
                  <a:cubicBezTo>
                    <a:pt x="1134815" y="978621"/>
                    <a:pt x="1171567" y="921196"/>
                    <a:pt x="1194537" y="859178"/>
                  </a:cubicBezTo>
                  <a:cubicBezTo>
                    <a:pt x="1219804" y="792566"/>
                    <a:pt x="1233586" y="723656"/>
                    <a:pt x="1235883" y="652450"/>
                  </a:cubicBezTo>
                  <a:lnTo>
                    <a:pt x="1235883" y="631777"/>
                  </a:lnTo>
                  <a:cubicBezTo>
                    <a:pt x="1228992" y="305606"/>
                    <a:pt x="964839" y="43750"/>
                    <a:pt x="638668" y="41453"/>
                  </a:cubicBezTo>
                  <a:close/>
                  <a:moveTo>
                    <a:pt x="1098064" y="650153"/>
                  </a:moveTo>
                  <a:cubicBezTo>
                    <a:pt x="1095767" y="705280"/>
                    <a:pt x="1084282" y="760408"/>
                    <a:pt x="1065906" y="810941"/>
                  </a:cubicBezTo>
                  <a:cubicBezTo>
                    <a:pt x="1047530" y="856881"/>
                    <a:pt x="1022263" y="900524"/>
                    <a:pt x="987809" y="937275"/>
                  </a:cubicBezTo>
                  <a:cubicBezTo>
                    <a:pt x="934978" y="1001591"/>
                    <a:pt x="889039" y="1070500"/>
                    <a:pt x="854584" y="1144003"/>
                  </a:cubicBezTo>
                  <a:lnTo>
                    <a:pt x="638668" y="1144003"/>
                  </a:lnTo>
                  <a:lnTo>
                    <a:pt x="425049" y="1144003"/>
                  </a:lnTo>
                  <a:cubicBezTo>
                    <a:pt x="388297" y="1070500"/>
                    <a:pt x="342358" y="1001591"/>
                    <a:pt x="291824" y="937275"/>
                  </a:cubicBezTo>
                  <a:cubicBezTo>
                    <a:pt x="259666" y="900524"/>
                    <a:pt x="232103" y="856881"/>
                    <a:pt x="213727" y="810941"/>
                  </a:cubicBezTo>
                  <a:cubicBezTo>
                    <a:pt x="193054" y="760408"/>
                    <a:pt x="183866" y="705280"/>
                    <a:pt x="181569" y="650153"/>
                  </a:cubicBezTo>
                  <a:lnTo>
                    <a:pt x="181569" y="631777"/>
                  </a:lnTo>
                  <a:cubicBezTo>
                    <a:pt x="186163" y="381406"/>
                    <a:pt x="390594" y="179272"/>
                    <a:pt x="640965" y="176975"/>
                  </a:cubicBezTo>
                  <a:lnTo>
                    <a:pt x="640965" y="176975"/>
                  </a:lnTo>
                  <a:lnTo>
                    <a:pt x="640965" y="176975"/>
                  </a:lnTo>
                  <a:cubicBezTo>
                    <a:pt x="640965" y="176975"/>
                    <a:pt x="640965" y="176975"/>
                    <a:pt x="640965" y="176975"/>
                  </a:cubicBezTo>
                  <a:cubicBezTo>
                    <a:pt x="640965" y="176975"/>
                    <a:pt x="640965" y="176975"/>
                    <a:pt x="640965" y="176975"/>
                  </a:cubicBezTo>
                  <a:lnTo>
                    <a:pt x="640965" y="176975"/>
                  </a:lnTo>
                  <a:lnTo>
                    <a:pt x="640965" y="176975"/>
                  </a:lnTo>
                  <a:cubicBezTo>
                    <a:pt x="891336" y="179272"/>
                    <a:pt x="1095767" y="379109"/>
                    <a:pt x="1100361" y="631777"/>
                  </a:cubicBezTo>
                  <a:lnTo>
                    <a:pt x="1100361" y="650153"/>
                  </a:lnTo>
                  <a:close/>
                </a:path>
              </a:pathLst>
            </a:custGeom>
            <a:grpFill/>
            <a:ln w="22920" cap="flat">
              <a:no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55" name="Rectangle 54">
              <a:extLst>
                <a:ext uri="{FF2B5EF4-FFF2-40B4-BE49-F238E27FC236}">
                  <a16:creationId xmlns:a16="http://schemas.microsoft.com/office/drawing/2014/main" id="{083462D5-7578-C3FD-EBDE-0D3ECED57124}"/>
                </a:ext>
              </a:extLst>
            </p:cNvPr>
            <p:cNvSpPr/>
            <p:nvPr/>
          </p:nvSpPr>
          <p:spPr>
            <a:xfrm>
              <a:off x="10602714" y="5628270"/>
              <a:ext cx="439142" cy="1087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black"/>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88D69E8E-E6C9-A8F2-1EB2-06D53BFE736A}"/>
                </a:ext>
              </a:extLst>
            </p:cNvPr>
            <p:cNvSpPr/>
            <p:nvPr/>
          </p:nvSpPr>
          <p:spPr>
            <a:xfrm>
              <a:off x="10638527" y="5802014"/>
              <a:ext cx="367516" cy="1087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2657694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49F62-A41E-4390-BD86-40D0C19C089B}"/>
              </a:ext>
            </a:extLst>
          </p:cNvPr>
          <p:cNvSpPr>
            <a:spLocks noGrp="1"/>
          </p:cNvSpPr>
          <p:nvPr>
            <p:ph type="title"/>
          </p:nvPr>
        </p:nvSpPr>
        <p:spPr/>
        <p:txBody>
          <a:bodyPr/>
          <a:lstStyle/>
          <a:p>
            <a:r>
              <a:rPr lang="en-US" altLang="en-US" dirty="0"/>
              <a:t>Pilatus &amp; APEX </a:t>
            </a:r>
            <a:r>
              <a:rPr lang="en-US" altLang="en-US" dirty="0">
                <a:solidFill>
                  <a:schemeClr val="bg1">
                    <a:lumMod val="75000"/>
                  </a:schemeClr>
                </a:solidFill>
              </a:rPr>
              <a:t>|</a:t>
            </a:r>
            <a:r>
              <a:rPr lang="en-US" altLang="en-US" dirty="0"/>
              <a:t> </a:t>
            </a:r>
            <a:r>
              <a:rPr lang="en-US" altLang="en-US" dirty="0">
                <a:solidFill>
                  <a:schemeClr val="accent1"/>
                </a:solidFill>
              </a:rPr>
              <a:t>GTO Improvement Areas</a:t>
            </a:r>
            <a:endParaRPr lang="en-US" dirty="0"/>
          </a:p>
        </p:txBody>
      </p:sp>
      <p:sp>
        <p:nvSpPr>
          <p:cNvPr id="4" name="Slide Number Placeholder 3">
            <a:extLst>
              <a:ext uri="{FF2B5EF4-FFF2-40B4-BE49-F238E27FC236}">
                <a16:creationId xmlns:a16="http://schemas.microsoft.com/office/drawing/2014/main" id="{F248E389-90A6-497C-ADED-BCEACB82A6DD}"/>
              </a:ext>
            </a:extLst>
          </p:cNvPr>
          <p:cNvSpPr>
            <a:spLocks noGrp="1"/>
          </p:cNvSpPr>
          <p:nvPr>
            <p:ph type="sldNum" sz="quarter" idx="12"/>
          </p:nvPr>
        </p:nvSpPr>
        <p:spPr/>
        <p:txBody>
          <a:bodyPr/>
          <a:lstStyle/>
          <a:p>
            <a:fld id="{7B94EC18-1D2B-4535-B738-0E53AFE26620}" type="slidenum">
              <a:rPr lang="en-US" smtClean="0"/>
              <a:pPr/>
              <a:t>37</a:t>
            </a:fld>
            <a:endParaRPr lang="en-US"/>
          </a:p>
        </p:txBody>
      </p:sp>
      <p:grpSp>
        <p:nvGrpSpPr>
          <p:cNvPr id="44" name="Group 43">
            <a:extLst>
              <a:ext uri="{FF2B5EF4-FFF2-40B4-BE49-F238E27FC236}">
                <a16:creationId xmlns:a16="http://schemas.microsoft.com/office/drawing/2014/main" id="{A512B1E0-E53C-44BE-8F79-FCB2BF41CF74}"/>
              </a:ext>
            </a:extLst>
          </p:cNvPr>
          <p:cNvGrpSpPr/>
          <p:nvPr/>
        </p:nvGrpSpPr>
        <p:grpSpPr>
          <a:xfrm>
            <a:off x="4013181" y="1389441"/>
            <a:ext cx="4166046" cy="4094702"/>
            <a:chOff x="2269726" y="1418075"/>
            <a:chExt cx="4590775" cy="4512155"/>
          </a:xfrm>
        </p:grpSpPr>
        <p:grpSp>
          <p:nvGrpSpPr>
            <p:cNvPr id="88" name="Group 87">
              <a:extLst>
                <a:ext uri="{FF2B5EF4-FFF2-40B4-BE49-F238E27FC236}">
                  <a16:creationId xmlns:a16="http://schemas.microsoft.com/office/drawing/2014/main" id="{9FFD5DA8-95C4-4A37-9562-DE0A7097EBE7}"/>
                </a:ext>
              </a:extLst>
            </p:cNvPr>
            <p:cNvGrpSpPr/>
            <p:nvPr/>
          </p:nvGrpSpPr>
          <p:grpSpPr>
            <a:xfrm>
              <a:off x="2994903" y="2096400"/>
              <a:ext cx="3137846" cy="3150074"/>
              <a:chOff x="2767654" y="1829193"/>
              <a:chExt cx="3627594" cy="3641730"/>
            </a:xfrm>
          </p:grpSpPr>
          <p:sp>
            <p:nvSpPr>
              <p:cNvPr id="123" name="Oval 122">
                <a:extLst>
                  <a:ext uri="{FF2B5EF4-FFF2-40B4-BE49-F238E27FC236}">
                    <a16:creationId xmlns:a16="http://schemas.microsoft.com/office/drawing/2014/main" id="{49EBC4F2-81B1-41BB-9A05-26D799C04486}"/>
                  </a:ext>
                </a:extLst>
              </p:cNvPr>
              <p:cNvSpPr/>
              <p:nvPr/>
            </p:nvSpPr>
            <p:spPr>
              <a:xfrm>
                <a:off x="3491880" y="2564780"/>
                <a:ext cx="2160240" cy="2160240"/>
              </a:xfrm>
              <a:prstGeom prst="ellipse">
                <a:avLst/>
              </a:prstGeom>
              <a:gradFill>
                <a:gsLst>
                  <a:gs pos="0">
                    <a:sysClr val="window" lastClr="FFFFFF"/>
                  </a:gs>
                  <a:gs pos="100000">
                    <a:sysClr val="window" lastClr="FFFFFF">
                      <a:lumMod val="89000"/>
                    </a:sysClr>
                  </a:gs>
                </a:gsLst>
                <a:lin ang="16800000" scaled="0"/>
              </a:gradFill>
              <a:ln w="19050" cap="flat" cmpd="sng" algn="ctr">
                <a:gradFill>
                  <a:gsLst>
                    <a:gs pos="0">
                      <a:sysClr val="window" lastClr="FFFFFF"/>
                    </a:gs>
                    <a:gs pos="50000">
                      <a:sysClr val="window" lastClr="FFFFFF">
                        <a:alpha val="65000"/>
                      </a:sysClr>
                    </a:gs>
                    <a:gs pos="100000">
                      <a:sysClr val="window" lastClr="FFFFFF">
                        <a:alpha val="0"/>
                      </a:sysClr>
                    </a:gs>
                  </a:gsLst>
                  <a:lin ang="7200000" scaled="0"/>
                </a:gradFill>
                <a:prstDash val="solid"/>
                <a:miter lim="800000"/>
              </a:ln>
              <a:effectLst>
                <a:outerShdw blurRad="25400" dist="12700" dir="8100000" algn="tr" rotWithShape="0">
                  <a:prstClr val="black">
                    <a:alpha val="23000"/>
                  </a:prstClr>
                </a:outerShdw>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nvGrpSpPr>
              <p:cNvPr id="124" name="Group 123">
                <a:extLst>
                  <a:ext uri="{FF2B5EF4-FFF2-40B4-BE49-F238E27FC236}">
                    <a16:creationId xmlns:a16="http://schemas.microsoft.com/office/drawing/2014/main" id="{6695BD45-560F-470D-99BD-D28F897BB24E}"/>
                  </a:ext>
                </a:extLst>
              </p:cNvPr>
              <p:cNvGrpSpPr/>
              <p:nvPr/>
            </p:nvGrpSpPr>
            <p:grpSpPr>
              <a:xfrm>
                <a:off x="2827731" y="1829193"/>
                <a:ext cx="1744272" cy="1630399"/>
                <a:chOff x="2827731" y="1829193"/>
                <a:chExt cx="1744272" cy="1630399"/>
              </a:xfrm>
            </p:grpSpPr>
            <p:sp>
              <p:nvSpPr>
                <p:cNvPr id="134" name="Rectangle 15">
                  <a:extLst>
                    <a:ext uri="{FF2B5EF4-FFF2-40B4-BE49-F238E27FC236}">
                      <a16:creationId xmlns:a16="http://schemas.microsoft.com/office/drawing/2014/main" id="{0AFCDC7F-D75B-4289-BE8B-0CA66CAEF85D}"/>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tx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135" name="Rectangle 15">
                  <a:extLst>
                    <a:ext uri="{FF2B5EF4-FFF2-40B4-BE49-F238E27FC236}">
                      <a16:creationId xmlns:a16="http://schemas.microsoft.com/office/drawing/2014/main" id="{792635CF-E519-4377-8D07-DF989D77A240}"/>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rgbClr val="DC202E"/>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grpSp>
            <p:nvGrpSpPr>
              <p:cNvPr id="125" name="Group 124">
                <a:extLst>
                  <a:ext uri="{FF2B5EF4-FFF2-40B4-BE49-F238E27FC236}">
                    <a16:creationId xmlns:a16="http://schemas.microsoft.com/office/drawing/2014/main" id="{C20A27A4-BA73-41B2-863D-6E259D331267}"/>
                  </a:ext>
                </a:extLst>
              </p:cNvPr>
              <p:cNvGrpSpPr/>
              <p:nvPr/>
            </p:nvGrpSpPr>
            <p:grpSpPr>
              <a:xfrm rot="16200000">
                <a:off x="2710718" y="3697649"/>
                <a:ext cx="1744272" cy="1630399"/>
                <a:chOff x="2827731" y="1829193"/>
                <a:chExt cx="1744272" cy="1630399"/>
              </a:xfrm>
            </p:grpSpPr>
            <p:sp>
              <p:nvSpPr>
                <p:cNvPr id="132" name="Rectangle 15">
                  <a:extLst>
                    <a:ext uri="{FF2B5EF4-FFF2-40B4-BE49-F238E27FC236}">
                      <a16:creationId xmlns:a16="http://schemas.microsoft.com/office/drawing/2014/main" id="{86A3DD50-4E05-4760-94D4-5F7387A350F4}"/>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bg1">
                    <a:lumMod val="7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133" name="Rectangle 15">
                  <a:extLst>
                    <a:ext uri="{FF2B5EF4-FFF2-40B4-BE49-F238E27FC236}">
                      <a16:creationId xmlns:a16="http://schemas.microsoft.com/office/drawing/2014/main" id="{20DE019A-678B-4C64-9398-0CE0E04FA705}"/>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bg1">
                    <a:lumMod val="6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grpSp>
            <p:nvGrpSpPr>
              <p:cNvPr id="126" name="Group 125">
                <a:extLst>
                  <a:ext uri="{FF2B5EF4-FFF2-40B4-BE49-F238E27FC236}">
                    <a16:creationId xmlns:a16="http://schemas.microsoft.com/office/drawing/2014/main" id="{30291560-0709-49EF-8415-4E93465EDA9A}"/>
                  </a:ext>
                </a:extLst>
              </p:cNvPr>
              <p:cNvGrpSpPr/>
              <p:nvPr/>
            </p:nvGrpSpPr>
            <p:grpSpPr>
              <a:xfrm rot="10800000">
                <a:off x="4578225" y="3840524"/>
                <a:ext cx="1744272" cy="1630399"/>
                <a:chOff x="2827731" y="1829193"/>
                <a:chExt cx="1744272" cy="1630399"/>
              </a:xfrm>
            </p:grpSpPr>
            <p:sp>
              <p:nvSpPr>
                <p:cNvPr id="130" name="Rectangle 15">
                  <a:extLst>
                    <a:ext uri="{FF2B5EF4-FFF2-40B4-BE49-F238E27FC236}">
                      <a16:creationId xmlns:a16="http://schemas.microsoft.com/office/drawing/2014/main" id="{02CBB346-C3F6-4E97-8618-EE6EF3BBA68D}"/>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tx1">
                    <a:lumMod val="50000"/>
                    <a:lumOff val="50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131" name="Rectangle 15">
                  <a:extLst>
                    <a:ext uri="{FF2B5EF4-FFF2-40B4-BE49-F238E27FC236}">
                      <a16:creationId xmlns:a16="http://schemas.microsoft.com/office/drawing/2014/main" id="{3E563AE6-E727-46D6-93FE-88256974871D}"/>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tx1">
                    <a:lumMod val="65000"/>
                    <a:lumOff val="3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grpSp>
            <p:nvGrpSpPr>
              <p:cNvPr id="127" name="Group 126">
                <a:extLst>
                  <a:ext uri="{FF2B5EF4-FFF2-40B4-BE49-F238E27FC236}">
                    <a16:creationId xmlns:a16="http://schemas.microsoft.com/office/drawing/2014/main" id="{7403D71D-2B1A-481C-B6D7-AB446D326EA0}"/>
                  </a:ext>
                </a:extLst>
              </p:cNvPr>
              <p:cNvGrpSpPr/>
              <p:nvPr/>
            </p:nvGrpSpPr>
            <p:grpSpPr>
              <a:xfrm rot="5400000">
                <a:off x="4707913" y="1953378"/>
                <a:ext cx="1744272" cy="1630399"/>
                <a:chOff x="2827731" y="1829193"/>
                <a:chExt cx="1744272" cy="1630399"/>
              </a:xfrm>
            </p:grpSpPr>
            <p:sp>
              <p:nvSpPr>
                <p:cNvPr id="128" name="Rectangle 15">
                  <a:extLst>
                    <a:ext uri="{FF2B5EF4-FFF2-40B4-BE49-F238E27FC236}">
                      <a16:creationId xmlns:a16="http://schemas.microsoft.com/office/drawing/2014/main" id="{4CAD11DA-9D4B-40A6-ACAA-E5D8DD8DFEA7}"/>
                    </a:ext>
                  </a:extLst>
                </p:cNvPr>
                <p:cNvSpPr/>
                <p:nvPr/>
              </p:nvSpPr>
              <p:spPr>
                <a:xfrm rot="16200000">
                  <a:off x="3658606" y="1845368"/>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tx1">
                    <a:lumMod val="75000"/>
                    <a:lumOff val="2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129" name="Rectangle 15">
                  <a:extLst>
                    <a:ext uri="{FF2B5EF4-FFF2-40B4-BE49-F238E27FC236}">
                      <a16:creationId xmlns:a16="http://schemas.microsoft.com/office/drawing/2014/main" id="{DDE0CDB6-7AA8-47DB-B69D-2B3FC4622E96}"/>
                    </a:ext>
                  </a:extLst>
                </p:cNvPr>
                <p:cNvSpPr/>
                <p:nvPr/>
              </p:nvSpPr>
              <p:spPr>
                <a:xfrm rot="13433242">
                  <a:off x="2827731" y="2562370"/>
                  <a:ext cx="929571" cy="897222"/>
                </a:xfrm>
                <a:custGeom>
                  <a:avLst/>
                  <a:gdLst/>
                  <a:ahLst/>
                  <a:cxnLst/>
                  <a:rect l="l" t="t" r="r" b="b"/>
                  <a:pathLst>
                    <a:path w="929571" h="897222">
                      <a:moveTo>
                        <a:pt x="929571" y="731682"/>
                      </a:moveTo>
                      <a:lnTo>
                        <a:pt x="929571" y="897222"/>
                      </a:lnTo>
                      <a:lnTo>
                        <a:pt x="442770" y="897222"/>
                      </a:lnTo>
                      <a:lnTo>
                        <a:pt x="298754" y="897222"/>
                      </a:lnTo>
                      <a:lnTo>
                        <a:pt x="274103" y="897222"/>
                      </a:lnTo>
                      <a:cubicBezTo>
                        <a:pt x="274103" y="613647"/>
                        <a:pt x="176652" y="340818"/>
                        <a:pt x="0" y="123903"/>
                      </a:cubicBezTo>
                      <a:lnTo>
                        <a:pt x="116909" y="0"/>
                      </a:lnTo>
                      <a:cubicBezTo>
                        <a:pt x="291351" y="207479"/>
                        <a:pt x="400795" y="461979"/>
                        <a:pt x="432150" y="731682"/>
                      </a:cubicBezTo>
                      <a:close/>
                    </a:path>
                  </a:pathLst>
                </a:custGeom>
                <a:solidFill>
                  <a:schemeClr val="tx1">
                    <a:lumMod val="85000"/>
                    <a:lumOff val="15000"/>
                  </a:scheme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grpSp>
        <p:sp>
          <p:nvSpPr>
            <p:cNvPr id="89" name="Oval 88">
              <a:extLst>
                <a:ext uri="{FF2B5EF4-FFF2-40B4-BE49-F238E27FC236}">
                  <a16:creationId xmlns:a16="http://schemas.microsoft.com/office/drawing/2014/main" id="{E83A52EF-7809-4D00-A32E-F84A62D98598}"/>
                </a:ext>
              </a:extLst>
            </p:cNvPr>
            <p:cNvSpPr/>
            <p:nvPr/>
          </p:nvSpPr>
          <p:spPr>
            <a:xfrm>
              <a:off x="4167605" y="1418075"/>
              <a:ext cx="620419" cy="620419"/>
            </a:xfrm>
            <a:prstGeom prst="ellipse">
              <a:avLst/>
            </a:prstGeom>
            <a:solidFill>
              <a:srgbClr val="00000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0" name="Oval 89">
              <a:extLst>
                <a:ext uri="{FF2B5EF4-FFF2-40B4-BE49-F238E27FC236}">
                  <a16:creationId xmlns:a16="http://schemas.microsoft.com/office/drawing/2014/main" id="{E7831C72-3CAF-4D3C-BCF4-B3D1340F3CE1}"/>
                </a:ext>
              </a:extLst>
            </p:cNvPr>
            <p:cNvSpPr/>
            <p:nvPr/>
          </p:nvSpPr>
          <p:spPr>
            <a:xfrm>
              <a:off x="2810499" y="2018429"/>
              <a:ext cx="620419" cy="620419"/>
            </a:xfrm>
            <a:prstGeom prst="ellipse">
              <a:avLst/>
            </a:prstGeom>
            <a:solidFill>
              <a:srgbClr val="DC202E"/>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1" name="Oval 90">
              <a:extLst>
                <a:ext uri="{FF2B5EF4-FFF2-40B4-BE49-F238E27FC236}">
                  <a16:creationId xmlns:a16="http://schemas.microsoft.com/office/drawing/2014/main" id="{72B31D7C-7741-49E7-86F4-112B38A66CC6}"/>
                </a:ext>
              </a:extLst>
            </p:cNvPr>
            <p:cNvSpPr/>
            <p:nvPr/>
          </p:nvSpPr>
          <p:spPr>
            <a:xfrm>
              <a:off x="2269726" y="3430980"/>
              <a:ext cx="620419" cy="620419"/>
            </a:xfrm>
            <a:prstGeom prst="ellipse">
              <a:avLst/>
            </a:prstGeom>
            <a:solidFill>
              <a:srgbClr val="BFBFB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2" name="Oval 91">
              <a:extLst>
                <a:ext uri="{FF2B5EF4-FFF2-40B4-BE49-F238E27FC236}">
                  <a16:creationId xmlns:a16="http://schemas.microsoft.com/office/drawing/2014/main" id="{B3693BF1-2E60-44BC-9DF4-8CEE7A7F92F6}"/>
                </a:ext>
              </a:extLst>
            </p:cNvPr>
            <p:cNvSpPr/>
            <p:nvPr/>
          </p:nvSpPr>
          <p:spPr>
            <a:xfrm>
              <a:off x="2933944" y="4792135"/>
              <a:ext cx="620419" cy="620419"/>
            </a:xfrm>
            <a:prstGeom prst="ellipse">
              <a:avLst/>
            </a:prstGeom>
            <a:solidFill>
              <a:srgbClr val="A6A6A6"/>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3" name="Oval 92">
              <a:extLst>
                <a:ext uri="{FF2B5EF4-FFF2-40B4-BE49-F238E27FC236}">
                  <a16:creationId xmlns:a16="http://schemas.microsoft.com/office/drawing/2014/main" id="{42E011BB-F908-45A8-817F-AF4F2A2CBFB4}"/>
                </a:ext>
              </a:extLst>
            </p:cNvPr>
            <p:cNvSpPr/>
            <p:nvPr/>
          </p:nvSpPr>
          <p:spPr>
            <a:xfrm>
              <a:off x="4328661" y="5309811"/>
              <a:ext cx="620419" cy="620419"/>
            </a:xfrm>
            <a:prstGeom prst="ellipse">
              <a:avLst/>
            </a:prstGeom>
            <a:solidFill>
              <a:srgbClr val="7F7F7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4" name="Oval 93">
              <a:extLst>
                <a:ext uri="{FF2B5EF4-FFF2-40B4-BE49-F238E27FC236}">
                  <a16:creationId xmlns:a16="http://schemas.microsoft.com/office/drawing/2014/main" id="{BABD1888-7836-4B16-BA76-A974E7EAA0A8}"/>
                </a:ext>
              </a:extLst>
            </p:cNvPr>
            <p:cNvSpPr/>
            <p:nvPr/>
          </p:nvSpPr>
          <p:spPr>
            <a:xfrm>
              <a:off x="5686583" y="4708442"/>
              <a:ext cx="620419" cy="620419"/>
            </a:xfrm>
            <a:prstGeom prst="ellipse">
              <a:avLst/>
            </a:prstGeom>
            <a:solidFill>
              <a:srgbClr val="595959"/>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5" name="Oval 94">
              <a:extLst>
                <a:ext uri="{FF2B5EF4-FFF2-40B4-BE49-F238E27FC236}">
                  <a16:creationId xmlns:a16="http://schemas.microsoft.com/office/drawing/2014/main" id="{4B6698E4-E64A-41D2-B4AF-970146180FA1}"/>
                </a:ext>
              </a:extLst>
            </p:cNvPr>
            <p:cNvSpPr/>
            <p:nvPr/>
          </p:nvSpPr>
          <p:spPr>
            <a:xfrm>
              <a:off x="6240082" y="3275308"/>
              <a:ext cx="620419" cy="620419"/>
            </a:xfrm>
            <a:prstGeom prst="ellipse">
              <a:avLst/>
            </a:prstGeom>
            <a:solidFill>
              <a:srgbClr val="404040"/>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96" name="Oval 95">
              <a:extLst>
                <a:ext uri="{FF2B5EF4-FFF2-40B4-BE49-F238E27FC236}">
                  <a16:creationId xmlns:a16="http://schemas.microsoft.com/office/drawing/2014/main" id="{EF2BB903-FB2A-4C85-874B-BBE7B7C36CF9}"/>
                </a:ext>
              </a:extLst>
            </p:cNvPr>
            <p:cNvSpPr/>
            <p:nvPr/>
          </p:nvSpPr>
          <p:spPr>
            <a:xfrm>
              <a:off x="5577548" y="1907611"/>
              <a:ext cx="620419" cy="620419"/>
            </a:xfrm>
            <a:prstGeom prst="ellipse">
              <a:avLst/>
            </a:prstGeom>
            <a:solidFill>
              <a:srgbClr val="262626"/>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grpSp>
      <p:sp>
        <p:nvSpPr>
          <p:cNvPr id="87" name="TextBox 363">
            <a:extLst>
              <a:ext uri="{FF2B5EF4-FFF2-40B4-BE49-F238E27FC236}">
                <a16:creationId xmlns:a16="http://schemas.microsoft.com/office/drawing/2014/main" id="{4AF74F3D-C170-43EC-9C01-7A3D941B60F6}"/>
              </a:ext>
            </a:extLst>
          </p:cNvPr>
          <p:cNvSpPr txBox="1"/>
          <p:nvPr/>
        </p:nvSpPr>
        <p:spPr>
          <a:xfrm>
            <a:off x="7843064" y="4268774"/>
            <a:ext cx="3853635" cy="76944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dirty="0">
                <a:solidFill>
                  <a:schemeClr val="tx1"/>
                </a:solidFill>
                <a:latin typeface="+mn-lt"/>
              </a:rPr>
              <a:t>PC-12/-24 APEX FHDB Decode App</a:t>
            </a:r>
          </a:p>
          <a:p>
            <a:r>
              <a:rPr lang="en-US" altLang="ko-KR" sz="1400" b="0" dirty="0">
                <a:solidFill>
                  <a:schemeClr val="tx1"/>
                </a:solidFill>
                <a:latin typeface="+mn-lt"/>
              </a:rPr>
              <a:t>Enhanced FSE toolset to isolate faults</a:t>
            </a:r>
          </a:p>
          <a:p>
            <a:r>
              <a:rPr lang="en-US" altLang="ko-KR" sz="1400" b="0" dirty="0">
                <a:solidFill>
                  <a:schemeClr val="tx1"/>
                </a:solidFill>
                <a:latin typeface="+mn-lt"/>
              </a:rPr>
              <a:t>2025 AOP request</a:t>
            </a:r>
            <a:endParaRPr lang="ko-KR" altLang="en-US" sz="1400" b="0" dirty="0">
              <a:solidFill>
                <a:schemeClr val="tx1"/>
              </a:solidFill>
              <a:latin typeface="+mn-lt"/>
            </a:endParaRPr>
          </a:p>
        </p:txBody>
      </p:sp>
      <p:sp>
        <p:nvSpPr>
          <p:cNvPr id="85" name="TextBox 366">
            <a:extLst>
              <a:ext uri="{FF2B5EF4-FFF2-40B4-BE49-F238E27FC236}">
                <a16:creationId xmlns:a16="http://schemas.microsoft.com/office/drawing/2014/main" id="{D508C0F6-1E38-4F0E-BB38-169407A038F9}"/>
              </a:ext>
            </a:extLst>
          </p:cNvPr>
          <p:cNvSpPr txBox="1"/>
          <p:nvPr/>
        </p:nvSpPr>
        <p:spPr>
          <a:xfrm>
            <a:off x="7688821" y="1588609"/>
            <a:ext cx="3258613" cy="76944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dirty="0">
                <a:ln>
                  <a:noFill/>
                </a:ln>
                <a:effectLst/>
                <a:uLnTx/>
                <a:uFillTx/>
                <a:cs typeface="Arial" pitchFamily="34" charset="0"/>
              </a:rPr>
              <a:t>PC-12/-24 FHDB Download Ap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400" dirty="0">
                <a:cs typeface="Arial" pitchFamily="34" charset="0"/>
              </a:rPr>
              <a:t>Wireless capa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400" dirty="0">
                <a:cs typeface="Arial" pitchFamily="34" charset="0"/>
              </a:rPr>
              <a:t>January 2025</a:t>
            </a:r>
            <a:endParaRPr kumimoji="0" lang="ko-KR" altLang="en-US" sz="1400" i="0" u="none" strike="noStrike" kern="1200" cap="none" spc="0" normalizeH="0" baseline="0" noProof="0" dirty="0">
              <a:ln>
                <a:noFill/>
              </a:ln>
              <a:effectLst/>
              <a:uLnTx/>
              <a:uFillTx/>
              <a:cs typeface="Arial" pitchFamily="34" charset="0"/>
            </a:endParaRPr>
          </a:p>
        </p:txBody>
      </p:sp>
      <p:sp>
        <p:nvSpPr>
          <p:cNvPr id="83" name="TextBox 369">
            <a:extLst>
              <a:ext uri="{FF2B5EF4-FFF2-40B4-BE49-F238E27FC236}">
                <a16:creationId xmlns:a16="http://schemas.microsoft.com/office/drawing/2014/main" id="{A5176EC0-DBDF-467C-A200-7A739AF0B00D}"/>
              </a:ext>
            </a:extLst>
          </p:cNvPr>
          <p:cNvSpPr txBox="1"/>
          <p:nvPr/>
        </p:nvSpPr>
        <p:spPr>
          <a:xfrm>
            <a:off x="8287594" y="2977909"/>
            <a:ext cx="3409106" cy="98488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a:solidFill>
                  <a:schemeClr val="tx1"/>
                </a:solidFill>
                <a:latin typeface="+mn-lt"/>
              </a:rPr>
              <a:t>PC-24 LDI Updates</a:t>
            </a:r>
          </a:p>
          <a:p>
            <a:r>
              <a:rPr lang="en-US" altLang="ko-KR" sz="1400" b="0">
                <a:solidFill>
                  <a:schemeClr val="tx1"/>
                </a:solidFill>
                <a:latin typeface="+mn-lt"/>
              </a:rPr>
              <a:t>Better troubleshooting &amp; fault isolation</a:t>
            </a:r>
          </a:p>
          <a:p>
            <a:r>
              <a:rPr lang="en-US" altLang="ko-KR" sz="1400" b="0">
                <a:solidFill>
                  <a:schemeClr val="tx1"/>
                </a:solidFill>
                <a:latin typeface="+mn-lt"/>
              </a:rPr>
              <a:t>Periodic refreshes</a:t>
            </a:r>
          </a:p>
          <a:p>
            <a:r>
              <a:rPr lang="en-US" altLang="ko-KR" sz="1400" b="0">
                <a:solidFill>
                  <a:schemeClr val="tx1"/>
                </a:solidFill>
                <a:latin typeface="+mn-lt"/>
              </a:rPr>
              <a:t>Q1 2025</a:t>
            </a:r>
            <a:endParaRPr lang="ko-KR" altLang="en-US" sz="1400" b="0">
              <a:solidFill>
                <a:schemeClr val="tx1"/>
              </a:solidFill>
              <a:latin typeface="+mn-lt"/>
            </a:endParaRPr>
          </a:p>
        </p:txBody>
      </p:sp>
      <p:sp>
        <p:nvSpPr>
          <p:cNvPr id="81" name="TextBox 372">
            <a:extLst>
              <a:ext uri="{FF2B5EF4-FFF2-40B4-BE49-F238E27FC236}">
                <a16:creationId xmlns:a16="http://schemas.microsoft.com/office/drawing/2014/main" id="{D0603725-8F63-4780-A3AC-5365C4895535}"/>
              </a:ext>
            </a:extLst>
          </p:cNvPr>
          <p:cNvSpPr txBox="1"/>
          <p:nvPr/>
        </p:nvSpPr>
        <p:spPr>
          <a:xfrm>
            <a:off x="6522963" y="5186080"/>
            <a:ext cx="4600038" cy="76944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a:solidFill>
                  <a:schemeClr val="tx1"/>
                </a:solidFill>
                <a:latin typeface="+mn-lt"/>
              </a:rPr>
              <a:t>Prevent Workarounds | Human Factors</a:t>
            </a:r>
          </a:p>
          <a:p>
            <a:r>
              <a:rPr lang="en-US" altLang="ko-KR" sz="1400" b="0">
                <a:solidFill>
                  <a:schemeClr val="tx1"/>
                </a:solidFill>
                <a:latin typeface="+mn-lt"/>
              </a:rPr>
              <a:t>INDS website chart file downloading </a:t>
            </a:r>
          </a:p>
          <a:p>
            <a:r>
              <a:rPr lang="en-US" altLang="ko-KR" sz="1400" b="0">
                <a:solidFill>
                  <a:schemeClr val="tx1"/>
                </a:solidFill>
                <a:latin typeface="+mn-lt"/>
              </a:rPr>
              <a:t>IDM IPAD wireless loading process</a:t>
            </a:r>
            <a:endParaRPr lang="ko-KR" altLang="en-US" sz="1100" b="0">
              <a:solidFill>
                <a:schemeClr val="tx1"/>
              </a:solidFill>
              <a:latin typeface="+mn-lt"/>
            </a:endParaRPr>
          </a:p>
        </p:txBody>
      </p:sp>
      <p:sp>
        <p:nvSpPr>
          <p:cNvPr id="79" name="TextBox 375">
            <a:extLst>
              <a:ext uri="{FF2B5EF4-FFF2-40B4-BE49-F238E27FC236}">
                <a16:creationId xmlns:a16="http://schemas.microsoft.com/office/drawing/2014/main" id="{F28965D5-8864-4F50-98C5-C7512A15325E}"/>
              </a:ext>
            </a:extLst>
          </p:cNvPr>
          <p:cNvSpPr txBox="1"/>
          <p:nvPr/>
        </p:nvSpPr>
        <p:spPr>
          <a:xfrm>
            <a:off x="495301" y="981250"/>
            <a:ext cx="5145526" cy="76944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ko-KR" dirty="0">
                <a:solidFill>
                  <a:schemeClr val="tx1"/>
                </a:solidFill>
                <a:latin typeface="+mn-lt"/>
              </a:rPr>
              <a:t>PC-12/-24 IETM Flight Line Maintenance Manuals</a:t>
            </a:r>
          </a:p>
          <a:p>
            <a:pPr algn="r"/>
            <a:r>
              <a:rPr lang="en-US" altLang="ko-KR" sz="1400" b="0" dirty="0">
                <a:solidFill>
                  <a:schemeClr val="tx1"/>
                </a:solidFill>
                <a:latin typeface="+mn-lt"/>
              </a:rPr>
              <a:t>Improved customer experience</a:t>
            </a:r>
          </a:p>
          <a:p>
            <a:pPr algn="r"/>
            <a:r>
              <a:rPr lang="en-US" altLang="ko-KR" sz="1400" b="0" dirty="0">
                <a:solidFill>
                  <a:schemeClr val="tx1"/>
                </a:solidFill>
                <a:latin typeface="+mn-lt"/>
              </a:rPr>
              <a:t>Integrated Technical Videos</a:t>
            </a:r>
          </a:p>
        </p:txBody>
      </p:sp>
      <p:sp>
        <p:nvSpPr>
          <p:cNvPr id="77" name="TextBox 378">
            <a:extLst>
              <a:ext uri="{FF2B5EF4-FFF2-40B4-BE49-F238E27FC236}">
                <a16:creationId xmlns:a16="http://schemas.microsoft.com/office/drawing/2014/main" id="{CA57793A-9D30-45AE-8872-9184936EFA41}"/>
              </a:ext>
            </a:extLst>
          </p:cNvPr>
          <p:cNvSpPr txBox="1"/>
          <p:nvPr/>
        </p:nvSpPr>
        <p:spPr>
          <a:xfrm>
            <a:off x="310579" y="1952460"/>
            <a:ext cx="3968145" cy="98488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ko-KR" dirty="0">
                <a:solidFill>
                  <a:schemeClr val="tx1"/>
                </a:solidFill>
                <a:latin typeface="+mn-lt"/>
              </a:rPr>
              <a:t>Pilatus Service Center Support</a:t>
            </a:r>
          </a:p>
          <a:p>
            <a:pPr algn="r"/>
            <a:r>
              <a:rPr lang="en-US" altLang="ko-KR" sz="1400" b="0" dirty="0">
                <a:solidFill>
                  <a:schemeClr val="tx1"/>
                </a:solidFill>
                <a:latin typeface="+mn-lt"/>
              </a:rPr>
              <a:t>Detailed YoY training &amp; Tech Connect Plan</a:t>
            </a:r>
          </a:p>
          <a:p>
            <a:pPr algn="r"/>
            <a:r>
              <a:rPr lang="en-US" altLang="ko-KR" sz="1400" b="0" dirty="0">
                <a:solidFill>
                  <a:schemeClr val="tx1"/>
                </a:solidFill>
                <a:latin typeface="+mn-lt"/>
              </a:rPr>
              <a:t>Data driven scorecard</a:t>
            </a:r>
          </a:p>
          <a:p>
            <a:pPr algn="r"/>
            <a:r>
              <a:rPr lang="en-US" altLang="ko-KR" sz="1400" b="0" dirty="0">
                <a:solidFill>
                  <a:schemeClr val="tx1"/>
                </a:solidFill>
                <a:latin typeface="+mn-lt"/>
              </a:rPr>
              <a:t>Trained 8 partners in past 10 months</a:t>
            </a:r>
            <a:endParaRPr lang="ko-KR" altLang="en-US" sz="1200" b="0" dirty="0">
              <a:solidFill>
                <a:schemeClr val="tx1"/>
              </a:solidFill>
              <a:latin typeface="+mn-lt"/>
            </a:endParaRPr>
          </a:p>
        </p:txBody>
      </p:sp>
      <p:sp>
        <p:nvSpPr>
          <p:cNvPr id="75" name="TextBox 381">
            <a:extLst>
              <a:ext uri="{FF2B5EF4-FFF2-40B4-BE49-F238E27FC236}">
                <a16:creationId xmlns:a16="http://schemas.microsoft.com/office/drawing/2014/main" id="{160228B5-115F-4305-8537-05CAE9C4B5B7}"/>
              </a:ext>
            </a:extLst>
          </p:cNvPr>
          <p:cNvSpPr txBox="1"/>
          <p:nvPr/>
        </p:nvSpPr>
        <p:spPr>
          <a:xfrm>
            <a:off x="218219" y="3168953"/>
            <a:ext cx="3677446" cy="98488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ko-KR" dirty="0">
                <a:solidFill>
                  <a:schemeClr val="tx1"/>
                </a:solidFill>
                <a:latin typeface="+mn-lt"/>
              </a:rPr>
              <a:t>ATS FSE skillset &amp; regional support</a:t>
            </a:r>
          </a:p>
          <a:p>
            <a:pPr algn="r"/>
            <a:r>
              <a:rPr lang="en-US" altLang="ko-KR" sz="1400" b="0" dirty="0">
                <a:solidFill>
                  <a:schemeClr val="tx1"/>
                </a:solidFill>
                <a:latin typeface="+mn-lt"/>
              </a:rPr>
              <a:t>Americas “Tech Core Team Leader”</a:t>
            </a:r>
          </a:p>
          <a:p>
            <a:pPr algn="r"/>
            <a:r>
              <a:rPr lang="en-US" altLang="ko-KR" sz="1400" b="0" dirty="0">
                <a:solidFill>
                  <a:schemeClr val="tx1"/>
                </a:solidFill>
                <a:latin typeface="+mn-lt"/>
              </a:rPr>
              <a:t>Expand from 6 to 14 APEX SMEs</a:t>
            </a:r>
          </a:p>
          <a:p>
            <a:pPr algn="r"/>
            <a:r>
              <a:rPr lang="en-US" altLang="ko-KR" sz="1400" b="0" dirty="0">
                <a:solidFill>
                  <a:schemeClr val="tx1"/>
                </a:solidFill>
                <a:latin typeface="+mn-lt"/>
              </a:rPr>
              <a:t>Service Center training playbook</a:t>
            </a:r>
          </a:p>
        </p:txBody>
      </p:sp>
      <p:sp>
        <p:nvSpPr>
          <p:cNvPr id="66" name="TextBox 384">
            <a:extLst>
              <a:ext uri="{FF2B5EF4-FFF2-40B4-BE49-F238E27FC236}">
                <a16:creationId xmlns:a16="http://schemas.microsoft.com/office/drawing/2014/main" id="{DD1F7EB6-B19E-4CD7-B68E-D65ADEF7E939}"/>
              </a:ext>
            </a:extLst>
          </p:cNvPr>
          <p:cNvSpPr txBox="1"/>
          <p:nvPr/>
        </p:nvSpPr>
        <p:spPr>
          <a:xfrm>
            <a:off x="1420268" y="4475460"/>
            <a:ext cx="2983091" cy="1631216"/>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sz="1600" b="1" i="0" u="none" strike="noStrike" cap="none" spc="0" normalizeH="0" baseline="0">
                <a:ln>
                  <a:noFill/>
                </a:ln>
                <a:solidFill>
                  <a:srgbClr val="000000">
                    <a:lumMod val="75000"/>
                    <a:lumOff val="25000"/>
                  </a:srgbClr>
                </a:solidFill>
                <a:effectLst/>
                <a:uLnTx/>
                <a:uFillTx/>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ko-KR">
                <a:solidFill>
                  <a:schemeClr val="tx1"/>
                </a:solidFill>
                <a:latin typeface="+mn-lt"/>
              </a:rPr>
              <a:t>Quality &amp; Reliability</a:t>
            </a:r>
          </a:p>
          <a:p>
            <a:pPr algn="r"/>
            <a:r>
              <a:rPr lang="en-US" altLang="ko-KR" sz="1400" b="0">
                <a:solidFill>
                  <a:schemeClr val="tx1"/>
                </a:solidFill>
                <a:latin typeface="+mn-lt"/>
                <a:cs typeface="Arial"/>
              </a:rPr>
              <a:t>Detect out of the box failure trends </a:t>
            </a:r>
            <a:endParaRPr lang="en-US" altLang="ko-KR" sz="1400" b="0">
              <a:solidFill>
                <a:schemeClr val="tx1"/>
              </a:solidFill>
              <a:latin typeface="+mn-lt"/>
            </a:endParaRPr>
          </a:p>
          <a:p>
            <a:pPr algn="r"/>
            <a:r>
              <a:rPr lang="en-US" altLang="ko-KR" sz="1400" b="0">
                <a:solidFill>
                  <a:schemeClr val="tx1"/>
                </a:solidFill>
                <a:latin typeface="+mn-lt"/>
                <a:cs typeface="Arial"/>
              </a:rPr>
              <a:t>Early identification and faster fixes: RDR-7K &amp; AH1000 AHRS</a:t>
            </a:r>
            <a:endParaRPr lang="en-US" altLang="ko-KR" sz="1400" b="0">
              <a:solidFill>
                <a:schemeClr val="tx1"/>
              </a:solidFill>
              <a:latin typeface="+mn-lt"/>
            </a:endParaRPr>
          </a:p>
          <a:p>
            <a:pPr algn="r"/>
            <a:r>
              <a:rPr lang="en-US" altLang="ko-KR" sz="1400" b="0">
                <a:solidFill>
                  <a:schemeClr val="tx1"/>
                </a:solidFill>
                <a:latin typeface="+mn-lt"/>
                <a:cs typeface="Arial"/>
              </a:rPr>
              <a:t>Proactive campaigns: </a:t>
            </a:r>
            <a:br>
              <a:rPr lang="en-US" altLang="ko-KR" sz="1400" b="0">
                <a:latin typeface="+mn-lt"/>
              </a:rPr>
            </a:br>
            <a:r>
              <a:rPr lang="en-US" altLang="ko-KR" sz="1400" b="0">
                <a:solidFill>
                  <a:schemeClr val="tx1"/>
                </a:solidFill>
                <a:latin typeface="+mn-lt"/>
                <a:cs typeface="Arial"/>
              </a:rPr>
              <a:t>AGM200, KSG7200 &amp; MMDR</a:t>
            </a:r>
            <a:endParaRPr lang="en-US" altLang="ko-KR" sz="1400" b="0">
              <a:solidFill>
                <a:schemeClr val="tx1"/>
              </a:solidFill>
              <a:latin typeface="+mn-lt"/>
            </a:endParaRPr>
          </a:p>
          <a:p>
            <a:pPr algn="r"/>
            <a:endParaRPr lang="en-US" altLang="ko-KR" sz="1400" b="0">
              <a:solidFill>
                <a:schemeClr val="tx1"/>
              </a:solidFill>
              <a:latin typeface="+mn-lt"/>
            </a:endParaRPr>
          </a:p>
        </p:txBody>
      </p:sp>
      <p:sp>
        <p:nvSpPr>
          <p:cNvPr id="64" name="TextBox 387">
            <a:extLst>
              <a:ext uri="{FF2B5EF4-FFF2-40B4-BE49-F238E27FC236}">
                <a16:creationId xmlns:a16="http://schemas.microsoft.com/office/drawing/2014/main" id="{B6DDB251-633E-4D5D-9723-7841B6262C48}"/>
              </a:ext>
            </a:extLst>
          </p:cNvPr>
          <p:cNvSpPr txBox="1"/>
          <p:nvPr/>
        </p:nvSpPr>
        <p:spPr>
          <a:xfrm>
            <a:off x="5125841" y="3426502"/>
            <a:ext cx="1988076"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600" b="1" i="0" u="none" strike="noStrike" kern="1200" cap="none" spc="0" normalizeH="0" baseline="0" noProof="0">
                <a:ln>
                  <a:noFill/>
                </a:ln>
                <a:effectLst/>
                <a:uLnTx/>
                <a:uFillTx/>
                <a:latin typeface="Arial"/>
                <a:cs typeface="Arial" pitchFamily="34" charset="0"/>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1600" b="1">
                <a:latin typeface="Arial"/>
                <a:cs typeface="Arial" pitchFamily="34" charset="0"/>
              </a:rPr>
              <a:t>Focus</a:t>
            </a:r>
            <a:endParaRPr kumimoji="0" lang="ko-KR" altLang="en-US" sz="1600" b="1" i="0" u="none" strike="noStrike" kern="1200" cap="none" spc="0" normalizeH="0" baseline="0" noProof="0">
              <a:ln>
                <a:noFill/>
              </a:ln>
              <a:effectLst/>
              <a:uLnTx/>
              <a:uFillTx/>
              <a:latin typeface="Arial"/>
              <a:cs typeface="Arial" pitchFamily="34" charset="0"/>
            </a:endParaRPr>
          </a:p>
        </p:txBody>
      </p:sp>
      <p:sp>
        <p:nvSpPr>
          <p:cNvPr id="54" name="Rectangle 16">
            <a:extLst>
              <a:ext uri="{FF2B5EF4-FFF2-40B4-BE49-F238E27FC236}">
                <a16:creationId xmlns:a16="http://schemas.microsoft.com/office/drawing/2014/main" id="{2D0855F3-4825-4D7C-84C7-0422CDB5ACC8}"/>
              </a:ext>
            </a:extLst>
          </p:cNvPr>
          <p:cNvSpPr/>
          <p:nvPr/>
        </p:nvSpPr>
        <p:spPr>
          <a:xfrm>
            <a:off x="5816310" y="2883694"/>
            <a:ext cx="578676" cy="380314"/>
          </a:xfrm>
          <a:custGeom>
            <a:avLst/>
            <a:gdLst/>
            <a:ahLst/>
            <a:cxnLst/>
            <a:rect l="l" t="t" r="r" b="b"/>
            <a:pathLst>
              <a:path w="3240006" h="2129375">
                <a:moveTo>
                  <a:pt x="1916836" y="454558"/>
                </a:moveTo>
                <a:cubicBezTo>
                  <a:pt x="2018418" y="454558"/>
                  <a:pt x="2100766" y="536906"/>
                  <a:pt x="2100766" y="638488"/>
                </a:cubicBezTo>
                <a:cubicBezTo>
                  <a:pt x="2100766" y="740070"/>
                  <a:pt x="2018418" y="822418"/>
                  <a:pt x="1916836" y="822418"/>
                </a:cubicBezTo>
                <a:cubicBezTo>
                  <a:pt x="1815254" y="822418"/>
                  <a:pt x="1732906" y="740070"/>
                  <a:pt x="1732906" y="638488"/>
                </a:cubicBezTo>
                <a:cubicBezTo>
                  <a:pt x="1732906" y="536906"/>
                  <a:pt x="1815254" y="454558"/>
                  <a:pt x="1916836" y="454558"/>
                </a:cubicBezTo>
                <a:close/>
                <a:moveTo>
                  <a:pt x="1197545" y="272737"/>
                </a:moveTo>
                <a:lnTo>
                  <a:pt x="1861974" y="1458536"/>
                </a:lnTo>
                <a:lnTo>
                  <a:pt x="2263096" y="848801"/>
                </a:lnTo>
                <a:lnTo>
                  <a:pt x="2919562" y="1846679"/>
                </a:lnTo>
                <a:lnTo>
                  <a:pt x="2079459" y="1846679"/>
                </a:lnTo>
                <a:lnTo>
                  <a:pt x="1606629" y="1846679"/>
                </a:lnTo>
                <a:lnTo>
                  <a:pt x="315630" y="1846679"/>
                </a:lnTo>
                <a:close/>
                <a:moveTo>
                  <a:pt x="180003" y="164687"/>
                </a:moveTo>
                <a:lnTo>
                  <a:pt x="180003" y="1964687"/>
                </a:lnTo>
                <a:lnTo>
                  <a:pt x="3060003" y="1964687"/>
                </a:lnTo>
                <a:lnTo>
                  <a:pt x="3060003" y="164687"/>
                </a:lnTo>
                <a:close/>
                <a:moveTo>
                  <a:pt x="0" y="0"/>
                </a:moveTo>
                <a:lnTo>
                  <a:pt x="3240006" y="0"/>
                </a:lnTo>
                <a:lnTo>
                  <a:pt x="3240006" y="2129375"/>
                </a:lnTo>
                <a:lnTo>
                  <a:pt x="0" y="2129375"/>
                </a:lnTo>
                <a:close/>
              </a:path>
            </a:pathLst>
          </a:custGeom>
          <a:solidFill>
            <a:srgbClr val="000000">
              <a:lumMod val="75000"/>
              <a:lumOff val="25000"/>
            </a:srgb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ysClr val="window" lastClr="FFFFFF"/>
              </a:solidFill>
              <a:effectLst/>
              <a:uLnTx/>
              <a:uFillTx/>
              <a:latin typeface="Arial"/>
              <a:cs typeface="+mn-cs"/>
            </a:endParaRPr>
          </a:p>
        </p:txBody>
      </p:sp>
      <p:sp>
        <p:nvSpPr>
          <p:cNvPr id="69" name="Freeform 210">
            <a:extLst>
              <a:ext uri="{FF2B5EF4-FFF2-40B4-BE49-F238E27FC236}">
                <a16:creationId xmlns:a16="http://schemas.microsoft.com/office/drawing/2014/main" id="{DC8BEB85-6113-49B3-AE33-CE5B133C54D9}"/>
              </a:ext>
            </a:extLst>
          </p:cNvPr>
          <p:cNvSpPr>
            <a:spLocks noEditPoints="1"/>
          </p:cNvSpPr>
          <p:nvPr/>
        </p:nvSpPr>
        <p:spPr bwMode="auto">
          <a:xfrm>
            <a:off x="4715007" y="4536174"/>
            <a:ext cx="367877" cy="328678"/>
          </a:xfrm>
          <a:custGeom>
            <a:avLst/>
            <a:gdLst>
              <a:gd name="T0" fmla="*/ 320 w 321"/>
              <a:gd name="T1" fmla="*/ 276 h 288"/>
              <a:gd name="T2" fmla="*/ 209 w 321"/>
              <a:gd name="T3" fmla="*/ 86 h 288"/>
              <a:gd name="T4" fmla="*/ 209 w 321"/>
              <a:gd name="T5" fmla="*/ 64 h 288"/>
              <a:gd name="T6" fmla="*/ 265 w 321"/>
              <a:gd name="T7" fmla="*/ 64 h 288"/>
              <a:gd name="T8" fmla="*/ 273 w 321"/>
              <a:gd name="T9" fmla="*/ 56 h 288"/>
              <a:gd name="T10" fmla="*/ 273 w 321"/>
              <a:gd name="T11" fmla="*/ 56 h 288"/>
              <a:gd name="T12" fmla="*/ 273 w 321"/>
              <a:gd name="T13" fmla="*/ 8 h 288"/>
              <a:gd name="T14" fmla="*/ 265 w 321"/>
              <a:gd name="T15" fmla="*/ 0 h 288"/>
              <a:gd name="T16" fmla="*/ 265 w 321"/>
              <a:gd name="T17" fmla="*/ 0 h 288"/>
              <a:gd name="T18" fmla="*/ 201 w 321"/>
              <a:gd name="T19" fmla="*/ 0 h 288"/>
              <a:gd name="T20" fmla="*/ 193 w 321"/>
              <a:gd name="T21" fmla="*/ 8 h 288"/>
              <a:gd name="T22" fmla="*/ 193 w 321"/>
              <a:gd name="T23" fmla="*/ 8 h 288"/>
              <a:gd name="T24" fmla="*/ 193 w 321"/>
              <a:gd name="T25" fmla="*/ 86 h 288"/>
              <a:gd name="T26" fmla="*/ 136 w 321"/>
              <a:gd name="T27" fmla="*/ 171 h 288"/>
              <a:gd name="T28" fmla="*/ 95 w 321"/>
              <a:gd name="T29" fmla="*/ 130 h 288"/>
              <a:gd name="T30" fmla="*/ 83 w 321"/>
              <a:gd name="T31" fmla="*/ 130 h 288"/>
              <a:gd name="T32" fmla="*/ 82 w 321"/>
              <a:gd name="T33" fmla="*/ 132 h 288"/>
              <a:gd name="T34" fmla="*/ 2 w 321"/>
              <a:gd name="T35" fmla="*/ 276 h 288"/>
              <a:gd name="T36" fmla="*/ 5 w 321"/>
              <a:gd name="T37" fmla="*/ 287 h 288"/>
              <a:gd name="T38" fmla="*/ 9 w 321"/>
              <a:gd name="T39" fmla="*/ 288 h 288"/>
              <a:gd name="T40" fmla="*/ 313 w 321"/>
              <a:gd name="T41" fmla="*/ 288 h 288"/>
              <a:gd name="T42" fmla="*/ 321 w 321"/>
              <a:gd name="T43" fmla="*/ 280 h 288"/>
              <a:gd name="T44" fmla="*/ 320 w 321"/>
              <a:gd name="T45" fmla="*/ 276 h 288"/>
              <a:gd name="T46" fmla="*/ 209 w 321"/>
              <a:gd name="T47" fmla="*/ 16 h 288"/>
              <a:gd name="T48" fmla="*/ 257 w 321"/>
              <a:gd name="T49" fmla="*/ 16 h 288"/>
              <a:gd name="T50" fmla="*/ 257 w 321"/>
              <a:gd name="T51" fmla="*/ 48 h 288"/>
              <a:gd name="T52" fmla="*/ 209 w 321"/>
              <a:gd name="T53" fmla="*/ 48 h 288"/>
              <a:gd name="T54" fmla="*/ 209 w 321"/>
              <a:gd name="T55" fmla="*/ 16 h 288"/>
              <a:gd name="T56" fmla="*/ 23 w 321"/>
              <a:gd name="T57" fmla="*/ 272 h 288"/>
              <a:gd name="T58" fmla="*/ 91 w 321"/>
              <a:gd name="T59" fmla="*/ 149 h 288"/>
              <a:gd name="T60" fmla="*/ 131 w 321"/>
              <a:gd name="T61" fmla="*/ 190 h 288"/>
              <a:gd name="T62" fmla="*/ 138 w 321"/>
              <a:gd name="T63" fmla="*/ 192 h 288"/>
              <a:gd name="T64" fmla="*/ 144 w 321"/>
              <a:gd name="T65" fmla="*/ 188 h 288"/>
              <a:gd name="T66" fmla="*/ 201 w 321"/>
              <a:gd name="T67" fmla="*/ 103 h 288"/>
              <a:gd name="T68" fmla="*/ 299 w 321"/>
              <a:gd name="T69" fmla="*/ 272 h 288"/>
              <a:gd name="T70" fmla="*/ 23 w 321"/>
              <a:gd name="T71" fmla="*/ 2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288">
                <a:moveTo>
                  <a:pt x="320" y="276"/>
                </a:moveTo>
                <a:cubicBezTo>
                  <a:pt x="209" y="86"/>
                  <a:pt x="209" y="86"/>
                  <a:pt x="209" y="86"/>
                </a:cubicBezTo>
                <a:cubicBezTo>
                  <a:pt x="209" y="64"/>
                  <a:pt x="209" y="64"/>
                  <a:pt x="209" y="64"/>
                </a:cubicBezTo>
                <a:cubicBezTo>
                  <a:pt x="265" y="64"/>
                  <a:pt x="265" y="64"/>
                  <a:pt x="265" y="64"/>
                </a:cubicBezTo>
                <a:cubicBezTo>
                  <a:pt x="269" y="64"/>
                  <a:pt x="273" y="60"/>
                  <a:pt x="273" y="56"/>
                </a:cubicBezTo>
                <a:cubicBezTo>
                  <a:pt x="273" y="56"/>
                  <a:pt x="273" y="56"/>
                  <a:pt x="273" y="56"/>
                </a:cubicBezTo>
                <a:cubicBezTo>
                  <a:pt x="273" y="8"/>
                  <a:pt x="273" y="8"/>
                  <a:pt x="273" y="8"/>
                </a:cubicBezTo>
                <a:cubicBezTo>
                  <a:pt x="273" y="4"/>
                  <a:pt x="269" y="0"/>
                  <a:pt x="265" y="0"/>
                </a:cubicBezTo>
                <a:cubicBezTo>
                  <a:pt x="265" y="0"/>
                  <a:pt x="265" y="0"/>
                  <a:pt x="265" y="0"/>
                </a:cubicBezTo>
                <a:cubicBezTo>
                  <a:pt x="201" y="0"/>
                  <a:pt x="201" y="0"/>
                  <a:pt x="201" y="0"/>
                </a:cubicBezTo>
                <a:cubicBezTo>
                  <a:pt x="197" y="0"/>
                  <a:pt x="193" y="4"/>
                  <a:pt x="193" y="8"/>
                </a:cubicBezTo>
                <a:cubicBezTo>
                  <a:pt x="193" y="8"/>
                  <a:pt x="193" y="8"/>
                  <a:pt x="193" y="8"/>
                </a:cubicBezTo>
                <a:cubicBezTo>
                  <a:pt x="193" y="86"/>
                  <a:pt x="193" y="86"/>
                  <a:pt x="193" y="86"/>
                </a:cubicBezTo>
                <a:cubicBezTo>
                  <a:pt x="136" y="171"/>
                  <a:pt x="136" y="171"/>
                  <a:pt x="136" y="171"/>
                </a:cubicBezTo>
                <a:cubicBezTo>
                  <a:pt x="95" y="130"/>
                  <a:pt x="95" y="130"/>
                  <a:pt x="95" y="130"/>
                </a:cubicBezTo>
                <a:cubicBezTo>
                  <a:pt x="92" y="127"/>
                  <a:pt x="86" y="127"/>
                  <a:pt x="83" y="130"/>
                </a:cubicBezTo>
                <a:cubicBezTo>
                  <a:pt x="83" y="131"/>
                  <a:pt x="82" y="131"/>
                  <a:pt x="82" y="132"/>
                </a:cubicBezTo>
                <a:cubicBezTo>
                  <a:pt x="2" y="276"/>
                  <a:pt x="2" y="276"/>
                  <a:pt x="2" y="276"/>
                </a:cubicBezTo>
                <a:cubicBezTo>
                  <a:pt x="0" y="280"/>
                  <a:pt x="1" y="285"/>
                  <a:pt x="5" y="287"/>
                </a:cubicBezTo>
                <a:cubicBezTo>
                  <a:pt x="6" y="288"/>
                  <a:pt x="8" y="288"/>
                  <a:pt x="9" y="288"/>
                </a:cubicBezTo>
                <a:cubicBezTo>
                  <a:pt x="313" y="288"/>
                  <a:pt x="313" y="288"/>
                  <a:pt x="313" y="288"/>
                </a:cubicBezTo>
                <a:cubicBezTo>
                  <a:pt x="317" y="288"/>
                  <a:pt x="321" y="284"/>
                  <a:pt x="321" y="280"/>
                </a:cubicBezTo>
                <a:cubicBezTo>
                  <a:pt x="321" y="279"/>
                  <a:pt x="321" y="277"/>
                  <a:pt x="320" y="276"/>
                </a:cubicBezTo>
                <a:close/>
                <a:moveTo>
                  <a:pt x="209" y="16"/>
                </a:moveTo>
                <a:cubicBezTo>
                  <a:pt x="257" y="16"/>
                  <a:pt x="257" y="16"/>
                  <a:pt x="257" y="16"/>
                </a:cubicBezTo>
                <a:cubicBezTo>
                  <a:pt x="257" y="48"/>
                  <a:pt x="257" y="48"/>
                  <a:pt x="257" y="48"/>
                </a:cubicBezTo>
                <a:cubicBezTo>
                  <a:pt x="209" y="48"/>
                  <a:pt x="209" y="48"/>
                  <a:pt x="209" y="48"/>
                </a:cubicBezTo>
                <a:lnTo>
                  <a:pt x="209" y="16"/>
                </a:lnTo>
                <a:close/>
                <a:moveTo>
                  <a:pt x="23" y="272"/>
                </a:moveTo>
                <a:cubicBezTo>
                  <a:pt x="91" y="149"/>
                  <a:pt x="91" y="149"/>
                  <a:pt x="91" y="149"/>
                </a:cubicBezTo>
                <a:cubicBezTo>
                  <a:pt x="131" y="190"/>
                  <a:pt x="131" y="190"/>
                  <a:pt x="131" y="190"/>
                </a:cubicBezTo>
                <a:cubicBezTo>
                  <a:pt x="133" y="191"/>
                  <a:pt x="135" y="192"/>
                  <a:pt x="138" y="192"/>
                </a:cubicBezTo>
                <a:cubicBezTo>
                  <a:pt x="140" y="192"/>
                  <a:pt x="142" y="190"/>
                  <a:pt x="144" y="188"/>
                </a:cubicBezTo>
                <a:cubicBezTo>
                  <a:pt x="201" y="103"/>
                  <a:pt x="201" y="103"/>
                  <a:pt x="201" y="103"/>
                </a:cubicBezTo>
                <a:cubicBezTo>
                  <a:pt x="299" y="272"/>
                  <a:pt x="299" y="272"/>
                  <a:pt x="299" y="272"/>
                </a:cubicBezTo>
                <a:lnTo>
                  <a:pt x="23" y="272"/>
                </a:lnTo>
                <a:close/>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70" name="Freeform 214">
            <a:extLst>
              <a:ext uri="{FF2B5EF4-FFF2-40B4-BE49-F238E27FC236}">
                <a16:creationId xmlns:a16="http://schemas.microsoft.com/office/drawing/2014/main" id="{35B6F044-DC9B-459A-97E9-DAE1F3A03C0F}"/>
              </a:ext>
            </a:extLst>
          </p:cNvPr>
          <p:cNvSpPr>
            <a:spLocks noEditPoints="1"/>
          </p:cNvSpPr>
          <p:nvPr/>
        </p:nvSpPr>
        <p:spPr bwMode="auto">
          <a:xfrm>
            <a:off x="7730463" y="3188003"/>
            <a:ext cx="349717" cy="348105"/>
          </a:xfrm>
          <a:custGeom>
            <a:avLst/>
            <a:gdLst>
              <a:gd name="T0" fmla="*/ 1499 w 2999"/>
              <a:gd name="T1" fmla="*/ 0 h 2998"/>
              <a:gd name="T2" fmla="*/ 2999 w 2999"/>
              <a:gd name="T3" fmla="*/ 1499 h 2998"/>
              <a:gd name="T4" fmla="*/ 1499 w 2999"/>
              <a:gd name="T5" fmla="*/ 2998 h 2998"/>
              <a:gd name="T6" fmla="*/ 0 w 2999"/>
              <a:gd name="T7" fmla="*/ 1499 h 2998"/>
              <a:gd name="T8" fmla="*/ 1499 w 2999"/>
              <a:gd name="T9" fmla="*/ 0 h 2998"/>
              <a:gd name="T10" fmla="*/ 436 w 2999"/>
              <a:gd name="T11" fmla="*/ 879 h 2998"/>
              <a:gd name="T12" fmla="*/ 1054 w 2999"/>
              <a:gd name="T13" fmla="*/ 1364 h 2998"/>
              <a:gd name="T14" fmla="*/ 1274 w 2999"/>
              <a:gd name="T15" fmla="*/ 1364 h 2998"/>
              <a:gd name="T16" fmla="*/ 511 w 2999"/>
              <a:gd name="T17" fmla="*/ 766 h 2998"/>
              <a:gd name="T18" fmla="*/ 436 w 2999"/>
              <a:gd name="T19" fmla="*/ 879 h 2998"/>
              <a:gd name="T20" fmla="*/ 276 w 2999"/>
              <a:gd name="T21" fmla="*/ 1634 h 2998"/>
              <a:gd name="T22" fmla="*/ 1499 w 2999"/>
              <a:gd name="T23" fmla="*/ 2729 h 2998"/>
              <a:gd name="T24" fmla="*/ 2730 w 2999"/>
              <a:gd name="T25" fmla="*/ 1499 h 2998"/>
              <a:gd name="T26" fmla="*/ 1634 w 2999"/>
              <a:gd name="T27" fmla="*/ 276 h 2998"/>
              <a:gd name="T28" fmla="*/ 1634 w 2999"/>
              <a:gd name="T29" fmla="*/ 1499 h 2998"/>
              <a:gd name="T30" fmla="*/ 1499 w 2999"/>
              <a:gd name="T31" fmla="*/ 1634 h 2998"/>
              <a:gd name="T32" fmla="*/ 276 w 2999"/>
              <a:gd name="T33" fmla="*/ 1634 h 2998"/>
              <a:gd name="T34" fmla="*/ 619 w 2999"/>
              <a:gd name="T35" fmla="*/ 1364 h 2998"/>
              <a:gd name="T36" fmla="*/ 324 w 2999"/>
              <a:gd name="T37" fmla="*/ 1133 h 2998"/>
              <a:gd name="T38" fmla="*/ 276 w 2999"/>
              <a:gd name="T39" fmla="*/ 1364 h 2998"/>
              <a:gd name="T40" fmla="*/ 619 w 2999"/>
              <a:gd name="T41" fmla="*/ 1364 h 2998"/>
              <a:gd name="T42" fmla="*/ 695 w 2999"/>
              <a:gd name="T43" fmla="*/ 568 h 2998"/>
              <a:gd name="T44" fmla="*/ 1365 w 2999"/>
              <a:gd name="T45" fmla="*/ 1094 h 2998"/>
              <a:gd name="T46" fmla="*/ 1365 w 2999"/>
              <a:gd name="T47" fmla="*/ 911 h 2998"/>
              <a:gd name="T48" fmla="*/ 813 w 2999"/>
              <a:gd name="T49" fmla="*/ 478 h 2998"/>
              <a:gd name="T50" fmla="*/ 695 w 2999"/>
              <a:gd name="T51" fmla="*/ 568 h 2998"/>
              <a:gd name="T52" fmla="*/ 1077 w 2999"/>
              <a:gd name="T53" fmla="*/ 343 h 2998"/>
              <a:gd name="T54" fmla="*/ 1365 w 2999"/>
              <a:gd name="T55" fmla="*/ 569 h 2998"/>
              <a:gd name="T56" fmla="*/ 1365 w 2999"/>
              <a:gd name="T57" fmla="*/ 276 h 2998"/>
              <a:gd name="T58" fmla="*/ 1077 w 2999"/>
              <a:gd name="T59" fmla="*/ 343 h 2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9" h="2998">
                <a:moveTo>
                  <a:pt x="1499" y="0"/>
                </a:moveTo>
                <a:cubicBezTo>
                  <a:pt x="2327" y="0"/>
                  <a:pt x="2999" y="671"/>
                  <a:pt x="2999" y="1499"/>
                </a:cubicBezTo>
                <a:cubicBezTo>
                  <a:pt x="2999" y="2327"/>
                  <a:pt x="2327" y="2998"/>
                  <a:pt x="1499" y="2998"/>
                </a:cubicBezTo>
                <a:cubicBezTo>
                  <a:pt x="671" y="2998"/>
                  <a:pt x="0" y="2327"/>
                  <a:pt x="0" y="1499"/>
                </a:cubicBezTo>
                <a:cubicBezTo>
                  <a:pt x="0" y="671"/>
                  <a:pt x="671" y="0"/>
                  <a:pt x="1499" y="0"/>
                </a:cubicBezTo>
                <a:close/>
                <a:moveTo>
                  <a:pt x="436" y="879"/>
                </a:moveTo>
                <a:cubicBezTo>
                  <a:pt x="1054" y="1364"/>
                  <a:pt x="1054" y="1364"/>
                  <a:pt x="1054" y="1364"/>
                </a:cubicBezTo>
                <a:cubicBezTo>
                  <a:pt x="1274" y="1364"/>
                  <a:pt x="1274" y="1364"/>
                  <a:pt x="1274" y="1364"/>
                </a:cubicBezTo>
                <a:cubicBezTo>
                  <a:pt x="511" y="766"/>
                  <a:pt x="511" y="766"/>
                  <a:pt x="511" y="766"/>
                </a:cubicBezTo>
                <a:cubicBezTo>
                  <a:pt x="484" y="802"/>
                  <a:pt x="459" y="840"/>
                  <a:pt x="436" y="879"/>
                </a:cubicBezTo>
                <a:close/>
                <a:moveTo>
                  <a:pt x="276" y="1634"/>
                </a:moveTo>
                <a:cubicBezTo>
                  <a:pt x="344" y="2256"/>
                  <a:pt x="872" y="2729"/>
                  <a:pt x="1499" y="2729"/>
                </a:cubicBezTo>
                <a:cubicBezTo>
                  <a:pt x="2179" y="2729"/>
                  <a:pt x="2730" y="2179"/>
                  <a:pt x="2730" y="1499"/>
                </a:cubicBezTo>
                <a:cubicBezTo>
                  <a:pt x="2730" y="872"/>
                  <a:pt x="2257" y="344"/>
                  <a:pt x="1634" y="276"/>
                </a:cubicBezTo>
                <a:cubicBezTo>
                  <a:pt x="1634" y="1499"/>
                  <a:pt x="1634" y="1499"/>
                  <a:pt x="1634" y="1499"/>
                </a:cubicBezTo>
                <a:cubicBezTo>
                  <a:pt x="1634" y="1573"/>
                  <a:pt x="1574" y="1634"/>
                  <a:pt x="1499" y="1634"/>
                </a:cubicBezTo>
                <a:cubicBezTo>
                  <a:pt x="1089" y="1634"/>
                  <a:pt x="688" y="1634"/>
                  <a:pt x="276" y="1634"/>
                </a:cubicBezTo>
                <a:close/>
                <a:moveTo>
                  <a:pt x="619" y="1364"/>
                </a:moveTo>
                <a:cubicBezTo>
                  <a:pt x="324" y="1133"/>
                  <a:pt x="324" y="1133"/>
                  <a:pt x="324" y="1133"/>
                </a:cubicBezTo>
                <a:cubicBezTo>
                  <a:pt x="301" y="1207"/>
                  <a:pt x="285" y="1285"/>
                  <a:pt x="276" y="1364"/>
                </a:cubicBezTo>
                <a:lnTo>
                  <a:pt x="619" y="1364"/>
                </a:lnTo>
                <a:close/>
                <a:moveTo>
                  <a:pt x="695" y="568"/>
                </a:moveTo>
                <a:cubicBezTo>
                  <a:pt x="1365" y="1094"/>
                  <a:pt x="1365" y="1094"/>
                  <a:pt x="1365" y="1094"/>
                </a:cubicBezTo>
                <a:cubicBezTo>
                  <a:pt x="1365" y="911"/>
                  <a:pt x="1365" y="911"/>
                  <a:pt x="1365" y="911"/>
                </a:cubicBezTo>
                <a:cubicBezTo>
                  <a:pt x="813" y="478"/>
                  <a:pt x="813" y="478"/>
                  <a:pt x="813" y="478"/>
                </a:cubicBezTo>
                <a:cubicBezTo>
                  <a:pt x="772" y="506"/>
                  <a:pt x="732" y="536"/>
                  <a:pt x="695" y="568"/>
                </a:cubicBezTo>
                <a:close/>
                <a:moveTo>
                  <a:pt x="1077" y="343"/>
                </a:moveTo>
                <a:cubicBezTo>
                  <a:pt x="1365" y="569"/>
                  <a:pt x="1365" y="569"/>
                  <a:pt x="1365" y="569"/>
                </a:cubicBezTo>
                <a:cubicBezTo>
                  <a:pt x="1365" y="276"/>
                  <a:pt x="1365" y="276"/>
                  <a:pt x="1365" y="276"/>
                </a:cubicBezTo>
                <a:cubicBezTo>
                  <a:pt x="1265" y="287"/>
                  <a:pt x="1168" y="310"/>
                  <a:pt x="1077" y="3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217">
            <a:extLst>
              <a:ext uri="{FF2B5EF4-FFF2-40B4-BE49-F238E27FC236}">
                <a16:creationId xmlns:a16="http://schemas.microsoft.com/office/drawing/2014/main" id="{3FFAAEE7-98A2-4343-BEAC-2CA6744D2D4D}"/>
              </a:ext>
            </a:extLst>
          </p:cNvPr>
          <p:cNvGrpSpPr>
            <a:grpSpLocks noChangeAspect="1"/>
          </p:cNvGrpSpPr>
          <p:nvPr/>
        </p:nvGrpSpPr>
        <p:grpSpPr bwMode="auto">
          <a:xfrm>
            <a:off x="7083396" y="1930810"/>
            <a:ext cx="391259" cy="388327"/>
            <a:chOff x="3734" y="1898"/>
            <a:chExt cx="267" cy="265"/>
          </a:xfrm>
          <a:solidFill>
            <a:schemeClr val="bg1"/>
          </a:solidFill>
        </p:grpSpPr>
        <p:sp>
          <p:nvSpPr>
            <p:cNvPr id="72" name="Freeform 218">
              <a:extLst>
                <a:ext uri="{FF2B5EF4-FFF2-40B4-BE49-F238E27FC236}">
                  <a16:creationId xmlns:a16="http://schemas.microsoft.com/office/drawing/2014/main" id="{6E489731-7D60-40B2-A734-1D0DF4E51BF8}"/>
                </a:ext>
              </a:extLst>
            </p:cNvPr>
            <p:cNvSpPr>
              <a:spLocks/>
            </p:cNvSpPr>
            <p:nvPr/>
          </p:nvSpPr>
          <p:spPr bwMode="auto">
            <a:xfrm>
              <a:off x="3734" y="1934"/>
              <a:ext cx="223" cy="229"/>
            </a:xfrm>
            <a:custGeom>
              <a:avLst/>
              <a:gdLst>
                <a:gd name="T0" fmla="*/ 300 w 353"/>
                <a:gd name="T1" fmla="*/ 105 h 365"/>
                <a:gd name="T2" fmla="*/ 260 w 353"/>
                <a:gd name="T3" fmla="*/ 300 h 365"/>
                <a:gd name="T4" fmla="*/ 65 w 353"/>
                <a:gd name="T5" fmla="*/ 260 h 365"/>
                <a:gd name="T6" fmla="*/ 105 w 353"/>
                <a:gd name="T7" fmla="*/ 65 h 365"/>
                <a:gd name="T8" fmla="*/ 260 w 353"/>
                <a:gd name="T9" fmla="*/ 65 h 365"/>
                <a:gd name="T10" fmla="*/ 275 w 353"/>
                <a:gd name="T11" fmla="*/ 50 h 365"/>
                <a:gd name="T12" fmla="*/ 51 w 353"/>
                <a:gd name="T13" fmla="*/ 90 h 365"/>
                <a:gd name="T14" fmla="*/ 91 w 353"/>
                <a:gd name="T15" fmla="*/ 314 h 365"/>
                <a:gd name="T16" fmla="*/ 315 w 353"/>
                <a:gd name="T17" fmla="*/ 274 h 365"/>
                <a:gd name="T18" fmla="*/ 315 w 353"/>
                <a:gd name="T19" fmla="*/ 90 h 365"/>
                <a:gd name="T20" fmla="*/ 300 w 353"/>
                <a:gd name="T21" fmla="*/ 10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65">
                  <a:moveTo>
                    <a:pt x="300" y="105"/>
                  </a:moveTo>
                  <a:cubicBezTo>
                    <a:pt x="343" y="170"/>
                    <a:pt x="325" y="257"/>
                    <a:pt x="260" y="300"/>
                  </a:cubicBezTo>
                  <a:cubicBezTo>
                    <a:pt x="195" y="343"/>
                    <a:pt x="108" y="325"/>
                    <a:pt x="65" y="260"/>
                  </a:cubicBezTo>
                  <a:cubicBezTo>
                    <a:pt x="22" y="195"/>
                    <a:pt x="40" y="108"/>
                    <a:pt x="105" y="65"/>
                  </a:cubicBezTo>
                  <a:cubicBezTo>
                    <a:pt x="152" y="34"/>
                    <a:pt x="213" y="34"/>
                    <a:pt x="260" y="65"/>
                  </a:cubicBezTo>
                  <a:cubicBezTo>
                    <a:pt x="275" y="50"/>
                    <a:pt x="275" y="50"/>
                    <a:pt x="275" y="50"/>
                  </a:cubicBezTo>
                  <a:cubicBezTo>
                    <a:pt x="202" y="0"/>
                    <a:pt x="101" y="17"/>
                    <a:pt x="51" y="90"/>
                  </a:cubicBezTo>
                  <a:cubicBezTo>
                    <a:pt x="0" y="163"/>
                    <a:pt x="18" y="264"/>
                    <a:pt x="91" y="314"/>
                  </a:cubicBezTo>
                  <a:cubicBezTo>
                    <a:pt x="163" y="365"/>
                    <a:pt x="264" y="347"/>
                    <a:pt x="315" y="274"/>
                  </a:cubicBezTo>
                  <a:cubicBezTo>
                    <a:pt x="353" y="219"/>
                    <a:pt x="353" y="146"/>
                    <a:pt x="315" y="90"/>
                  </a:cubicBezTo>
                  <a:lnTo>
                    <a:pt x="3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19">
              <a:extLst>
                <a:ext uri="{FF2B5EF4-FFF2-40B4-BE49-F238E27FC236}">
                  <a16:creationId xmlns:a16="http://schemas.microsoft.com/office/drawing/2014/main" id="{DD1E3E53-DE96-40C0-B8D5-076A127ED0FE}"/>
                </a:ext>
              </a:extLst>
            </p:cNvPr>
            <p:cNvSpPr>
              <a:spLocks/>
            </p:cNvSpPr>
            <p:nvPr/>
          </p:nvSpPr>
          <p:spPr bwMode="auto">
            <a:xfrm>
              <a:off x="3777" y="1976"/>
              <a:ext cx="138" cy="145"/>
            </a:xfrm>
            <a:custGeom>
              <a:avLst/>
              <a:gdLst>
                <a:gd name="T0" fmla="*/ 115 w 219"/>
                <a:gd name="T1" fmla="*/ 34 h 229"/>
                <a:gd name="T2" fmla="*/ 148 w 219"/>
                <a:gd name="T3" fmla="*/ 41 h 229"/>
                <a:gd name="T4" fmla="*/ 163 w 219"/>
                <a:gd name="T5" fmla="*/ 26 h 229"/>
                <a:gd name="T6" fmla="*/ 27 w 219"/>
                <a:gd name="T7" fmla="*/ 66 h 229"/>
                <a:gd name="T8" fmla="*/ 67 w 219"/>
                <a:gd name="T9" fmla="*/ 202 h 229"/>
                <a:gd name="T10" fmla="*/ 203 w 219"/>
                <a:gd name="T11" fmla="*/ 162 h 229"/>
                <a:gd name="T12" fmla="*/ 203 w 219"/>
                <a:gd name="T13" fmla="*/ 66 h 229"/>
                <a:gd name="T14" fmla="*/ 188 w 219"/>
                <a:gd name="T15" fmla="*/ 81 h 229"/>
                <a:gd name="T16" fmla="*/ 195 w 219"/>
                <a:gd name="T17" fmla="*/ 114 h 229"/>
                <a:gd name="T18" fmla="*/ 115 w 219"/>
                <a:gd name="T19" fmla="*/ 194 h 229"/>
                <a:gd name="T20" fmla="*/ 35 w 219"/>
                <a:gd name="T21" fmla="*/ 114 h 229"/>
                <a:gd name="T22" fmla="*/ 115 w 219"/>
                <a:gd name="T23" fmla="*/ 3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29">
                  <a:moveTo>
                    <a:pt x="115" y="34"/>
                  </a:moveTo>
                  <a:cubicBezTo>
                    <a:pt x="126" y="34"/>
                    <a:pt x="137" y="37"/>
                    <a:pt x="148" y="41"/>
                  </a:cubicBezTo>
                  <a:cubicBezTo>
                    <a:pt x="163" y="26"/>
                    <a:pt x="163" y="26"/>
                    <a:pt x="163" y="26"/>
                  </a:cubicBezTo>
                  <a:cubicBezTo>
                    <a:pt x="114" y="0"/>
                    <a:pt x="53" y="18"/>
                    <a:pt x="27" y="66"/>
                  </a:cubicBezTo>
                  <a:cubicBezTo>
                    <a:pt x="0" y="115"/>
                    <a:pt x="18" y="176"/>
                    <a:pt x="67" y="202"/>
                  </a:cubicBezTo>
                  <a:cubicBezTo>
                    <a:pt x="115" y="229"/>
                    <a:pt x="176" y="211"/>
                    <a:pt x="203" y="162"/>
                  </a:cubicBezTo>
                  <a:cubicBezTo>
                    <a:pt x="219" y="132"/>
                    <a:pt x="219" y="96"/>
                    <a:pt x="203" y="66"/>
                  </a:cubicBezTo>
                  <a:cubicBezTo>
                    <a:pt x="188" y="81"/>
                    <a:pt x="188" y="81"/>
                    <a:pt x="188" y="81"/>
                  </a:cubicBezTo>
                  <a:cubicBezTo>
                    <a:pt x="192" y="92"/>
                    <a:pt x="195" y="103"/>
                    <a:pt x="195" y="114"/>
                  </a:cubicBezTo>
                  <a:cubicBezTo>
                    <a:pt x="195" y="158"/>
                    <a:pt x="159" y="194"/>
                    <a:pt x="115" y="194"/>
                  </a:cubicBezTo>
                  <a:cubicBezTo>
                    <a:pt x="71" y="194"/>
                    <a:pt x="35" y="158"/>
                    <a:pt x="35" y="114"/>
                  </a:cubicBezTo>
                  <a:cubicBezTo>
                    <a:pt x="35" y="70"/>
                    <a:pt x="71" y="34"/>
                    <a:pt x="115"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20">
              <a:extLst>
                <a:ext uri="{FF2B5EF4-FFF2-40B4-BE49-F238E27FC236}">
                  <a16:creationId xmlns:a16="http://schemas.microsoft.com/office/drawing/2014/main" id="{E961006D-A196-460E-A175-22F937EC0D0D}"/>
                </a:ext>
              </a:extLst>
            </p:cNvPr>
            <p:cNvSpPr>
              <a:spLocks/>
            </p:cNvSpPr>
            <p:nvPr/>
          </p:nvSpPr>
          <p:spPr bwMode="auto">
            <a:xfrm>
              <a:off x="3845" y="1898"/>
              <a:ext cx="156" cy="155"/>
            </a:xfrm>
            <a:custGeom>
              <a:avLst/>
              <a:gdLst>
                <a:gd name="T0" fmla="*/ 236 w 246"/>
                <a:gd name="T1" fmla="*/ 51 h 246"/>
                <a:gd name="T2" fmla="*/ 213 w 246"/>
                <a:gd name="T3" fmla="*/ 33 h 246"/>
                <a:gd name="T4" fmla="*/ 200 w 246"/>
                <a:gd name="T5" fmla="*/ 18 h 246"/>
                <a:gd name="T6" fmla="*/ 195 w 246"/>
                <a:gd name="T7" fmla="*/ 10 h 246"/>
                <a:gd name="T8" fmla="*/ 188 w 246"/>
                <a:gd name="T9" fmla="*/ 0 h 246"/>
                <a:gd name="T10" fmla="*/ 126 w 246"/>
                <a:gd name="T11" fmla="*/ 62 h 246"/>
                <a:gd name="T12" fmla="*/ 126 w 246"/>
                <a:gd name="T13" fmla="*/ 106 h 246"/>
                <a:gd name="T14" fmla="*/ 0 w 246"/>
                <a:gd name="T15" fmla="*/ 232 h 246"/>
                <a:gd name="T16" fmla="*/ 1 w 246"/>
                <a:gd name="T17" fmla="*/ 245 h 246"/>
                <a:gd name="T18" fmla="*/ 14 w 246"/>
                <a:gd name="T19" fmla="*/ 246 h 246"/>
                <a:gd name="T20" fmla="*/ 140 w 246"/>
                <a:gd name="T21" fmla="*/ 120 h 246"/>
                <a:gd name="T22" fmla="*/ 184 w 246"/>
                <a:gd name="T23" fmla="*/ 120 h 246"/>
                <a:gd name="T24" fmla="*/ 246 w 246"/>
                <a:gd name="T25" fmla="*/ 58 h 246"/>
                <a:gd name="T26" fmla="*/ 236 w 246"/>
                <a:gd name="T27" fmla="*/ 5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 h="246">
                  <a:moveTo>
                    <a:pt x="236" y="51"/>
                  </a:moveTo>
                  <a:cubicBezTo>
                    <a:pt x="228" y="46"/>
                    <a:pt x="220" y="40"/>
                    <a:pt x="213" y="33"/>
                  </a:cubicBezTo>
                  <a:cubicBezTo>
                    <a:pt x="209" y="28"/>
                    <a:pt x="204" y="23"/>
                    <a:pt x="200" y="18"/>
                  </a:cubicBezTo>
                  <a:cubicBezTo>
                    <a:pt x="197" y="13"/>
                    <a:pt x="195" y="10"/>
                    <a:pt x="195" y="10"/>
                  </a:cubicBezTo>
                  <a:cubicBezTo>
                    <a:pt x="188" y="0"/>
                    <a:pt x="188" y="0"/>
                    <a:pt x="188" y="0"/>
                  </a:cubicBezTo>
                  <a:cubicBezTo>
                    <a:pt x="126" y="62"/>
                    <a:pt x="126" y="62"/>
                    <a:pt x="126" y="62"/>
                  </a:cubicBezTo>
                  <a:cubicBezTo>
                    <a:pt x="126" y="106"/>
                    <a:pt x="126" y="106"/>
                    <a:pt x="126" y="106"/>
                  </a:cubicBezTo>
                  <a:cubicBezTo>
                    <a:pt x="0" y="232"/>
                    <a:pt x="0" y="232"/>
                    <a:pt x="0" y="232"/>
                  </a:cubicBezTo>
                  <a:cubicBezTo>
                    <a:pt x="1" y="245"/>
                    <a:pt x="1" y="245"/>
                    <a:pt x="1" y="245"/>
                  </a:cubicBezTo>
                  <a:cubicBezTo>
                    <a:pt x="14" y="246"/>
                    <a:pt x="14" y="246"/>
                    <a:pt x="14" y="246"/>
                  </a:cubicBezTo>
                  <a:cubicBezTo>
                    <a:pt x="140" y="120"/>
                    <a:pt x="140" y="120"/>
                    <a:pt x="140" y="120"/>
                  </a:cubicBezTo>
                  <a:cubicBezTo>
                    <a:pt x="184" y="120"/>
                    <a:pt x="184" y="120"/>
                    <a:pt x="184" y="120"/>
                  </a:cubicBezTo>
                  <a:cubicBezTo>
                    <a:pt x="246" y="58"/>
                    <a:pt x="246" y="58"/>
                    <a:pt x="246" y="58"/>
                  </a:cubicBezTo>
                  <a:lnTo>
                    <a:pt x="2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 name="Freeform 224">
            <a:extLst>
              <a:ext uri="{FF2B5EF4-FFF2-40B4-BE49-F238E27FC236}">
                <a16:creationId xmlns:a16="http://schemas.microsoft.com/office/drawing/2014/main" id="{64C09F5A-2A42-45B1-9B13-3B563626F47F}"/>
              </a:ext>
            </a:extLst>
          </p:cNvPr>
          <p:cNvSpPr>
            <a:spLocks noEditPoints="1"/>
          </p:cNvSpPr>
          <p:nvPr/>
        </p:nvSpPr>
        <p:spPr bwMode="auto">
          <a:xfrm>
            <a:off x="5977314" y="5051802"/>
            <a:ext cx="321178" cy="316078"/>
          </a:xfrm>
          <a:custGeom>
            <a:avLst/>
            <a:gdLst>
              <a:gd name="T0" fmla="*/ 102 w 107"/>
              <a:gd name="T1" fmla="*/ 0 h 106"/>
              <a:gd name="T2" fmla="*/ 106 w 107"/>
              <a:gd name="T3" fmla="*/ 4 h 106"/>
              <a:gd name="T4" fmla="*/ 102 w 107"/>
              <a:gd name="T5" fmla="*/ 41 h 106"/>
              <a:gd name="T6" fmla="*/ 86 w 107"/>
              <a:gd name="T7" fmla="*/ 26 h 106"/>
              <a:gd name="T8" fmla="*/ 43 w 107"/>
              <a:gd name="T9" fmla="*/ 84 h 106"/>
              <a:gd name="T10" fmla="*/ 37 w 107"/>
              <a:gd name="T11" fmla="*/ 98 h 106"/>
              <a:gd name="T12" fmla="*/ 8 w 107"/>
              <a:gd name="T13" fmla="*/ 69 h 106"/>
              <a:gd name="T14" fmla="*/ 22 w 107"/>
              <a:gd name="T15" fmla="*/ 63 h 106"/>
              <a:gd name="T16" fmla="*/ 80 w 107"/>
              <a:gd name="T17" fmla="*/ 20 h 106"/>
              <a:gd name="T18" fmla="*/ 66 w 107"/>
              <a:gd name="T19" fmla="*/ 1 h 106"/>
              <a:gd name="T20" fmla="*/ 32 w 107"/>
              <a:gd name="T21" fmla="*/ 74 h 106"/>
              <a:gd name="T22" fmla="*/ 32 w 107"/>
              <a:gd name="T23" fmla="*/ 74 h 106"/>
              <a:gd name="T24" fmla="*/ 13 w 107"/>
              <a:gd name="T25" fmla="*/ 75 h 106"/>
              <a:gd name="T26" fmla="*/ 10 w 107"/>
              <a:gd name="T27" fmla="*/ 84 h 106"/>
              <a:gd name="T28" fmla="*/ 32 w 107"/>
              <a:gd name="T29" fmla="*/ 93 h 106"/>
              <a:gd name="T30" fmla="*/ 36 w 107"/>
              <a:gd name="T31" fmla="*/ 84 h 106"/>
              <a:gd name="T32" fmla="*/ 32 w 107"/>
              <a:gd name="T33" fmla="*/ 74 h 106"/>
              <a:gd name="T34" fmla="*/ 66 w 107"/>
              <a:gd name="T35" fmla="*/ 103 h 106"/>
              <a:gd name="T36" fmla="*/ 81 w 107"/>
              <a:gd name="T37" fmla="*/ 84 h 106"/>
              <a:gd name="T38" fmla="*/ 67 w 107"/>
              <a:gd name="T39" fmla="*/ 64 h 106"/>
              <a:gd name="T40" fmla="*/ 86 w 107"/>
              <a:gd name="T41" fmla="*/ 78 h 106"/>
              <a:gd name="T42" fmla="*/ 105 w 107"/>
              <a:gd name="T43" fmla="*/ 64 h 106"/>
              <a:gd name="T44" fmla="*/ 91 w 107"/>
              <a:gd name="T45" fmla="*/ 84 h 106"/>
              <a:gd name="T46" fmla="*/ 105 w 107"/>
              <a:gd name="T47" fmla="*/ 103 h 106"/>
              <a:gd name="T48" fmla="*/ 86 w 107"/>
              <a:gd name="T49" fmla="*/ 89 h 106"/>
              <a:gd name="T50" fmla="*/ 8 w 107"/>
              <a:gd name="T51" fmla="*/ 40 h 106"/>
              <a:gd name="T52" fmla="*/ 3 w 107"/>
              <a:gd name="T53" fmla="*/ 35 h 106"/>
              <a:gd name="T54" fmla="*/ 3 w 107"/>
              <a:gd name="T55" fmla="*/ 6 h 106"/>
              <a:gd name="T56" fmla="*/ 8 w 107"/>
              <a:gd name="T57" fmla="*/ 1 h 106"/>
              <a:gd name="T58" fmla="*/ 37 w 107"/>
              <a:gd name="T59" fmla="*/ 1 h 106"/>
              <a:gd name="T60" fmla="*/ 42 w 107"/>
              <a:gd name="T61" fmla="*/ 6 h 106"/>
              <a:gd name="T62" fmla="*/ 42 w 107"/>
              <a:gd name="T63" fmla="*/ 35 h 106"/>
              <a:gd name="T64" fmla="*/ 37 w 107"/>
              <a:gd name="T65" fmla="*/ 40 h 106"/>
              <a:gd name="T66" fmla="*/ 8 w 107"/>
              <a:gd name="T67" fmla="*/ 40 h 106"/>
              <a:gd name="T68" fmla="*/ 78 w 107"/>
              <a:gd name="T69" fmla="*/ 7 h 106"/>
              <a:gd name="T70" fmla="*/ 99 w 107"/>
              <a:gd name="T71" fmla="*/ 2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7" h="106">
                <a:moveTo>
                  <a:pt x="69" y="0"/>
                </a:moveTo>
                <a:cubicBezTo>
                  <a:pt x="102" y="0"/>
                  <a:pt x="102" y="0"/>
                  <a:pt x="102" y="0"/>
                </a:cubicBezTo>
                <a:cubicBezTo>
                  <a:pt x="104" y="0"/>
                  <a:pt x="106" y="2"/>
                  <a:pt x="106" y="4"/>
                </a:cubicBezTo>
                <a:cubicBezTo>
                  <a:pt x="106" y="4"/>
                  <a:pt x="106" y="4"/>
                  <a:pt x="106" y="4"/>
                </a:cubicBezTo>
                <a:cubicBezTo>
                  <a:pt x="106" y="37"/>
                  <a:pt x="106" y="37"/>
                  <a:pt x="106" y="37"/>
                </a:cubicBezTo>
                <a:cubicBezTo>
                  <a:pt x="106" y="39"/>
                  <a:pt x="104" y="41"/>
                  <a:pt x="102" y="41"/>
                </a:cubicBezTo>
                <a:cubicBezTo>
                  <a:pt x="101" y="41"/>
                  <a:pt x="100" y="40"/>
                  <a:pt x="100" y="40"/>
                </a:cubicBezTo>
                <a:cubicBezTo>
                  <a:pt x="86" y="26"/>
                  <a:pt x="86" y="26"/>
                  <a:pt x="86" y="26"/>
                </a:cubicBezTo>
                <a:cubicBezTo>
                  <a:pt x="39" y="72"/>
                  <a:pt x="39" y="72"/>
                  <a:pt x="39" y="72"/>
                </a:cubicBezTo>
                <a:cubicBezTo>
                  <a:pt x="42" y="75"/>
                  <a:pt x="43" y="79"/>
                  <a:pt x="43" y="84"/>
                </a:cubicBezTo>
                <a:cubicBezTo>
                  <a:pt x="43" y="89"/>
                  <a:pt x="41" y="94"/>
                  <a:pt x="37" y="98"/>
                </a:cubicBezTo>
                <a:cubicBezTo>
                  <a:pt x="37" y="98"/>
                  <a:pt x="37" y="98"/>
                  <a:pt x="37" y="98"/>
                </a:cubicBezTo>
                <a:cubicBezTo>
                  <a:pt x="29" y="106"/>
                  <a:pt x="16" y="106"/>
                  <a:pt x="8" y="98"/>
                </a:cubicBezTo>
                <a:cubicBezTo>
                  <a:pt x="0" y="90"/>
                  <a:pt x="0" y="77"/>
                  <a:pt x="8" y="69"/>
                </a:cubicBezTo>
                <a:cubicBezTo>
                  <a:pt x="8" y="69"/>
                  <a:pt x="8" y="69"/>
                  <a:pt x="8" y="69"/>
                </a:cubicBezTo>
                <a:cubicBezTo>
                  <a:pt x="12" y="65"/>
                  <a:pt x="17" y="63"/>
                  <a:pt x="22" y="63"/>
                </a:cubicBezTo>
                <a:cubicBezTo>
                  <a:pt x="27" y="63"/>
                  <a:pt x="31" y="64"/>
                  <a:pt x="34" y="67"/>
                </a:cubicBezTo>
                <a:cubicBezTo>
                  <a:pt x="80" y="20"/>
                  <a:pt x="80" y="20"/>
                  <a:pt x="80" y="20"/>
                </a:cubicBezTo>
                <a:cubicBezTo>
                  <a:pt x="66" y="6"/>
                  <a:pt x="66" y="6"/>
                  <a:pt x="66" y="6"/>
                </a:cubicBezTo>
                <a:cubicBezTo>
                  <a:pt x="65" y="5"/>
                  <a:pt x="65" y="3"/>
                  <a:pt x="66" y="1"/>
                </a:cubicBezTo>
                <a:cubicBezTo>
                  <a:pt x="67" y="0"/>
                  <a:pt x="68" y="0"/>
                  <a:pt x="69" y="0"/>
                </a:cubicBezTo>
                <a:close/>
                <a:moveTo>
                  <a:pt x="32" y="74"/>
                </a:moveTo>
                <a:cubicBezTo>
                  <a:pt x="32" y="74"/>
                  <a:pt x="32" y="74"/>
                  <a:pt x="32" y="74"/>
                </a:cubicBezTo>
                <a:cubicBezTo>
                  <a:pt x="32" y="74"/>
                  <a:pt x="32" y="74"/>
                  <a:pt x="32" y="74"/>
                </a:cubicBezTo>
                <a:cubicBezTo>
                  <a:pt x="29" y="72"/>
                  <a:pt x="26" y="71"/>
                  <a:pt x="23" y="71"/>
                </a:cubicBezTo>
                <a:cubicBezTo>
                  <a:pt x="19" y="71"/>
                  <a:pt x="16" y="72"/>
                  <a:pt x="13" y="75"/>
                </a:cubicBezTo>
                <a:cubicBezTo>
                  <a:pt x="13" y="75"/>
                  <a:pt x="13" y="75"/>
                  <a:pt x="13" y="75"/>
                </a:cubicBezTo>
                <a:cubicBezTo>
                  <a:pt x="11" y="77"/>
                  <a:pt x="10" y="80"/>
                  <a:pt x="10" y="84"/>
                </a:cubicBezTo>
                <a:cubicBezTo>
                  <a:pt x="10" y="87"/>
                  <a:pt x="11" y="90"/>
                  <a:pt x="13" y="93"/>
                </a:cubicBezTo>
                <a:cubicBezTo>
                  <a:pt x="18" y="98"/>
                  <a:pt x="27" y="98"/>
                  <a:pt x="32" y="93"/>
                </a:cubicBezTo>
                <a:cubicBezTo>
                  <a:pt x="32" y="93"/>
                  <a:pt x="32" y="93"/>
                  <a:pt x="32" y="93"/>
                </a:cubicBezTo>
                <a:cubicBezTo>
                  <a:pt x="34" y="90"/>
                  <a:pt x="36" y="87"/>
                  <a:pt x="36" y="84"/>
                </a:cubicBezTo>
                <a:cubicBezTo>
                  <a:pt x="36" y="80"/>
                  <a:pt x="34" y="77"/>
                  <a:pt x="32" y="75"/>
                </a:cubicBezTo>
                <a:lnTo>
                  <a:pt x="32" y="74"/>
                </a:lnTo>
                <a:close/>
                <a:moveTo>
                  <a:pt x="72" y="103"/>
                </a:moveTo>
                <a:cubicBezTo>
                  <a:pt x="70" y="104"/>
                  <a:pt x="68" y="104"/>
                  <a:pt x="66" y="103"/>
                </a:cubicBezTo>
                <a:cubicBezTo>
                  <a:pt x="65" y="101"/>
                  <a:pt x="65" y="99"/>
                  <a:pt x="66" y="98"/>
                </a:cubicBezTo>
                <a:cubicBezTo>
                  <a:pt x="81" y="84"/>
                  <a:pt x="81" y="84"/>
                  <a:pt x="81" y="84"/>
                </a:cubicBezTo>
                <a:cubicBezTo>
                  <a:pt x="66" y="69"/>
                  <a:pt x="66" y="69"/>
                  <a:pt x="66" y="69"/>
                </a:cubicBezTo>
                <a:cubicBezTo>
                  <a:pt x="65" y="68"/>
                  <a:pt x="65" y="66"/>
                  <a:pt x="67" y="64"/>
                </a:cubicBezTo>
                <a:cubicBezTo>
                  <a:pt x="68" y="63"/>
                  <a:pt x="70" y="63"/>
                  <a:pt x="72" y="64"/>
                </a:cubicBezTo>
                <a:cubicBezTo>
                  <a:pt x="86" y="78"/>
                  <a:pt x="86" y="78"/>
                  <a:pt x="86" y="78"/>
                </a:cubicBezTo>
                <a:cubicBezTo>
                  <a:pt x="100" y="64"/>
                  <a:pt x="100" y="64"/>
                  <a:pt x="100" y="64"/>
                </a:cubicBezTo>
                <a:cubicBezTo>
                  <a:pt x="101" y="63"/>
                  <a:pt x="104" y="63"/>
                  <a:pt x="105" y="64"/>
                </a:cubicBezTo>
                <a:cubicBezTo>
                  <a:pt x="107" y="66"/>
                  <a:pt x="107" y="68"/>
                  <a:pt x="105" y="69"/>
                </a:cubicBezTo>
                <a:cubicBezTo>
                  <a:pt x="91" y="84"/>
                  <a:pt x="91" y="84"/>
                  <a:pt x="91" y="84"/>
                </a:cubicBezTo>
                <a:cubicBezTo>
                  <a:pt x="105" y="98"/>
                  <a:pt x="105" y="98"/>
                  <a:pt x="105" y="98"/>
                </a:cubicBezTo>
                <a:cubicBezTo>
                  <a:pt x="107" y="99"/>
                  <a:pt x="107" y="101"/>
                  <a:pt x="105" y="103"/>
                </a:cubicBezTo>
                <a:cubicBezTo>
                  <a:pt x="104" y="104"/>
                  <a:pt x="101" y="104"/>
                  <a:pt x="100" y="103"/>
                </a:cubicBezTo>
                <a:cubicBezTo>
                  <a:pt x="86" y="89"/>
                  <a:pt x="86" y="89"/>
                  <a:pt x="86" y="89"/>
                </a:cubicBezTo>
                <a:lnTo>
                  <a:pt x="72" y="103"/>
                </a:lnTo>
                <a:close/>
                <a:moveTo>
                  <a:pt x="8" y="40"/>
                </a:moveTo>
                <a:cubicBezTo>
                  <a:pt x="7" y="41"/>
                  <a:pt x="5" y="41"/>
                  <a:pt x="3" y="40"/>
                </a:cubicBezTo>
                <a:cubicBezTo>
                  <a:pt x="2" y="38"/>
                  <a:pt x="2" y="36"/>
                  <a:pt x="3" y="35"/>
                </a:cubicBezTo>
                <a:cubicBezTo>
                  <a:pt x="17" y="20"/>
                  <a:pt x="17" y="20"/>
                  <a:pt x="17" y="20"/>
                </a:cubicBezTo>
                <a:cubicBezTo>
                  <a:pt x="3" y="6"/>
                  <a:pt x="3" y="6"/>
                  <a:pt x="3" y="6"/>
                </a:cubicBezTo>
                <a:cubicBezTo>
                  <a:pt x="2" y="5"/>
                  <a:pt x="2" y="3"/>
                  <a:pt x="3" y="1"/>
                </a:cubicBezTo>
                <a:cubicBezTo>
                  <a:pt x="5" y="0"/>
                  <a:pt x="7" y="0"/>
                  <a:pt x="8" y="1"/>
                </a:cubicBezTo>
                <a:cubicBezTo>
                  <a:pt x="22" y="15"/>
                  <a:pt x="22" y="15"/>
                  <a:pt x="22" y="15"/>
                </a:cubicBezTo>
                <a:cubicBezTo>
                  <a:pt x="37" y="1"/>
                  <a:pt x="37" y="1"/>
                  <a:pt x="37" y="1"/>
                </a:cubicBezTo>
                <a:cubicBezTo>
                  <a:pt x="38" y="0"/>
                  <a:pt x="40" y="0"/>
                  <a:pt x="42" y="1"/>
                </a:cubicBezTo>
                <a:cubicBezTo>
                  <a:pt x="43" y="3"/>
                  <a:pt x="43" y="5"/>
                  <a:pt x="42" y="6"/>
                </a:cubicBezTo>
                <a:cubicBezTo>
                  <a:pt x="28" y="20"/>
                  <a:pt x="28" y="20"/>
                  <a:pt x="28" y="20"/>
                </a:cubicBezTo>
                <a:cubicBezTo>
                  <a:pt x="42" y="35"/>
                  <a:pt x="42" y="35"/>
                  <a:pt x="42" y="35"/>
                </a:cubicBezTo>
                <a:cubicBezTo>
                  <a:pt x="43" y="36"/>
                  <a:pt x="43" y="38"/>
                  <a:pt x="41" y="40"/>
                </a:cubicBezTo>
                <a:cubicBezTo>
                  <a:pt x="40" y="41"/>
                  <a:pt x="38" y="41"/>
                  <a:pt x="37" y="40"/>
                </a:cubicBezTo>
                <a:cubicBezTo>
                  <a:pt x="22" y="26"/>
                  <a:pt x="22" y="26"/>
                  <a:pt x="22" y="26"/>
                </a:cubicBezTo>
                <a:lnTo>
                  <a:pt x="8" y="40"/>
                </a:lnTo>
                <a:close/>
                <a:moveTo>
                  <a:pt x="99" y="7"/>
                </a:moveTo>
                <a:cubicBezTo>
                  <a:pt x="78" y="7"/>
                  <a:pt x="78" y="7"/>
                  <a:pt x="78" y="7"/>
                </a:cubicBezTo>
                <a:cubicBezTo>
                  <a:pt x="88" y="18"/>
                  <a:pt x="88" y="18"/>
                  <a:pt x="88" y="18"/>
                </a:cubicBezTo>
                <a:cubicBezTo>
                  <a:pt x="99" y="28"/>
                  <a:pt x="99" y="28"/>
                  <a:pt x="99" y="28"/>
                </a:cubicBezTo>
                <a:lnTo>
                  <a:pt x="99"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99" name="Graphic 98">
            <a:extLst>
              <a:ext uri="{FF2B5EF4-FFF2-40B4-BE49-F238E27FC236}">
                <a16:creationId xmlns:a16="http://schemas.microsoft.com/office/drawing/2014/main" id="{8CE0A442-10FA-46BD-8A83-05E28177D7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0886" y="3306738"/>
            <a:ext cx="344318" cy="344318"/>
          </a:xfrm>
          <a:prstGeom prst="rect">
            <a:avLst/>
          </a:prstGeom>
        </p:spPr>
      </p:pic>
      <p:grpSp>
        <p:nvGrpSpPr>
          <p:cNvPr id="100" name="Group 99">
            <a:extLst>
              <a:ext uri="{FF2B5EF4-FFF2-40B4-BE49-F238E27FC236}">
                <a16:creationId xmlns:a16="http://schemas.microsoft.com/office/drawing/2014/main" id="{F0C47672-24BF-45BE-AD42-E6E41B5D52E4}"/>
              </a:ext>
            </a:extLst>
          </p:cNvPr>
          <p:cNvGrpSpPr>
            <a:grpSpLocks noChangeAspect="1"/>
          </p:cNvGrpSpPr>
          <p:nvPr/>
        </p:nvGrpSpPr>
        <p:grpSpPr bwMode="auto">
          <a:xfrm>
            <a:off x="7256557" y="4445925"/>
            <a:ext cx="311907" cy="375887"/>
            <a:chOff x="4395" y="2938"/>
            <a:chExt cx="234" cy="282"/>
          </a:xfrm>
          <a:solidFill>
            <a:schemeClr val="bg1"/>
          </a:solidFill>
        </p:grpSpPr>
        <p:sp>
          <p:nvSpPr>
            <p:cNvPr id="101" name="Freeform 5">
              <a:extLst>
                <a:ext uri="{FF2B5EF4-FFF2-40B4-BE49-F238E27FC236}">
                  <a16:creationId xmlns:a16="http://schemas.microsoft.com/office/drawing/2014/main" id="{E7FBE6E6-9EFB-4BFB-BBE0-0933B91E7C60}"/>
                </a:ext>
              </a:extLst>
            </p:cNvPr>
            <p:cNvSpPr>
              <a:spLocks/>
            </p:cNvSpPr>
            <p:nvPr/>
          </p:nvSpPr>
          <p:spPr bwMode="auto">
            <a:xfrm>
              <a:off x="4593" y="3000"/>
              <a:ext cx="36" cy="10"/>
            </a:xfrm>
            <a:custGeom>
              <a:avLst/>
              <a:gdLst>
                <a:gd name="T0" fmla="*/ 41 w 41"/>
                <a:gd name="T1" fmla="*/ 6 h 12"/>
                <a:gd name="T2" fmla="*/ 35 w 41"/>
                <a:gd name="T3" fmla="*/ 0 h 12"/>
                <a:gd name="T4" fmla="*/ 6 w 41"/>
                <a:gd name="T5" fmla="*/ 0 h 12"/>
                <a:gd name="T6" fmla="*/ 0 w 41"/>
                <a:gd name="T7" fmla="*/ 6 h 12"/>
                <a:gd name="T8" fmla="*/ 6 w 41"/>
                <a:gd name="T9" fmla="*/ 12 h 12"/>
                <a:gd name="T10" fmla="*/ 35 w 41"/>
                <a:gd name="T11" fmla="*/ 12 h 12"/>
                <a:gd name="T12" fmla="*/ 41 w 4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41" h="12">
                  <a:moveTo>
                    <a:pt x="41" y="6"/>
                  </a:moveTo>
                  <a:cubicBezTo>
                    <a:pt x="41" y="3"/>
                    <a:pt x="38" y="0"/>
                    <a:pt x="35" y="0"/>
                  </a:cubicBezTo>
                  <a:cubicBezTo>
                    <a:pt x="6" y="0"/>
                    <a:pt x="6" y="0"/>
                    <a:pt x="6" y="0"/>
                  </a:cubicBezTo>
                  <a:cubicBezTo>
                    <a:pt x="3" y="0"/>
                    <a:pt x="0" y="3"/>
                    <a:pt x="0" y="6"/>
                  </a:cubicBezTo>
                  <a:cubicBezTo>
                    <a:pt x="0" y="9"/>
                    <a:pt x="3" y="12"/>
                    <a:pt x="6" y="12"/>
                  </a:cubicBezTo>
                  <a:cubicBezTo>
                    <a:pt x="35" y="12"/>
                    <a:pt x="35" y="12"/>
                    <a:pt x="35" y="12"/>
                  </a:cubicBezTo>
                  <a:cubicBezTo>
                    <a:pt x="38" y="12"/>
                    <a:pt x="41" y="9"/>
                    <a:pt x="4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a16="http://schemas.microsoft.com/office/drawing/2014/main" id="{7241ABD8-EA7F-4BD5-B440-3D56808D738D}"/>
                </a:ext>
              </a:extLst>
            </p:cNvPr>
            <p:cNvSpPr>
              <a:spLocks/>
            </p:cNvSpPr>
            <p:nvPr/>
          </p:nvSpPr>
          <p:spPr bwMode="auto">
            <a:xfrm>
              <a:off x="4583" y="2955"/>
              <a:ext cx="28" cy="29"/>
            </a:xfrm>
            <a:custGeom>
              <a:avLst/>
              <a:gdLst>
                <a:gd name="T0" fmla="*/ 10 w 33"/>
                <a:gd name="T1" fmla="*/ 31 h 33"/>
                <a:gd name="T2" fmla="*/ 30 w 33"/>
                <a:gd name="T3" fmla="*/ 11 h 33"/>
                <a:gd name="T4" fmla="*/ 30 w 33"/>
                <a:gd name="T5" fmla="*/ 3 h 33"/>
                <a:gd name="T6" fmla="*/ 22 w 33"/>
                <a:gd name="T7" fmla="*/ 3 h 33"/>
                <a:gd name="T8" fmla="*/ 2 w 33"/>
                <a:gd name="T9" fmla="*/ 23 h 33"/>
                <a:gd name="T10" fmla="*/ 2 w 33"/>
                <a:gd name="T11" fmla="*/ 31 h 33"/>
                <a:gd name="T12" fmla="*/ 6 w 33"/>
                <a:gd name="T13" fmla="*/ 33 h 33"/>
                <a:gd name="T14" fmla="*/ 10 w 33"/>
                <a:gd name="T15" fmla="*/ 3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3">
                  <a:moveTo>
                    <a:pt x="10" y="31"/>
                  </a:moveTo>
                  <a:cubicBezTo>
                    <a:pt x="30" y="11"/>
                    <a:pt x="30" y="11"/>
                    <a:pt x="30" y="11"/>
                  </a:cubicBezTo>
                  <a:cubicBezTo>
                    <a:pt x="33" y="9"/>
                    <a:pt x="33" y="5"/>
                    <a:pt x="30" y="3"/>
                  </a:cubicBezTo>
                  <a:cubicBezTo>
                    <a:pt x="28" y="0"/>
                    <a:pt x="24" y="0"/>
                    <a:pt x="22" y="3"/>
                  </a:cubicBezTo>
                  <a:cubicBezTo>
                    <a:pt x="2" y="23"/>
                    <a:pt x="2" y="23"/>
                    <a:pt x="2" y="23"/>
                  </a:cubicBezTo>
                  <a:cubicBezTo>
                    <a:pt x="0" y="25"/>
                    <a:pt x="0" y="29"/>
                    <a:pt x="2" y="31"/>
                  </a:cubicBezTo>
                  <a:cubicBezTo>
                    <a:pt x="3" y="32"/>
                    <a:pt x="5" y="33"/>
                    <a:pt x="6" y="33"/>
                  </a:cubicBezTo>
                  <a:cubicBezTo>
                    <a:pt x="8" y="33"/>
                    <a:pt x="9" y="32"/>
                    <a:pt x="10" y="3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7">
              <a:extLst>
                <a:ext uri="{FF2B5EF4-FFF2-40B4-BE49-F238E27FC236}">
                  <a16:creationId xmlns:a16="http://schemas.microsoft.com/office/drawing/2014/main" id="{672470BD-D261-4699-96FF-BA5942B4FBC9}"/>
                </a:ext>
              </a:extLst>
            </p:cNvPr>
            <p:cNvSpPr>
              <a:spLocks/>
            </p:cNvSpPr>
            <p:nvPr/>
          </p:nvSpPr>
          <p:spPr bwMode="auto">
            <a:xfrm>
              <a:off x="4556" y="2938"/>
              <a:ext cx="11" cy="35"/>
            </a:xfrm>
            <a:custGeom>
              <a:avLst/>
              <a:gdLst>
                <a:gd name="T0" fmla="*/ 12 w 12"/>
                <a:gd name="T1" fmla="*/ 34 h 40"/>
                <a:gd name="T2" fmla="*/ 12 w 12"/>
                <a:gd name="T3" fmla="*/ 6 h 40"/>
                <a:gd name="T4" fmla="*/ 6 w 12"/>
                <a:gd name="T5" fmla="*/ 0 h 40"/>
                <a:gd name="T6" fmla="*/ 0 w 12"/>
                <a:gd name="T7" fmla="*/ 6 h 40"/>
                <a:gd name="T8" fmla="*/ 0 w 12"/>
                <a:gd name="T9" fmla="*/ 34 h 40"/>
                <a:gd name="T10" fmla="*/ 6 w 12"/>
                <a:gd name="T11" fmla="*/ 40 h 40"/>
                <a:gd name="T12" fmla="*/ 12 w 12"/>
                <a:gd name="T13" fmla="*/ 34 h 40"/>
              </a:gdLst>
              <a:ahLst/>
              <a:cxnLst>
                <a:cxn ang="0">
                  <a:pos x="T0" y="T1"/>
                </a:cxn>
                <a:cxn ang="0">
                  <a:pos x="T2" y="T3"/>
                </a:cxn>
                <a:cxn ang="0">
                  <a:pos x="T4" y="T5"/>
                </a:cxn>
                <a:cxn ang="0">
                  <a:pos x="T6" y="T7"/>
                </a:cxn>
                <a:cxn ang="0">
                  <a:pos x="T8" y="T9"/>
                </a:cxn>
                <a:cxn ang="0">
                  <a:pos x="T10" y="T11"/>
                </a:cxn>
                <a:cxn ang="0">
                  <a:pos x="T12" y="T13"/>
                </a:cxn>
              </a:cxnLst>
              <a:rect l="0" t="0" r="r" b="b"/>
              <a:pathLst>
                <a:path w="12" h="40">
                  <a:moveTo>
                    <a:pt x="12" y="34"/>
                  </a:moveTo>
                  <a:cubicBezTo>
                    <a:pt x="12" y="6"/>
                    <a:pt x="12" y="6"/>
                    <a:pt x="12" y="6"/>
                  </a:cubicBezTo>
                  <a:cubicBezTo>
                    <a:pt x="12" y="3"/>
                    <a:pt x="9" y="0"/>
                    <a:pt x="6" y="0"/>
                  </a:cubicBezTo>
                  <a:cubicBezTo>
                    <a:pt x="3" y="0"/>
                    <a:pt x="0" y="3"/>
                    <a:pt x="0" y="6"/>
                  </a:cubicBezTo>
                  <a:cubicBezTo>
                    <a:pt x="0" y="34"/>
                    <a:pt x="0" y="34"/>
                    <a:pt x="0" y="34"/>
                  </a:cubicBezTo>
                  <a:cubicBezTo>
                    <a:pt x="0" y="38"/>
                    <a:pt x="3" y="40"/>
                    <a:pt x="6" y="40"/>
                  </a:cubicBezTo>
                  <a:cubicBezTo>
                    <a:pt x="9" y="40"/>
                    <a:pt x="12" y="38"/>
                    <a:pt x="12" y="3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8">
              <a:extLst>
                <a:ext uri="{FF2B5EF4-FFF2-40B4-BE49-F238E27FC236}">
                  <a16:creationId xmlns:a16="http://schemas.microsoft.com/office/drawing/2014/main" id="{928D8DD8-9041-4A63-8011-4D9B56EA6878}"/>
                </a:ext>
              </a:extLst>
            </p:cNvPr>
            <p:cNvSpPr>
              <a:spLocks/>
            </p:cNvSpPr>
            <p:nvPr/>
          </p:nvSpPr>
          <p:spPr bwMode="auto">
            <a:xfrm>
              <a:off x="4395" y="2962"/>
              <a:ext cx="209" cy="258"/>
            </a:xfrm>
            <a:custGeom>
              <a:avLst/>
              <a:gdLst>
                <a:gd name="T0" fmla="*/ 239 w 239"/>
                <a:gd name="T1" fmla="*/ 77 h 296"/>
                <a:gd name="T2" fmla="*/ 233 w 239"/>
                <a:gd name="T3" fmla="*/ 71 h 296"/>
                <a:gd name="T4" fmla="*/ 227 w 239"/>
                <a:gd name="T5" fmla="*/ 77 h 296"/>
                <a:gd name="T6" fmla="*/ 227 w 239"/>
                <a:gd name="T7" fmla="*/ 254 h 296"/>
                <a:gd name="T8" fmla="*/ 197 w 239"/>
                <a:gd name="T9" fmla="*/ 284 h 296"/>
                <a:gd name="T10" fmla="*/ 42 w 239"/>
                <a:gd name="T11" fmla="*/ 284 h 296"/>
                <a:gd name="T12" fmla="*/ 12 w 239"/>
                <a:gd name="T13" fmla="*/ 254 h 296"/>
                <a:gd name="T14" fmla="*/ 12 w 239"/>
                <a:gd name="T15" fmla="*/ 42 h 296"/>
                <a:gd name="T16" fmla="*/ 42 w 239"/>
                <a:gd name="T17" fmla="*/ 12 h 296"/>
                <a:gd name="T18" fmla="*/ 162 w 239"/>
                <a:gd name="T19" fmla="*/ 12 h 296"/>
                <a:gd name="T20" fmla="*/ 168 w 239"/>
                <a:gd name="T21" fmla="*/ 6 h 296"/>
                <a:gd name="T22" fmla="*/ 162 w 239"/>
                <a:gd name="T23" fmla="*/ 0 h 296"/>
                <a:gd name="T24" fmla="*/ 42 w 239"/>
                <a:gd name="T25" fmla="*/ 0 h 296"/>
                <a:gd name="T26" fmla="*/ 0 w 239"/>
                <a:gd name="T27" fmla="*/ 42 h 296"/>
                <a:gd name="T28" fmla="*/ 0 w 239"/>
                <a:gd name="T29" fmla="*/ 254 h 296"/>
                <a:gd name="T30" fmla="*/ 42 w 239"/>
                <a:gd name="T31" fmla="*/ 296 h 296"/>
                <a:gd name="T32" fmla="*/ 197 w 239"/>
                <a:gd name="T33" fmla="*/ 296 h 296"/>
                <a:gd name="T34" fmla="*/ 239 w 239"/>
                <a:gd name="T35" fmla="*/ 254 h 296"/>
                <a:gd name="T36" fmla="*/ 239 w 239"/>
                <a:gd name="T37" fmla="*/ 7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9" h="296">
                  <a:moveTo>
                    <a:pt x="239" y="77"/>
                  </a:moveTo>
                  <a:cubicBezTo>
                    <a:pt x="239" y="74"/>
                    <a:pt x="236" y="71"/>
                    <a:pt x="233" y="71"/>
                  </a:cubicBezTo>
                  <a:cubicBezTo>
                    <a:pt x="230" y="71"/>
                    <a:pt x="227" y="74"/>
                    <a:pt x="227" y="77"/>
                  </a:cubicBezTo>
                  <a:cubicBezTo>
                    <a:pt x="227" y="254"/>
                    <a:pt x="227" y="254"/>
                    <a:pt x="227" y="254"/>
                  </a:cubicBezTo>
                  <a:cubicBezTo>
                    <a:pt x="227" y="270"/>
                    <a:pt x="213" y="284"/>
                    <a:pt x="197" y="284"/>
                  </a:cubicBezTo>
                  <a:cubicBezTo>
                    <a:pt x="42" y="284"/>
                    <a:pt x="42" y="284"/>
                    <a:pt x="42" y="284"/>
                  </a:cubicBezTo>
                  <a:cubicBezTo>
                    <a:pt x="26" y="284"/>
                    <a:pt x="12" y="270"/>
                    <a:pt x="12" y="254"/>
                  </a:cubicBezTo>
                  <a:cubicBezTo>
                    <a:pt x="12" y="42"/>
                    <a:pt x="12" y="42"/>
                    <a:pt x="12" y="42"/>
                  </a:cubicBezTo>
                  <a:cubicBezTo>
                    <a:pt x="12" y="26"/>
                    <a:pt x="26" y="12"/>
                    <a:pt x="42" y="12"/>
                  </a:cubicBezTo>
                  <a:cubicBezTo>
                    <a:pt x="162" y="12"/>
                    <a:pt x="162" y="12"/>
                    <a:pt x="162" y="12"/>
                  </a:cubicBezTo>
                  <a:cubicBezTo>
                    <a:pt x="165" y="12"/>
                    <a:pt x="168" y="10"/>
                    <a:pt x="168" y="6"/>
                  </a:cubicBezTo>
                  <a:cubicBezTo>
                    <a:pt x="168" y="3"/>
                    <a:pt x="165" y="0"/>
                    <a:pt x="162" y="0"/>
                  </a:cubicBezTo>
                  <a:cubicBezTo>
                    <a:pt x="42" y="0"/>
                    <a:pt x="42" y="0"/>
                    <a:pt x="42" y="0"/>
                  </a:cubicBezTo>
                  <a:cubicBezTo>
                    <a:pt x="19" y="0"/>
                    <a:pt x="0" y="19"/>
                    <a:pt x="0" y="42"/>
                  </a:cubicBezTo>
                  <a:cubicBezTo>
                    <a:pt x="0" y="254"/>
                    <a:pt x="0" y="254"/>
                    <a:pt x="0" y="254"/>
                  </a:cubicBezTo>
                  <a:cubicBezTo>
                    <a:pt x="0" y="277"/>
                    <a:pt x="19" y="296"/>
                    <a:pt x="42" y="296"/>
                  </a:cubicBezTo>
                  <a:cubicBezTo>
                    <a:pt x="197" y="296"/>
                    <a:pt x="197" y="296"/>
                    <a:pt x="197" y="296"/>
                  </a:cubicBezTo>
                  <a:cubicBezTo>
                    <a:pt x="220" y="296"/>
                    <a:pt x="239" y="277"/>
                    <a:pt x="239" y="254"/>
                  </a:cubicBezTo>
                  <a:lnTo>
                    <a:pt x="239" y="7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0">
              <a:extLst>
                <a:ext uri="{FF2B5EF4-FFF2-40B4-BE49-F238E27FC236}">
                  <a16:creationId xmlns:a16="http://schemas.microsoft.com/office/drawing/2014/main" id="{74F20F07-C3E2-4F6A-BE5F-9D5E8CC3D598}"/>
                </a:ext>
              </a:extLst>
            </p:cNvPr>
            <p:cNvSpPr>
              <a:spLocks noEditPoints="1"/>
            </p:cNvSpPr>
            <p:nvPr/>
          </p:nvSpPr>
          <p:spPr bwMode="auto">
            <a:xfrm>
              <a:off x="4432" y="3135"/>
              <a:ext cx="48" cy="47"/>
            </a:xfrm>
            <a:custGeom>
              <a:avLst/>
              <a:gdLst>
                <a:gd name="T0" fmla="*/ 28 w 55"/>
                <a:gd name="T1" fmla="*/ 0 h 54"/>
                <a:gd name="T2" fmla="*/ 0 w 55"/>
                <a:gd name="T3" fmla="*/ 27 h 54"/>
                <a:gd name="T4" fmla="*/ 28 w 55"/>
                <a:gd name="T5" fmla="*/ 54 h 54"/>
                <a:gd name="T6" fmla="*/ 55 w 55"/>
                <a:gd name="T7" fmla="*/ 27 h 54"/>
                <a:gd name="T8" fmla="*/ 28 w 55"/>
                <a:gd name="T9" fmla="*/ 0 h 54"/>
                <a:gd name="T10" fmla="*/ 28 w 55"/>
                <a:gd name="T11" fmla="*/ 42 h 54"/>
                <a:gd name="T12" fmla="*/ 12 w 55"/>
                <a:gd name="T13" fmla="*/ 27 h 54"/>
                <a:gd name="T14" fmla="*/ 28 w 55"/>
                <a:gd name="T15" fmla="*/ 12 h 54"/>
                <a:gd name="T16" fmla="*/ 43 w 55"/>
                <a:gd name="T17" fmla="*/ 27 h 54"/>
                <a:gd name="T18" fmla="*/ 28 w 55"/>
                <a:gd name="T1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28" y="0"/>
                  </a:moveTo>
                  <a:cubicBezTo>
                    <a:pt x="12" y="0"/>
                    <a:pt x="0" y="12"/>
                    <a:pt x="0" y="27"/>
                  </a:cubicBezTo>
                  <a:cubicBezTo>
                    <a:pt x="0" y="42"/>
                    <a:pt x="13" y="54"/>
                    <a:pt x="28" y="54"/>
                  </a:cubicBezTo>
                  <a:cubicBezTo>
                    <a:pt x="42" y="54"/>
                    <a:pt x="55" y="42"/>
                    <a:pt x="55" y="27"/>
                  </a:cubicBezTo>
                  <a:cubicBezTo>
                    <a:pt x="55" y="12"/>
                    <a:pt x="43" y="0"/>
                    <a:pt x="28" y="0"/>
                  </a:cubicBezTo>
                  <a:close/>
                  <a:moveTo>
                    <a:pt x="28" y="42"/>
                  </a:moveTo>
                  <a:cubicBezTo>
                    <a:pt x="19" y="42"/>
                    <a:pt x="12" y="35"/>
                    <a:pt x="12" y="27"/>
                  </a:cubicBezTo>
                  <a:cubicBezTo>
                    <a:pt x="12" y="19"/>
                    <a:pt x="19" y="12"/>
                    <a:pt x="28" y="12"/>
                  </a:cubicBezTo>
                  <a:cubicBezTo>
                    <a:pt x="36" y="12"/>
                    <a:pt x="43" y="19"/>
                    <a:pt x="43" y="27"/>
                  </a:cubicBezTo>
                  <a:cubicBezTo>
                    <a:pt x="43" y="35"/>
                    <a:pt x="36" y="42"/>
                    <a:pt x="28" y="4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1">
              <a:extLst>
                <a:ext uri="{FF2B5EF4-FFF2-40B4-BE49-F238E27FC236}">
                  <a16:creationId xmlns:a16="http://schemas.microsoft.com/office/drawing/2014/main" id="{CE359EB6-F3BC-4CFE-9CA9-A295C8E6F919}"/>
                </a:ext>
              </a:extLst>
            </p:cNvPr>
            <p:cNvSpPr>
              <a:spLocks/>
            </p:cNvSpPr>
            <p:nvPr/>
          </p:nvSpPr>
          <p:spPr bwMode="auto">
            <a:xfrm>
              <a:off x="4431" y="2999"/>
              <a:ext cx="49" cy="60"/>
            </a:xfrm>
            <a:custGeom>
              <a:avLst/>
              <a:gdLst>
                <a:gd name="T0" fmla="*/ 21 w 56"/>
                <a:gd name="T1" fmla="*/ 69 h 69"/>
                <a:gd name="T2" fmla="*/ 21 w 56"/>
                <a:gd name="T3" fmla="*/ 69 h 69"/>
                <a:gd name="T4" fmla="*/ 28 w 56"/>
                <a:gd name="T5" fmla="*/ 65 h 69"/>
                <a:gd name="T6" fmla="*/ 55 w 56"/>
                <a:gd name="T7" fmla="*/ 9 h 69"/>
                <a:gd name="T8" fmla="*/ 52 w 56"/>
                <a:gd name="T9" fmla="*/ 1 h 69"/>
                <a:gd name="T10" fmla="*/ 44 w 56"/>
                <a:gd name="T11" fmla="*/ 4 h 69"/>
                <a:gd name="T12" fmla="*/ 20 w 56"/>
                <a:gd name="T13" fmla="*/ 54 h 69"/>
                <a:gd name="T14" fmla="*/ 12 w 56"/>
                <a:gd name="T15" fmla="*/ 40 h 69"/>
                <a:gd name="T16" fmla="*/ 4 w 56"/>
                <a:gd name="T17" fmla="*/ 38 h 69"/>
                <a:gd name="T18" fmla="*/ 2 w 56"/>
                <a:gd name="T19" fmla="*/ 47 h 69"/>
                <a:gd name="T20" fmla="*/ 13 w 56"/>
                <a:gd name="T21" fmla="*/ 65 h 69"/>
                <a:gd name="T22" fmla="*/ 21 w 56"/>
                <a:gd name="T2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69">
                  <a:moveTo>
                    <a:pt x="21" y="69"/>
                  </a:moveTo>
                  <a:cubicBezTo>
                    <a:pt x="21" y="69"/>
                    <a:pt x="21" y="69"/>
                    <a:pt x="21" y="69"/>
                  </a:cubicBezTo>
                  <a:cubicBezTo>
                    <a:pt x="24" y="69"/>
                    <a:pt x="27" y="68"/>
                    <a:pt x="28" y="65"/>
                  </a:cubicBezTo>
                  <a:cubicBezTo>
                    <a:pt x="55" y="9"/>
                    <a:pt x="55" y="9"/>
                    <a:pt x="55" y="9"/>
                  </a:cubicBezTo>
                  <a:cubicBezTo>
                    <a:pt x="56" y="6"/>
                    <a:pt x="55" y="3"/>
                    <a:pt x="52" y="1"/>
                  </a:cubicBezTo>
                  <a:cubicBezTo>
                    <a:pt x="49" y="0"/>
                    <a:pt x="45" y="1"/>
                    <a:pt x="44" y="4"/>
                  </a:cubicBezTo>
                  <a:cubicBezTo>
                    <a:pt x="20" y="54"/>
                    <a:pt x="20" y="54"/>
                    <a:pt x="20" y="54"/>
                  </a:cubicBezTo>
                  <a:cubicBezTo>
                    <a:pt x="12" y="40"/>
                    <a:pt x="12" y="40"/>
                    <a:pt x="12" y="40"/>
                  </a:cubicBezTo>
                  <a:cubicBezTo>
                    <a:pt x="11" y="38"/>
                    <a:pt x="7" y="36"/>
                    <a:pt x="4" y="38"/>
                  </a:cubicBezTo>
                  <a:cubicBezTo>
                    <a:pt x="1" y="40"/>
                    <a:pt x="0" y="44"/>
                    <a:pt x="2" y="47"/>
                  </a:cubicBezTo>
                  <a:cubicBezTo>
                    <a:pt x="13" y="65"/>
                    <a:pt x="13" y="65"/>
                    <a:pt x="13" y="65"/>
                  </a:cubicBezTo>
                  <a:cubicBezTo>
                    <a:pt x="15" y="68"/>
                    <a:pt x="17" y="69"/>
                    <a:pt x="21" y="6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2">
              <a:extLst>
                <a:ext uri="{FF2B5EF4-FFF2-40B4-BE49-F238E27FC236}">
                  <a16:creationId xmlns:a16="http://schemas.microsoft.com/office/drawing/2014/main" id="{54FABCBE-F881-4489-BA1C-F05F17B04516}"/>
                </a:ext>
              </a:extLst>
            </p:cNvPr>
            <p:cNvSpPr>
              <a:spLocks/>
            </p:cNvSpPr>
            <p:nvPr/>
          </p:nvSpPr>
          <p:spPr bwMode="auto">
            <a:xfrm>
              <a:off x="4494" y="3024"/>
              <a:ext cx="73" cy="11"/>
            </a:xfrm>
            <a:custGeom>
              <a:avLst/>
              <a:gdLst>
                <a:gd name="T0" fmla="*/ 0 w 83"/>
                <a:gd name="T1" fmla="*/ 6 h 12"/>
                <a:gd name="T2" fmla="*/ 6 w 83"/>
                <a:gd name="T3" fmla="*/ 12 h 12"/>
                <a:gd name="T4" fmla="*/ 77 w 83"/>
                <a:gd name="T5" fmla="*/ 12 h 12"/>
                <a:gd name="T6" fmla="*/ 83 w 83"/>
                <a:gd name="T7" fmla="*/ 6 h 12"/>
                <a:gd name="T8" fmla="*/ 77 w 83"/>
                <a:gd name="T9" fmla="*/ 0 h 12"/>
                <a:gd name="T10" fmla="*/ 6 w 83"/>
                <a:gd name="T11" fmla="*/ 0 h 12"/>
                <a:gd name="T12" fmla="*/ 0 w 83"/>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83" h="12">
                  <a:moveTo>
                    <a:pt x="0" y="6"/>
                  </a:moveTo>
                  <a:cubicBezTo>
                    <a:pt x="0" y="9"/>
                    <a:pt x="3" y="12"/>
                    <a:pt x="6" y="12"/>
                  </a:cubicBezTo>
                  <a:cubicBezTo>
                    <a:pt x="77" y="12"/>
                    <a:pt x="77" y="12"/>
                    <a:pt x="77" y="12"/>
                  </a:cubicBezTo>
                  <a:cubicBezTo>
                    <a:pt x="80" y="12"/>
                    <a:pt x="83" y="9"/>
                    <a:pt x="83" y="6"/>
                  </a:cubicBezTo>
                  <a:cubicBezTo>
                    <a:pt x="83" y="3"/>
                    <a:pt x="80" y="0"/>
                    <a:pt x="77" y="0"/>
                  </a:cubicBezTo>
                  <a:cubicBezTo>
                    <a:pt x="6" y="0"/>
                    <a:pt x="6" y="0"/>
                    <a:pt x="6" y="0"/>
                  </a:cubicBezTo>
                  <a:cubicBezTo>
                    <a:pt x="3" y="0"/>
                    <a:pt x="0" y="3"/>
                    <a:pt x="0"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3">
              <a:extLst>
                <a:ext uri="{FF2B5EF4-FFF2-40B4-BE49-F238E27FC236}">
                  <a16:creationId xmlns:a16="http://schemas.microsoft.com/office/drawing/2014/main" id="{73B08CDB-769C-466D-8352-14B1FB698FB4}"/>
                </a:ext>
              </a:extLst>
            </p:cNvPr>
            <p:cNvSpPr>
              <a:spLocks/>
            </p:cNvSpPr>
            <p:nvPr/>
          </p:nvSpPr>
          <p:spPr bwMode="auto">
            <a:xfrm>
              <a:off x="4494" y="3061"/>
              <a:ext cx="73" cy="11"/>
            </a:xfrm>
            <a:custGeom>
              <a:avLst/>
              <a:gdLst>
                <a:gd name="T0" fmla="*/ 77 w 83"/>
                <a:gd name="T1" fmla="*/ 0 h 12"/>
                <a:gd name="T2" fmla="*/ 6 w 83"/>
                <a:gd name="T3" fmla="*/ 0 h 12"/>
                <a:gd name="T4" fmla="*/ 0 w 83"/>
                <a:gd name="T5" fmla="*/ 6 h 12"/>
                <a:gd name="T6" fmla="*/ 6 w 83"/>
                <a:gd name="T7" fmla="*/ 12 h 12"/>
                <a:gd name="T8" fmla="*/ 77 w 83"/>
                <a:gd name="T9" fmla="*/ 12 h 12"/>
                <a:gd name="T10" fmla="*/ 83 w 83"/>
                <a:gd name="T11" fmla="*/ 6 h 12"/>
                <a:gd name="T12" fmla="*/ 77 w 8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3" h="12">
                  <a:moveTo>
                    <a:pt x="77" y="0"/>
                  </a:moveTo>
                  <a:cubicBezTo>
                    <a:pt x="6" y="0"/>
                    <a:pt x="6" y="0"/>
                    <a:pt x="6" y="0"/>
                  </a:cubicBezTo>
                  <a:cubicBezTo>
                    <a:pt x="3" y="0"/>
                    <a:pt x="0" y="2"/>
                    <a:pt x="0" y="6"/>
                  </a:cubicBezTo>
                  <a:cubicBezTo>
                    <a:pt x="0" y="9"/>
                    <a:pt x="3" y="12"/>
                    <a:pt x="6" y="12"/>
                  </a:cubicBezTo>
                  <a:cubicBezTo>
                    <a:pt x="77" y="12"/>
                    <a:pt x="77" y="12"/>
                    <a:pt x="77" y="12"/>
                  </a:cubicBezTo>
                  <a:cubicBezTo>
                    <a:pt x="80" y="12"/>
                    <a:pt x="83" y="9"/>
                    <a:pt x="83" y="6"/>
                  </a:cubicBezTo>
                  <a:cubicBezTo>
                    <a:pt x="83" y="2"/>
                    <a:pt x="81" y="0"/>
                    <a:pt x="7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15">
              <a:extLst>
                <a:ext uri="{FF2B5EF4-FFF2-40B4-BE49-F238E27FC236}">
                  <a16:creationId xmlns:a16="http://schemas.microsoft.com/office/drawing/2014/main" id="{FDB3A192-8659-4275-89CF-2B428FFC075E}"/>
                </a:ext>
              </a:extLst>
            </p:cNvPr>
            <p:cNvSpPr>
              <a:spLocks/>
            </p:cNvSpPr>
            <p:nvPr/>
          </p:nvSpPr>
          <p:spPr bwMode="auto">
            <a:xfrm>
              <a:off x="4494" y="3135"/>
              <a:ext cx="73" cy="11"/>
            </a:xfrm>
            <a:custGeom>
              <a:avLst/>
              <a:gdLst>
                <a:gd name="T0" fmla="*/ 77 w 83"/>
                <a:gd name="T1" fmla="*/ 0 h 12"/>
                <a:gd name="T2" fmla="*/ 6 w 83"/>
                <a:gd name="T3" fmla="*/ 0 h 12"/>
                <a:gd name="T4" fmla="*/ 0 w 83"/>
                <a:gd name="T5" fmla="*/ 6 h 12"/>
                <a:gd name="T6" fmla="*/ 6 w 83"/>
                <a:gd name="T7" fmla="*/ 12 h 12"/>
                <a:gd name="T8" fmla="*/ 77 w 83"/>
                <a:gd name="T9" fmla="*/ 12 h 12"/>
                <a:gd name="T10" fmla="*/ 83 w 83"/>
                <a:gd name="T11" fmla="*/ 6 h 12"/>
                <a:gd name="T12" fmla="*/ 77 w 8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3" h="12">
                  <a:moveTo>
                    <a:pt x="77" y="0"/>
                  </a:moveTo>
                  <a:cubicBezTo>
                    <a:pt x="6" y="0"/>
                    <a:pt x="6" y="0"/>
                    <a:pt x="6" y="0"/>
                  </a:cubicBezTo>
                  <a:cubicBezTo>
                    <a:pt x="3" y="0"/>
                    <a:pt x="0" y="3"/>
                    <a:pt x="0" y="6"/>
                  </a:cubicBezTo>
                  <a:cubicBezTo>
                    <a:pt x="0" y="9"/>
                    <a:pt x="3" y="12"/>
                    <a:pt x="6" y="12"/>
                  </a:cubicBezTo>
                  <a:cubicBezTo>
                    <a:pt x="77" y="12"/>
                    <a:pt x="77" y="12"/>
                    <a:pt x="77" y="12"/>
                  </a:cubicBezTo>
                  <a:cubicBezTo>
                    <a:pt x="80" y="12"/>
                    <a:pt x="83" y="9"/>
                    <a:pt x="83" y="6"/>
                  </a:cubicBezTo>
                  <a:cubicBezTo>
                    <a:pt x="83" y="3"/>
                    <a:pt x="81" y="0"/>
                    <a:pt x="7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16">
              <a:extLst>
                <a:ext uri="{FF2B5EF4-FFF2-40B4-BE49-F238E27FC236}">
                  <a16:creationId xmlns:a16="http://schemas.microsoft.com/office/drawing/2014/main" id="{78E1590F-96A1-4517-93B1-6BC43D8542D8}"/>
                </a:ext>
              </a:extLst>
            </p:cNvPr>
            <p:cNvSpPr>
              <a:spLocks/>
            </p:cNvSpPr>
            <p:nvPr/>
          </p:nvSpPr>
          <p:spPr bwMode="auto">
            <a:xfrm>
              <a:off x="4505" y="3172"/>
              <a:ext cx="62" cy="10"/>
            </a:xfrm>
            <a:custGeom>
              <a:avLst/>
              <a:gdLst>
                <a:gd name="T0" fmla="*/ 64 w 70"/>
                <a:gd name="T1" fmla="*/ 0 h 12"/>
                <a:gd name="T2" fmla="*/ 6 w 70"/>
                <a:gd name="T3" fmla="*/ 0 h 12"/>
                <a:gd name="T4" fmla="*/ 0 w 70"/>
                <a:gd name="T5" fmla="*/ 6 h 12"/>
                <a:gd name="T6" fmla="*/ 6 w 70"/>
                <a:gd name="T7" fmla="*/ 12 h 12"/>
                <a:gd name="T8" fmla="*/ 64 w 70"/>
                <a:gd name="T9" fmla="*/ 12 h 12"/>
                <a:gd name="T10" fmla="*/ 70 w 70"/>
                <a:gd name="T11" fmla="*/ 6 h 12"/>
                <a:gd name="T12" fmla="*/ 64 w 7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70" h="12">
                  <a:moveTo>
                    <a:pt x="64" y="0"/>
                  </a:moveTo>
                  <a:cubicBezTo>
                    <a:pt x="6" y="0"/>
                    <a:pt x="6" y="0"/>
                    <a:pt x="6" y="0"/>
                  </a:cubicBezTo>
                  <a:cubicBezTo>
                    <a:pt x="2" y="0"/>
                    <a:pt x="0" y="3"/>
                    <a:pt x="0" y="6"/>
                  </a:cubicBezTo>
                  <a:cubicBezTo>
                    <a:pt x="0" y="9"/>
                    <a:pt x="2" y="12"/>
                    <a:pt x="6" y="12"/>
                  </a:cubicBezTo>
                  <a:cubicBezTo>
                    <a:pt x="64" y="12"/>
                    <a:pt x="64" y="12"/>
                    <a:pt x="64" y="12"/>
                  </a:cubicBezTo>
                  <a:cubicBezTo>
                    <a:pt x="67" y="12"/>
                    <a:pt x="70" y="9"/>
                    <a:pt x="70" y="6"/>
                  </a:cubicBezTo>
                  <a:cubicBezTo>
                    <a:pt x="70" y="3"/>
                    <a:pt x="68" y="0"/>
                    <a:pt x="64"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 name="Freeform 5">
            <a:extLst>
              <a:ext uri="{FF2B5EF4-FFF2-40B4-BE49-F238E27FC236}">
                <a16:creationId xmlns:a16="http://schemas.microsoft.com/office/drawing/2014/main" id="{EF888B30-D241-4BAD-89E5-7F150CFC5DE6}"/>
              </a:ext>
            </a:extLst>
          </p:cNvPr>
          <p:cNvSpPr>
            <a:spLocks noEditPoints="1"/>
          </p:cNvSpPr>
          <p:nvPr/>
        </p:nvSpPr>
        <p:spPr bwMode="auto">
          <a:xfrm>
            <a:off x="4584883" y="2016897"/>
            <a:ext cx="337556" cy="371312"/>
          </a:xfrm>
          <a:custGeom>
            <a:avLst/>
            <a:gdLst>
              <a:gd name="T0" fmla="*/ 122 w 146"/>
              <a:gd name="T1" fmla="*/ 113 h 161"/>
              <a:gd name="T2" fmla="*/ 107 w 146"/>
              <a:gd name="T3" fmla="*/ 117 h 161"/>
              <a:gd name="T4" fmla="*/ 107 w 146"/>
              <a:gd name="T5" fmla="*/ 117 h 161"/>
              <a:gd name="T6" fmla="*/ 48 w 146"/>
              <a:gd name="T7" fmla="*/ 83 h 161"/>
              <a:gd name="T8" fmla="*/ 48 w 146"/>
              <a:gd name="T9" fmla="*/ 80 h 161"/>
              <a:gd name="T10" fmla="*/ 48 w 146"/>
              <a:gd name="T11" fmla="*/ 75 h 161"/>
              <a:gd name="T12" fmla="*/ 48 w 146"/>
              <a:gd name="T13" fmla="*/ 75 h 161"/>
              <a:gd name="T14" fmla="*/ 106 w 146"/>
              <a:gd name="T15" fmla="*/ 42 h 161"/>
              <a:gd name="T16" fmla="*/ 122 w 146"/>
              <a:gd name="T17" fmla="*/ 48 h 161"/>
              <a:gd name="T18" fmla="*/ 146 w 146"/>
              <a:gd name="T19" fmla="*/ 24 h 161"/>
              <a:gd name="T20" fmla="*/ 122 w 146"/>
              <a:gd name="T21" fmla="*/ 0 h 161"/>
              <a:gd name="T22" fmla="*/ 98 w 146"/>
              <a:gd name="T23" fmla="*/ 24 h 161"/>
              <a:gd name="T24" fmla="*/ 98 w 146"/>
              <a:gd name="T25" fmla="*/ 28 h 161"/>
              <a:gd name="T26" fmla="*/ 98 w 146"/>
              <a:gd name="T27" fmla="*/ 28 h 161"/>
              <a:gd name="T28" fmla="*/ 40 w 146"/>
              <a:gd name="T29" fmla="*/ 62 h 161"/>
              <a:gd name="T30" fmla="*/ 40 w 146"/>
              <a:gd name="T31" fmla="*/ 62 h 161"/>
              <a:gd name="T32" fmla="*/ 24 w 146"/>
              <a:gd name="T33" fmla="*/ 56 h 161"/>
              <a:gd name="T34" fmla="*/ 0 w 146"/>
              <a:gd name="T35" fmla="*/ 80 h 161"/>
              <a:gd name="T36" fmla="*/ 24 w 146"/>
              <a:gd name="T37" fmla="*/ 104 h 161"/>
              <a:gd name="T38" fmla="*/ 41 w 146"/>
              <a:gd name="T39" fmla="*/ 98 h 161"/>
              <a:gd name="T40" fmla="*/ 98 w 146"/>
              <a:gd name="T41" fmla="*/ 131 h 161"/>
              <a:gd name="T42" fmla="*/ 98 w 146"/>
              <a:gd name="T43" fmla="*/ 131 h 161"/>
              <a:gd name="T44" fmla="*/ 98 w 146"/>
              <a:gd name="T45" fmla="*/ 137 h 161"/>
              <a:gd name="T46" fmla="*/ 122 w 146"/>
              <a:gd name="T47" fmla="*/ 161 h 161"/>
              <a:gd name="T48" fmla="*/ 146 w 146"/>
              <a:gd name="T49" fmla="*/ 137 h 161"/>
              <a:gd name="T50" fmla="*/ 122 w 146"/>
              <a:gd name="T51" fmla="*/ 113 h 161"/>
              <a:gd name="T52" fmla="*/ 122 w 146"/>
              <a:gd name="T53" fmla="*/ 16 h 161"/>
              <a:gd name="T54" fmla="*/ 130 w 146"/>
              <a:gd name="T55" fmla="*/ 24 h 161"/>
              <a:gd name="T56" fmla="*/ 122 w 146"/>
              <a:gd name="T57" fmla="*/ 32 h 161"/>
              <a:gd name="T58" fmla="*/ 114 w 146"/>
              <a:gd name="T59" fmla="*/ 24 h 161"/>
              <a:gd name="T60" fmla="*/ 122 w 146"/>
              <a:gd name="T61" fmla="*/ 16 h 161"/>
              <a:gd name="T62" fmla="*/ 24 w 146"/>
              <a:gd name="T63" fmla="*/ 88 h 161"/>
              <a:gd name="T64" fmla="*/ 16 w 146"/>
              <a:gd name="T65" fmla="*/ 80 h 161"/>
              <a:gd name="T66" fmla="*/ 24 w 146"/>
              <a:gd name="T67" fmla="*/ 72 h 161"/>
              <a:gd name="T68" fmla="*/ 32 w 146"/>
              <a:gd name="T69" fmla="*/ 80 h 161"/>
              <a:gd name="T70" fmla="*/ 24 w 146"/>
              <a:gd name="T71" fmla="*/ 88 h 161"/>
              <a:gd name="T72" fmla="*/ 44 w 146"/>
              <a:gd name="T73" fmla="*/ 95 h 161"/>
              <a:gd name="T74" fmla="*/ 44 w 146"/>
              <a:gd name="T75" fmla="*/ 95 h 161"/>
              <a:gd name="T76" fmla="*/ 44 w 146"/>
              <a:gd name="T77" fmla="*/ 95 h 161"/>
              <a:gd name="T78" fmla="*/ 122 w 146"/>
              <a:gd name="T79" fmla="*/ 145 h 161"/>
              <a:gd name="T80" fmla="*/ 114 w 146"/>
              <a:gd name="T81" fmla="*/ 137 h 161"/>
              <a:gd name="T82" fmla="*/ 122 w 146"/>
              <a:gd name="T83" fmla="*/ 129 h 161"/>
              <a:gd name="T84" fmla="*/ 130 w 146"/>
              <a:gd name="T85" fmla="*/ 137 h 161"/>
              <a:gd name="T86" fmla="*/ 122 w 146"/>
              <a:gd name="T87" fmla="*/ 1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161">
                <a:moveTo>
                  <a:pt x="122" y="113"/>
                </a:moveTo>
                <a:cubicBezTo>
                  <a:pt x="116" y="113"/>
                  <a:pt x="111" y="114"/>
                  <a:pt x="107" y="117"/>
                </a:cubicBezTo>
                <a:cubicBezTo>
                  <a:pt x="107" y="117"/>
                  <a:pt x="107" y="117"/>
                  <a:pt x="107" y="117"/>
                </a:cubicBezTo>
                <a:cubicBezTo>
                  <a:pt x="48" y="83"/>
                  <a:pt x="48" y="83"/>
                  <a:pt x="48" y="83"/>
                </a:cubicBezTo>
                <a:cubicBezTo>
                  <a:pt x="48" y="82"/>
                  <a:pt x="48" y="81"/>
                  <a:pt x="48" y="80"/>
                </a:cubicBezTo>
                <a:cubicBezTo>
                  <a:pt x="48" y="79"/>
                  <a:pt x="48" y="77"/>
                  <a:pt x="48" y="75"/>
                </a:cubicBezTo>
                <a:cubicBezTo>
                  <a:pt x="48" y="75"/>
                  <a:pt x="48" y="75"/>
                  <a:pt x="48" y="75"/>
                </a:cubicBezTo>
                <a:cubicBezTo>
                  <a:pt x="106" y="42"/>
                  <a:pt x="106" y="42"/>
                  <a:pt x="106" y="42"/>
                </a:cubicBezTo>
                <a:cubicBezTo>
                  <a:pt x="110" y="46"/>
                  <a:pt x="115" y="48"/>
                  <a:pt x="122" y="48"/>
                </a:cubicBezTo>
                <a:cubicBezTo>
                  <a:pt x="135" y="48"/>
                  <a:pt x="146" y="37"/>
                  <a:pt x="146" y="24"/>
                </a:cubicBezTo>
                <a:cubicBezTo>
                  <a:pt x="146" y="11"/>
                  <a:pt x="135" y="0"/>
                  <a:pt x="122" y="0"/>
                </a:cubicBezTo>
                <a:cubicBezTo>
                  <a:pt x="108" y="0"/>
                  <a:pt x="98" y="11"/>
                  <a:pt x="98" y="24"/>
                </a:cubicBezTo>
                <a:cubicBezTo>
                  <a:pt x="98" y="25"/>
                  <a:pt x="98" y="27"/>
                  <a:pt x="98" y="28"/>
                </a:cubicBezTo>
                <a:cubicBezTo>
                  <a:pt x="98" y="28"/>
                  <a:pt x="98" y="28"/>
                  <a:pt x="98" y="28"/>
                </a:cubicBezTo>
                <a:cubicBezTo>
                  <a:pt x="40" y="62"/>
                  <a:pt x="40" y="62"/>
                  <a:pt x="40" y="62"/>
                </a:cubicBezTo>
                <a:cubicBezTo>
                  <a:pt x="40" y="62"/>
                  <a:pt x="40" y="62"/>
                  <a:pt x="40" y="62"/>
                </a:cubicBezTo>
                <a:cubicBezTo>
                  <a:pt x="35" y="58"/>
                  <a:pt x="30" y="56"/>
                  <a:pt x="24" y="56"/>
                </a:cubicBezTo>
                <a:cubicBezTo>
                  <a:pt x="11" y="56"/>
                  <a:pt x="0" y="67"/>
                  <a:pt x="0" y="80"/>
                </a:cubicBezTo>
                <a:cubicBezTo>
                  <a:pt x="0" y="94"/>
                  <a:pt x="11" y="104"/>
                  <a:pt x="24" y="104"/>
                </a:cubicBezTo>
                <a:cubicBezTo>
                  <a:pt x="31" y="104"/>
                  <a:pt x="37" y="102"/>
                  <a:pt x="41" y="98"/>
                </a:cubicBezTo>
                <a:cubicBezTo>
                  <a:pt x="98" y="131"/>
                  <a:pt x="98" y="131"/>
                  <a:pt x="98" y="131"/>
                </a:cubicBezTo>
                <a:cubicBezTo>
                  <a:pt x="98" y="131"/>
                  <a:pt x="98" y="131"/>
                  <a:pt x="98" y="131"/>
                </a:cubicBezTo>
                <a:cubicBezTo>
                  <a:pt x="98" y="133"/>
                  <a:pt x="98" y="135"/>
                  <a:pt x="98" y="137"/>
                </a:cubicBezTo>
                <a:cubicBezTo>
                  <a:pt x="98" y="150"/>
                  <a:pt x="108" y="161"/>
                  <a:pt x="122" y="161"/>
                </a:cubicBezTo>
                <a:cubicBezTo>
                  <a:pt x="135" y="161"/>
                  <a:pt x="146" y="150"/>
                  <a:pt x="146" y="137"/>
                </a:cubicBezTo>
                <a:cubicBezTo>
                  <a:pt x="146" y="123"/>
                  <a:pt x="135" y="113"/>
                  <a:pt x="122" y="113"/>
                </a:cubicBezTo>
                <a:close/>
                <a:moveTo>
                  <a:pt x="122" y="16"/>
                </a:moveTo>
                <a:cubicBezTo>
                  <a:pt x="126" y="16"/>
                  <a:pt x="130" y="20"/>
                  <a:pt x="130" y="24"/>
                </a:cubicBezTo>
                <a:cubicBezTo>
                  <a:pt x="130" y="28"/>
                  <a:pt x="126" y="32"/>
                  <a:pt x="122" y="32"/>
                </a:cubicBezTo>
                <a:cubicBezTo>
                  <a:pt x="117" y="32"/>
                  <a:pt x="114" y="28"/>
                  <a:pt x="114" y="24"/>
                </a:cubicBezTo>
                <a:cubicBezTo>
                  <a:pt x="114" y="20"/>
                  <a:pt x="117" y="16"/>
                  <a:pt x="122" y="16"/>
                </a:cubicBezTo>
                <a:close/>
                <a:moveTo>
                  <a:pt x="24" y="88"/>
                </a:moveTo>
                <a:cubicBezTo>
                  <a:pt x="20" y="88"/>
                  <a:pt x="16" y="85"/>
                  <a:pt x="16" y="80"/>
                </a:cubicBezTo>
                <a:cubicBezTo>
                  <a:pt x="16" y="76"/>
                  <a:pt x="20" y="72"/>
                  <a:pt x="24" y="72"/>
                </a:cubicBezTo>
                <a:cubicBezTo>
                  <a:pt x="29" y="72"/>
                  <a:pt x="32" y="76"/>
                  <a:pt x="32" y="80"/>
                </a:cubicBezTo>
                <a:cubicBezTo>
                  <a:pt x="32" y="85"/>
                  <a:pt x="29" y="88"/>
                  <a:pt x="24" y="88"/>
                </a:cubicBezTo>
                <a:close/>
                <a:moveTo>
                  <a:pt x="44" y="95"/>
                </a:moveTo>
                <a:cubicBezTo>
                  <a:pt x="44" y="95"/>
                  <a:pt x="44" y="95"/>
                  <a:pt x="44" y="95"/>
                </a:cubicBezTo>
                <a:cubicBezTo>
                  <a:pt x="44" y="95"/>
                  <a:pt x="44" y="95"/>
                  <a:pt x="44" y="95"/>
                </a:cubicBezTo>
                <a:close/>
                <a:moveTo>
                  <a:pt x="122" y="145"/>
                </a:moveTo>
                <a:cubicBezTo>
                  <a:pt x="117" y="145"/>
                  <a:pt x="114" y="141"/>
                  <a:pt x="114" y="137"/>
                </a:cubicBezTo>
                <a:cubicBezTo>
                  <a:pt x="114" y="132"/>
                  <a:pt x="117" y="129"/>
                  <a:pt x="122" y="129"/>
                </a:cubicBezTo>
                <a:cubicBezTo>
                  <a:pt x="126" y="129"/>
                  <a:pt x="130" y="132"/>
                  <a:pt x="130" y="137"/>
                </a:cubicBezTo>
                <a:cubicBezTo>
                  <a:pt x="130" y="141"/>
                  <a:pt x="126" y="145"/>
                  <a:pt x="122" y="1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a:extLst>
              <a:ext uri="{FF2B5EF4-FFF2-40B4-BE49-F238E27FC236}">
                <a16:creationId xmlns:a16="http://schemas.microsoft.com/office/drawing/2014/main" id="{DB65EE57-BFDE-4416-8EDA-8A59195187D3}"/>
              </a:ext>
            </a:extLst>
          </p:cNvPr>
          <p:cNvGrpSpPr/>
          <p:nvPr/>
        </p:nvGrpSpPr>
        <p:grpSpPr>
          <a:xfrm>
            <a:off x="5844272" y="1509303"/>
            <a:ext cx="327259" cy="312440"/>
            <a:chOff x="10239375" y="4013201"/>
            <a:chExt cx="420688" cy="401638"/>
          </a:xfrm>
          <a:solidFill>
            <a:schemeClr val="bg1"/>
          </a:solidFill>
        </p:grpSpPr>
        <p:sp>
          <p:nvSpPr>
            <p:cNvPr id="9" name="Freeform 6">
              <a:extLst>
                <a:ext uri="{FF2B5EF4-FFF2-40B4-BE49-F238E27FC236}">
                  <a16:creationId xmlns:a16="http://schemas.microsoft.com/office/drawing/2014/main" id="{1FFCEE24-3370-41C9-878F-2EC51A22CFB5}"/>
                </a:ext>
              </a:extLst>
            </p:cNvPr>
            <p:cNvSpPr>
              <a:spLocks/>
            </p:cNvSpPr>
            <p:nvPr/>
          </p:nvSpPr>
          <p:spPr bwMode="auto">
            <a:xfrm>
              <a:off x="10271125" y="4270376"/>
              <a:ext cx="141288" cy="141288"/>
            </a:xfrm>
            <a:custGeom>
              <a:avLst/>
              <a:gdLst>
                <a:gd name="T0" fmla="*/ 43 w 52"/>
                <a:gd name="T1" fmla="*/ 0 h 52"/>
                <a:gd name="T2" fmla="*/ 21 w 52"/>
                <a:gd name="T3" fmla="*/ 21 h 52"/>
                <a:gd name="T4" fmla="*/ 17 w 52"/>
                <a:gd name="T5" fmla="*/ 17 h 52"/>
                <a:gd name="T6" fmla="*/ 0 w 52"/>
                <a:gd name="T7" fmla="*/ 46 h 52"/>
                <a:gd name="T8" fmla="*/ 7 w 52"/>
                <a:gd name="T9" fmla="*/ 52 h 52"/>
                <a:gd name="T10" fmla="*/ 35 w 52"/>
                <a:gd name="T11" fmla="*/ 35 h 52"/>
                <a:gd name="T12" fmla="*/ 31 w 52"/>
                <a:gd name="T13" fmla="*/ 31 h 52"/>
                <a:gd name="T14" fmla="*/ 52 w 52"/>
                <a:gd name="T15" fmla="*/ 10 h 52"/>
                <a:gd name="T16" fmla="*/ 47 w 52"/>
                <a:gd name="T17" fmla="*/ 5 h 52"/>
                <a:gd name="T18" fmla="*/ 43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43" y="0"/>
                  </a:moveTo>
                  <a:cubicBezTo>
                    <a:pt x="21" y="21"/>
                    <a:pt x="21" y="21"/>
                    <a:pt x="21" y="21"/>
                  </a:cubicBezTo>
                  <a:cubicBezTo>
                    <a:pt x="17" y="17"/>
                    <a:pt x="17" y="17"/>
                    <a:pt x="17" y="17"/>
                  </a:cubicBezTo>
                  <a:cubicBezTo>
                    <a:pt x="0" y="46"/>
                    <a:pt x="0" y="46"/>
                    <a:pt x="0" y="46"/>
                  </a:cubicBezTo>
                  <a:cubicBezTo>
                    <a:pt x="7" y="52"/>
                    <a:pt x="7" y="52"/>
                    <a:pt x="7" y="52"/>
                  </a:cubicBezTo>
                  <a:cubicBezTo>
                    <a:pt x="35" y="35"/>
                    <a:pt x="35" y="35"/>
                    <a:pt x="35" y="35"/>
                  </a:cubicBezTo>
                  <a:cubicBezTo>
                    <a:pt x="31" y="31"/>
                    <a:pt x="31" y="31"/>
                    <a:pt x="31" y="31"/>
                  </a:cubicBezTo>
                  <a:cubicBezTo>
                    <a:pt x="52" y="10"/>
                    <a:pt x="52" y="10"/>
                    <a:pt x="52" y="10"/>
                  </a:cubicBezTo>
                  <a:cubicBezTo>
                    <a:pt x="51" y="8"/>
                    <a:pt x="49" y="6"/>
                    <a:pt x="47" y="5"/>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a:extLst>
                <a:ext uri="{FF2B5EF4-FFF2-40B4-BE49-F238E27FC236}">
                  <a16:creationId xmlns:a16="http://schemas.microsoft.com/office/drawing/2014/main" id="{D389A55C-D1A2-48ED-B2AA-50AD5CACFC0E}"/>
                </a:ext>
              </a:extLst>
            </p:cNvPr>
            <p:cNvSpPr>
              <a:spLocks/>
            </p:cNvSpPr>
            <p:nvPr/>
          </p:nvSpPr>
          <p:spPr bwMode="auto">
            <a:xfrm>
              <a:off x="10460038" y="4037013"/>
              <a:ext cx="200025" cy="187325"/>
            </a:xfrm>
            <a:custGeom>
              <a:avLst/>
              <a:gdLst>
                <a:gd name="T0" fmla="*/ 39 w 74"/>
                <a:gd name="T1" fmla="*/ 14 h 69"/>
                <a:gd name="T2" fmla="*/ 49 w 74"/>
                <a:gd name="T3" fmla="*/ 21 h 69"/>
                <a:gd name="T4" fmla="*/ 56 w 74"/>
                <a:gd name="T5" fmla="*/ 31 h 69"/>
                <a:gd name="T6" fmla="*/ 27 w 74"/>
                <a:gd name="T7" fmla="*/ 60 h 69"/>
                <a:gd name="T8" fmla="*/ 37 w 74"/>
                <a:gd name="T9" fmla="*/ 69 h 69"/>
                <a:gd name="T10" fmla="*/ 67 w 74"/>
                <a:gd name="T11" fmla="*/ 39 h 69"/>
                <a:gd name="T12" fmla="*/ 59 w 74"/>
                <a:gd name="T13" fmla="*/ 11 h 69"/>
                <a:gd name="T14" fmla="*/ 38 w 74"/>
                <a:gd name="T15" fmla="*/ 0 h 69"/>
                <a:gd name="T16" fmla="*/ 30 w 74"/>
                <a:gd name="T17" fmla="*/ 3 h 69"/>
                <a:gd name="T18" fmla="*/ 0 w 74"/>
                <a:gd name="T19" fmla="*/ 33 h 69"/>
                <a:gd name="T20" fmla="*/ 10 w 74"/>
                <a:gd name="T21" fmla="*/ 43 h 69"/>
                <a:gd name="T22" fmla="*/ 39 w 74"/>
                <a:gd name="T23"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9">
                  <a:moveTo>
                    <a:pt x="39" y="14"/>
                  </a:moveTo>
                  <a:cubicBezTo>
                    <a:pt x="41" y="14"/>
                    <a:pt x="45" y="17"/>
                    <a:pt x="49" y="21"/>
                  </a:cubicBezTo>
                  <a:cubicBezTo>
                    <a:pt x="53" y="24"/>
                    <a:pt x="55" y="29"/>
                    <a:pt x="56" y="31"/>
                  </a:cubicBezTo>
                  <a:cubicBezTo>
                    <a:pt x="27" y="60"/>
                    <a:pt x="27" y="60"/>
                    <a:pt x="27" y="60"/>
                  </a:cubicBezTo>
                  <a:cubicBezTo>
                    <a:pt x="30" y="63"/>
                    <a:pt x="34" y="66"/>
                    <a:pt x="37" y="69"/>
                  </a:cubicBezTo>
                  <a:cubicBezTo>
                    <a:pt x="67" y="39"/>
                    <a:pt x="67" y="39"/>
                    <a:pt x="67" y="39"/>
                  </a:cubicBezTo>
                  <a:cubicBezTo>
                    <a:pt x="74" y="32"/>
                    <a:pt x="68" y="20"/>
                    <a:pt x="59" y="11"/>
                  </a:cubicBezTo>
                  <a:cubicBezTo>
                    <a:pt x="54" y="6"/>
                    <a:pt x="45" y="0"/>
                    <a:pt x="38" y="0"/>
                  </a:cubicBezTo>
                  <a:cubicBezTo>
                    <a:pt x="34" y="0"/>
                    <a:pt x="31" y="1"/>
                    <a:pt x="30" y="3"/>
                  </a:cubicBezTo>
                  <a:cubicBezTo>
                    <a:pt x="0" y="33"/>
                    <a:pt x="0" y="33"/>
                    <a:pt x="0" y="33"/>
                  </a:cubicBezTo>
                  <a:cubicBezTo>
                    <a:pt x="10" y="43"/>
                    <a:pt x="10" y="43"/>
                    <a:pt x="10" y="43"/>
                  </a:cubicBezTo>
                  <a:lnTo>
                    <a:pt x="3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a:extLst>
                <a:ext uri="{FF2B5EF4-FFF2-40B4-BE49-F238E27FC236}">
                  <a16:creationId xmlns:a16="http://schemas.microsoft.com/office/drawing/2014/main" id="{C73CFC9C-AD77-48EC-8DFD-C4E94521823C}"/>
                </a:ext>
              </a:extLst>
            </p:cNvPr>
            <p:cNvSpPr>
              <a:spLocks noEditPoints="1"/>
            </p:cNvSpPr>
            <p:nvPr/>
          </p:nvSpPr>
          <p:spPr bwMode="auto">
            <a:xfrm>
              <a:off x="10239375" y="4013201"/>
              <a:ext cx="401638" cy="401638"/>
            </a:xfrm>
            <a:custGeom>
              <a:avLst/>
              <a:gdLst>
                <a:gd name="T0" fmla="*/ 103 w 148"/>
                <a:gd name="T1" fmla="*/ 74 h 148"/>
                <a:gd name="T2" fmla="*/ 76 w 148"/>
                <a:gd name="T3" fmla="*/ 47 h 148"/>
                <a:gd name="T4" fmla="*/ 74 w 148"/>
                <a:gd name="T5" fmla="*/ 36 h 148"/>
                <a:gd name="T6" fmla="*/ 39 w 148"/>
                <a:gd name="T7" fmla="*/ 1 h 148"/>
                <a:gd name="T8" fmla="*/ 28 w 148"/>
                <a:gd name="T9" fmla="*/ 4 h 148"/>
                <a:gd name="T10" fmla="*/ 26 w 148"/>
                <a:gd name="T11" fmla="*/ 4 h 148"/>
                <a:gd name="T12" fmla="*/ 21 w 148"/>
                <a:gd name="T13" fmla="*/ 7 h 148"/>
                <a:gd name="T14" fmla="*/ 27 w 148"/>
                <a:gd name="T15" fmla="*/ 13 h 148"/>
                <a:gd name="T16" fmla="*/ 39 w 148"/>
                <a:gd name="T17" fmla="*/ 25 h 148"/>
                <a:gd name="T18" fmla="*/ 29 w 148"/>
                <a:gd name="T19" fmla="*/ 40 h 148"/>
                <a:gd name="T20" fmla="*/ 12 w 148"/>
                <a:gd name="T21" fmla="*/ 28 h 148"/>
                <a:gd name="T22" fmla="*/ 12 w 148"/>
                <a:gd name="T23" fmla="*/ 28 h 148"/>
                <a:gd name="T24" fmla="*/ 3 w 148"/>
                <a:gd name="T25" fmla="*/ 27 h 148"/>
                <a:gd name="T26" fmla="*/ 3 w 148"/>
                <a:gd name="T27" fmla="*/ 28 h 148"/>
                <a:gd name="T28" fmla="*/ 3 w 148"/>
                <a:gd name="T29" fmla="*/ 28 h 148"/>
                <a:gd name="T30" fmla="*/ 11 w 148"/>
                <a:gd name="T31" fmla="*/ 66 h 148"/>
                <a:gd name="T32" fmla="*/ 43 w 148"/>
                <a:gd name="T33" fmla="*/ 74 h 148"/>
                <a:gd name="T34" fmla="*/ 60 w 148"/>
                <a:gd name="T35" fmla="*/ 90 h 148"/>
                <a:gd name="T36" fmla="*/ 83 w 148"/>
                <a:gd name="T37" fmla="*/ 113 h 148"/>
                <a:gd name="T38" fmla="*/ 123 w 148"/>
                <a:gd name="T39" fmla="*/ 148 h 148"/>
                <a:gd name="T40" fmla="*/ 148 w 148"/>
                <a:gd name="T41" fmla="*/ 124 h 148"/>
                <a:gd name="T42" fmla="*/ 113 w 148"/>
                <a:gd name="T43" fmla="*/ 83 h 148"/>
                <a:gd name="T44" fmla="*/ 56 w 148"/>
                <a:gd name="T45" fmla="*/ 67 h 148"/>
                <a:gd name="T46" fmla="*/ 43 w 148"/>
                <a:gd name="T47" fmla="*/ 60 h 148"/>
                <a:gd name="T48" fmla="*/ 20 w 148"/>
                <a:gd name="T49" fmla="*/ 57 h 148"/>
                <a:gd name="T50" fmla="*/ 13 w 148"/>
                <a:gd name="T51" fmla="*/ 39 h 148"/>
                <a:gd name="T52" fmla="*/ 26 w 148"/>
                <a:gd name="T53" fmla="*/ 48 h 148"/>
                <a:gd name="T54" fmla="*/ 44 w 148"/>
                <a:gd name="T55" fmla="*/ 34 h 148"/>
                <a:gd name="T56" fmla="*/ 38 w 148"/>
                <a:gd name="T57" fmla="*/ 14 h 148"/>
                <a:gd name="T58" fmla="*/ 56 w 148"/>
                <a:gd name="T59" fmla="*/ 21 h 148"/>
                <a:gd name="T60" fmla="*/ 59 w 148"/>
                <a:gd name="T61" fmla="*/ 43 h 148"/>
                <a:gd name="T62" fmla="*/ 61 w 148"/>
                <a:gd name="T63" fmla="*/ 51 h 148"/>
                <a:gd name="T64" fmla="*/ 80 w 148"/>
                <a:gd name="T65" fmla="*/ 69 h 148"/>
                <a:gd name="T66" fmla="*/ 100 w 148"/>
                <a:gd name="T67" fmla="*/ 90 h 148"/>
                <a:gd name="T68" fmla="*/ 130 w 148"/>
                <a:gd name="T69" fmla="*/ 131 h 148"/>
                <a:gd name="T70" fmla="*/ 106 w 148"/>
                <a:gd name="T71" fmla="*/ 117 h 148"/>
                <a:gd name="T72" fmla="*/ 81 w 148"/>
                <a:gd name="T73" fmla="*/ 93 h 148"/>
                <a:gd name="T74" fmla="*/ 29 w 148"/>
                <a:gd name="T75"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8">
                  <a:moveTo>
                    <a:pt x="113" y="83"/>
                  </a:moveTo>
                  <a:cubicBezTo>
                    <a:pt x="110" y="80"/>
                    <a:pt x="106" y="77"/>
                    <a:pt x="103" y="74"/>
                  </a:cubicBezTo>
                  <a:cubicBezTo>
                    <a:pt x="97" y="68"/>
                    <a:pt x="91" y="62"/>
                    <a:pt x="86" y="57"/>
                  </a:cubicBezTo>
                  <a:cubicBezTo>
                    <a:pt x="82" y="53"/>
                    <a:pt x="79" y="50"/>
                    <a:pt x="76" y="47"/>
                  </a:cubicBezTo>
                  <a:cubicBezTo>
                    <a:pt x="75" y="46"/>
                    <a:pt x="74" y="45"/>
                    <a:pt x="73" y="44"/>
                  </a:cubicBezTo>
                  <a:cubicBezTo>
                    <a:pt x="74" y="42"/>
                    <a:pt x="74" y="39"/>
                    <a:pt x="74" y="36"/>
                  </a:cubicBezTo>
                  <a:cubicBezTo>
                    <a:pt x="75" y="27"/>
                    <a:pt x="72" y="18"/>
                    <a:pt x="65" y="11"/>
                  </a:cubicBezTo>
                  <a:cubicBezTo>
                    <a:pt x="59" y="4"/>
                    <a:pt x="49" y="0"/>
                    <a:pt x="39" y="1"/>
                  </a:cubicBezTo>
                  <a:cubicBezTo>
                    <a:pt x="34" y="1"/>
                    <a:pt x="30" y="2"/>
                    <a:pt x="28" y="4"/>
                  </a:cubicBezTo>
                  <a:cubicBezTo>
                    <a:pt x="28" y="4"/>
                    <a:pt x="28" y="4"/>
                    <a:pt x="28" y="4"/>
                  </a:cubicBezTo>
                  <a:cubicBezTo>
                    <a:pt x="28" y="4"/>
                    <a:pt x="28" y="4"/>
                    <a:pt x="28" y="4"/>
                  </a:cubicBezTo>
                  <a:cubicBezTo>
                    <a:pt x="27" y="4"/>
                    <a:pt x="26" y="4"/>
                    <a:pt x="26" y="4"/>
                  </a:cubicBezTo>
                  <a:cubicBezTo>
                    <a:pt x="26" y="4"/>
                    <a:pt x="26" y="4"/>
                    <a:pt x="26" y="4"/>
                  </a:cubicBezTo>
                  <a:cubicBezTo>
                    <a:pt x="21" y="7"/>
                    <a:pt x="21" y="7"/>
                    <a:pt x="21" y="7"/>
                  </a:cubicBezTo>
                  <a:cubicBezTo>
                    <a:pt x="27" y="13"/>
                    <a:pt x="27" y="13"/>
                    <a:pt x="27" y="13"/>
                  </a:cubicBezTo>
                  <a:cubicBezTo>
                    <a:pt x="27" y="13"/>
                    <a:pt x="27" y="13"/>
                    <a:pt x="27" y="13"/>
                  </a:cubicBezTo>
                  <a:cubicBezTo>
                    <a:pt x="29" y="15"/>
                    <a:pt x="29" y="15"/>
                    <a:pt x="29" y="15"/>
                  </a:cubicBezTo>
                  <a:cubicBezTo>
                    <a:pt x="39" y="25"/>
                    <a:pt x="39" y="25"/>
                    <a:pt x="39" y="25"/>
                  </a:cubicBezTo>
                  <a:cubicBezTo>
                    <a:pt x="40" y="26"/>
                    <a:pt x="40" y="28"/>
                    <a:pt x="39" y="30"/>
                  </a:cubicBezTo>
                  <a:cubicBezTo>
                    <a:pt x="29" y="40"/>
                    <a:pt x="29" y="40"/>
                    <a:pt x="29" y="40"/>
                  </a:cubicBezTo>
                  <a:cubicBezTo>
                    <a:pt x="27" y="41"/>
                    <a:pt x="25" y="41"/>
                    <a:pt x="24" y="40"/>
                  </a:cubicBezTo>
                  <a:cubicBezTo>
                    <a:pt x="12" y="28"/>
                    <a:pt x="12" y="28"/>
                    <a:pt x="12" y="28"/>
                  </a:cubicBezTo>
                  <a:cubicBezTo>
                    <a:pt x="12" y="28"/>
                    <a:pt x="12" y="28"/>
                    <a:pt x="12" y="28"/>
                  </a:cubicBezTo>
                  <a:cubicBezTo>
                    <a:pt x="12" y="28"/>
                    <a:pt x="12" y="28"/>
                    <a:pt x="12" y="28"/>
                  </a:cubicBezTo>
                  <a:cubicBezTo>
                    <a:pt x="6" y="22"/>
                    <a:pt x="6" y="22"/>
                    <a:pt x="6" y="22"/>
                  </a:cubicBezTo>
                  <a:cubicBezTo>
                    <a:pt x="3" y="27"/>
                    <a:pt x="3" y="27"/>
                    <a:pt x="3" y="27"/>
                  </a:cubicBezTo>
                  <a:cubicBezTo>
                    <a:pt x="3" y="27"/>
                    <a:pt x="3" y="27"/>
                    <a:pt x="3" y="27"/>
                  </a:cubicBezTo>
                  <a:cubicBezTo>
                    <a:pt x="3" y="27"/>
                    <a:pt x="3" y="27"/>
                    <a:pt x="3" y="28"/>
                  </a:cubicBezTo>
                  <a:cubicBezTo>
                    <a:pt x="3" y="28"/>
                    <a:pt x="3" y="28"/>
                    <a:pt x="3" y="28"/>
                  </a:cubicBezTo>
                  <a:cubicBezTo>
                    <a:pt x="3" y="28"/>
                    <a:pt x="3" y="28"/>
                    <a:pt x="3" y="28"/>
                  </a:cubicBezTo>
                  <a:cubicBezTo>
                    <a:pt x="2" y="30"/>
                    <a:pt x="0" y="35"/>
                    <a:pt x="0" y="40"/>
                  </a:cubicBezTo>
                  <a:cubicBezTo>
                    <a:pt x="0" y="50"/>
                    <a:pt x="4" y="60"/>
                    <a:pt x="11" y="66"/>
                  </a:cubicBezTo>
                  <a:cubicBezTo>
                    <a:pt x="17" y="73"/>
                    <a:pt x="26" y="76"/>
                    <a:pt x="36" y="75"/>
                  </a:cubicBezTo>
                  <a:cubicBezTo>
                    <a:pt x="38" y="75"/>
                    <a:pt x="41" y="75"/>
                    <a:pt x="43" y="74"/>
                  </a:cubicBezTo>
                  <a:cubicBezTo>
                    <a:pt x="46" y="77"/>
                    <a:pt x="46" y="77"/>
                    <a:pt x="46" y="77"/>
                  </a:cubicBezTo>
                  <a:cubicBezTo>
                    <a:pt x="60" y="90"/>
                    <a:pt x="60" y="90"/>
                    <a:pt x="60" y="90"/>
                  </a:cubicBezTo>
                  <a:cubicBezTo>
                    <a:pt x="69" y="100"/>
                    <a:pt x="69" y="100"/>
                    <a:pt x="69" y="100"/>
                  </a:cubicBezTo>
                  <a:cubicBezTo>
                    <a:pt x="83" y="113"/>
                    <a:pt x="83" y="113"/>
                    <a:pt x="83" y="113"/>
                  </a:cubicBezTo>
                  <a:cubicBezTo>
                    <a:pt x="115" y="145"/>
                    <a:pt x="115" y="145"/>
                    <a:pt x="115" y="145"/>
                  </a:cubicBezTo>
                  <a:cubicBezTo>
                    <a:pt x="117" y="147"/>
                    <a:pt x="120" y="148"/>
                    <a:pt x="123" y="148"/>
                  </a:cubicBezTo>
                  <a:cubicBezTo>
                    <a:pt x="128" y="148"/>
                    <a:pt x="135" y="145"/>
                    <a:pt x="140" y="140"/>
                  </a:cubicBezTo>
                  <a:cubicBezTo>
                    <a:pt x="145" y="135"/>
                    <a:pt x="148" y="129"/>
                    <a:pt x="148" y="124"/>
                  </a:cubicBezTo>
                  <a:cubicBezTo>
                    <a:pt x="148" y="120"/>
                    <a:pt x="147" y="117"/>
                    <a:pt x="145" y="115"/>
                  </a:cubicBezTo>
                  <a:cubicBezTo>
                    <a:pt x="145" y="115"/>
                    <a:pt x="129" y="100"/>
                    <a:pt x="113" y="83"/>
                  </a:cubicBezTo>
                  <a:close/>
                  <a:moveTo>
                    <a:pt x="67" y="79"/>
                  </a:moveTo>
                  <a:cubicBezTo>
                    <a:pt x="56" y="67"/>
                    <a:pt x="56" y="67"/>
                    <a:pt x="56" y="67"/>
                  </a:cubicBezTo>
                  <a:cubicBezTo>
                    <a:pt x="47" y="58"/>
                    <a:pt x="47" y="58"/>
                    <a:pt x="47" y="58"/>
                  </a:cubicBezTo>
                  <a:cubicBezTo>
                    <a:pt x="43" y="60"/>
                    <a:pt x="43" y="60"/>
                    <a:pt x="43" y="60"/>
                  </a:cubicBezTo>
                  <a:cubicBezTo>
                    <a:pt x="40" y="61"/>
                    <a:pt x="37" y="62"/>
                    <a:pt x="35" y="62"/>
                  </a:cubicBezTo>
                  <a:cubicBezTo>
                    <a:pt x="29" y="62"/>
                    <a:pt x="24" y="60"/>
                    <a:pt x="20" y="57"/>
                  </a:cubicBezTo>
                  <a:cubicBezTo>
                    <a:pt x="16" y="53"/>
                    <a:pt x="13" y="47"/>
                    <a:pt x="13" y="40"/>
                  </a:cubicBezTo>
                  <a:cubicBezTo>
                    <a:pt x="13" y="39"/>
                    <a:pt x="13" y="39"/>
                    <a:pt x="13" y="39"/>
                  </a:cubicBezTo>
                  <a:cubicBezTo>
                    <a:pt x="19" y="45"/>
                    <a:pt x="19" y="45"/>
                    <a:pt x="19" y="45"/>
                  </a:cubicBezTo>
                  <a:cubicBezTo>
                    <a:pt x="21" y="47"/>
                    <a:pt x="24" y="48"/>
                    <a:pt x="26" y="48"/>
                  </a:cubicBezTo>
                  <a:cubicBezTo>
                    <a:pt x="29" y="48"/>
                    <a:pt x="32" y="47"/>
                    <a:pt x="34" y="45"/>
                  </a:cubicBezTo>
                  <a:cubicBezTo>
                    <a:pt x="44" y="34"/>
                    <a:pt x="44" y="34"/>
                    <a:pt x="44" y="34"/>
                  </a:cubicBezTo>
                  <a:cubicBezTo>
                    <a:pt x="48" y="30"/>
                    <a:pt x="48" y="24"/>
                    <a:pt x="44" y="20"/>
                  </a:cubicBezTo>
                  <a:cubicBezTo>
                    <a:pt x="38" y="14"/>
                    <a:pt x="38" y="14"/>
                    <a:pt x="38" y="14"/>
                  </a:cubicBezTo>
                  <a:cubicBezTo>
                    <a:pt x="39" y="14"/>
                    <a:pt x="39" y="14"/>
                    <a:pt x="39" y="14"/>
                  </a:cubicBezTo>
                  <a:cubicBezTo>
                    <a:pt x="46" y="14"/>
                    <a:pt x="52" y="16"/>
                    <a:pt x="56" y="21"/>
                  </a:cubicBezTo>
                  <a:cubicBezTo>
                    <a:pt x="60" y="24"/>
                    <a:pt x="61" y="30"/>
                    <a:pt x="61" y="36"/>
                  </a:cubicBezTo>
                  <a:cubicBezTo>
                    <a:pt x="61" y="38"/>
                    <a:pt x="60" y="41"/>
                    <a:pt x="59" y="43"/>
                  </a:cubicBezTo>
                  <a:cubicBezTo>
                    <a:pt x="58" y="48"/>
                    <a:pt x="58" y="48"/>
                    <a:pt x="58" y="48"/>
                  </a:cubicBezTo>
                  <a:cubicBezTo>
                    <a:pt x="61" y="51"/>
                    <a:pt x="61" y="51"/>
                    <a:pt x="61" y="51"/>
                  </a:cubicBezTo>
                  <a:cubicBezTo>
                    <a:pt x="63" y="52"/>
                    <a:pt x="66" y="56"/>
                    <a:pt x="70" y="59"/>
                  </a:cubicBezTo>
                  <a:cubicBezTo>
                    <a:pt x="73" y="62"/>
                    <a:pt x="76" y="66"/>
                    <a:pt x="80" y="69"/>
                  </a:cubicBezTo>
                  <a:cubicBezTo>
                    <a:pt x="83" y="73"/>
                    <a:pt x="87" y="76"/>
                    <a:pt x="90" y="80"/>
                  </a:cubicBezTo>
                  <a:cubicBezTo>
                    <a:pt x="94" y="83"/>
                    <a:pt x="97" y="87"/>
                    <a:pt x="100" y="90"/>
                  </a:cubicBezTo>
                  <a:cubicBezTo>
                    <a:pt x="116" y="106"/>
                    <a:pt x="131" y="121"/>
                    <a:pt x="134" y="124"/>
                  </a:cubicBezTo>
                  <a:cubicBezTo>
                    <a:pt x="134" y="125"/>
                    <a:pt x="133" y="128"/>
                    <a:pt x="130" y="131"/>
                  </a:cubicBezTo>
                  <a:cubicBezTo>
                    <a:pt x="127" y="134"/>
                    <a:pt x="125" y="135"/>
                    <a:pt x="124" y="135"/>
                  </a:cubicBezTo>
                  <a:cubicBezTo>
                    <a:pt x="121" y="133"/>
                    <a:pt x="115" y="126"/>
                    <a:pt x="106" y="117"/>
                  </a:cubicBezTo>
                  <a:cubicBezTo>
                    <a:pt x="92" y="104"/>
                    <a:pt x="92" y="104"/>
                    <a:pt x="92" y="104"/>
                  </a:cubicBezTo>
                  <a:cubicBezTo>
                    <a:pt x="81" y="93"/>
                    <a:pt x="81" y="93"/>
                    <a:pt x="81" y="93"/>
                  </a:cubicBezTo>
                  <a:lnTo>
                    <a:pt x="67" y="79"/>
                  </a:lnTo>
                  <a:close/>
                  <a:moveTo>
                    <a:pt x="29" y="10"/>
                  </a:moveTo>
                  <a:cubicBezTo>
                    <a:pt x="29" y="10"/>
                    <a:pt x="29" y="10"/>
                    <a:pt x="2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ext Placeholder 8">
            <a:extLst>
              <a:ext uri="{FF2B5EF4-FFF2-40B4-BE49-F238E27FC236}">
                <a16:creationId xmlns:a16="http://schemas.microsoft.com/office/drawing/2014/main" id="{BA39A33E-C5F5-3A10-4739-3D0545ABF05A}"/>
              </a:ext>
            </a:extLst>
          </p:cNvPr>
          <p:cNvSpPr txBox="1">
            <a:spLocks/>
          </p:cNvSpPr>
          <p:nvPr/>
        </p:nvSpPr>
        <p:spPr>
          <a:xfrm>
            <a:off x="-1" y="6115050"/>
            <a:ext cx="12192000" cy="374904"/>
          </a:xfrm>
          <a:prstGeom prst="rect">
            <a:avLst/>
          </a:prstGeom>
          <a:solidFill>
            <a:srgbClr val="DC202E"/>
          </a:solidFill>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a:solidFill>
                  <a:schemeClr val="bg1"/>
                </a:solidFill>
              </a:rPr>
              <a:t>Enhanced Support &amp; Fault Isolation | Reduce Spare Part Consumption | Leverage Data</a:t>
            </a:r>
          </a:p>
        </p:txBody>
      </p:sp>
    </p:spTree>
    <p:extLst>
      <p:ext uri="{BB962C8B-B14F-4D97-AF65-F5344CB8AC3E}">
        <p14:creationId xmlns:p14="http://schemas.microsoft.com/office/powerpoint/2010/main" val="19640041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39A63E7B-5839-4589-B02A-0EC6359E47AE}"/>
              </a:ext>
            </a:extLst>
          </p:cNvPr>
          <p:cNvSpPr txBox="1"/>
          <p:nvPr/>
        </p:nvSpPr>
        <p:spPr>
          <a:xfrm>
            <a:off x="69659" y="2460745"/>
            <a:ext cx="3173957" cy="1087477"/>
          </a:xfrm>
          <a:prstGeom prst="rect">
            <a:avLst/>
          </a:prstGeom>
          <a:noFill/>
        </p:spPr>
        <p:txBody>
          <a:bodyPr wrap="square" lIns="108000" rIns="108000" rtlCol="0">
            <a:spAutoFit/>
          </a:bodyPr>
          <a:lstStyle/>
          <a:p>
            <a:pPr marL="12700" marR="0" lvl="0" indent="0" algn="r" defTabSz="914400" rtl="0" eaLnBrk="1" fontAlgn="auto" latinLnBrk="0" hangingPunct="1">
              <a:lnSpc>
                <a:spcPct val="100000"/>
              </a:lnSpc>
              <a:spcBef>
                <a:spcPts val="0"/>
              </a:spcBef>
              <a:spcAft>
                <a:spcPts val="0"/>
              </a:spcAft>
              <a:buClr>
                <a:srgbClr val="DC1F2D"/>
              </a:buClr>
              <a:buSzTx/>
              <a:buFontTx/>
              <a:buNone/>
              <a:tabLst>
                <a:tab pos="585470" algn="l"/>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Faster Revision &amp; Release Cycles</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Improved OEM approval TAT</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Synchronized with OEM portals</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Periodic revision cycle: Yearly</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Incorporate outstanding Temporary Revisions</a:t>
            </a:r>
          </a:p>
        </p:txBody>
      </p:sp>
      <p:sp>
        <p:nvSpPr>
          <p:cNvPr id="46" name="TextBox 45">
            <a:extLst>
              <a:ext uri="{FF2B5EF4-FFF2-40B4-BE49-F238E27FC236}">
                <a16:creationId xmlns:a16="http://schemas.microsoft.com/office/drawing/2014/main" id="{094B07A1-E7A0-4D09-8CB8-9FA365F5E829}"/>
              </a:ext>
            </a:extLst>
          </p:cNvPr>
          <p:cNvSpPr txBox="1"/>
          <p:nvPr/>
        </p:nvSpPr>
        <p:spPr>
          <a:xfrm>
            <a:off x="296746" y="1122253"/>
            <a:ext cx="3554011" cy="1087477"/>
          </a:xfrm>
          <a:prstGeom prst="rect">
            <a:avLst/>
          </a:prstGeom>
          <a:noFill/>
        </p:spPr>
        <p:txBody>
          <a:bodyPr wrap="square" lIns="108000" rIns="10800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Drive Improved Customer Satisfaction</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AIN Tech Manuals: Avionics (8.</a:t>
            </a:r>
            <a:r>
              <a:rPr lang="en-US" sz="1100" dirty="0">
                <a:solidFill>
                  <a:prstClr val="black"/>
                </a:solidFill>
                <a:latin typeface="Arial"/>
                <a:cs typeface="Arial"/>
              </a:rPr>
              <a:t>4</a:t>
            </a:r>
            <a:r>
              <a:rPr kumimoji="0" lang="en-US" sz="1100" b="0" i="0" u="none" strike="noStrike" kern="1200" cap="none" spc="0" normalizeH="0" baseline="0" noProof="0" dirty="0">
                <a:ln>
                  <a:noFill/>
                </a:ln>
                <a:solidFill>
                  <a:prstClr val="black"/>
                </a:solidFill>
                <a:effectLst/>
                <a:uLnTx/>
                <a:uFillTx/>
                <a:latin typeface="Arial"/>
                <a:ea typeface="+mn-ea"/>
                <a:cs typeface="Arial"/>
              </a:rPr>
              <a:t>) &amp; Engines (8.3)</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Airbus Airlines survey Documentation (</a:t>
            </a:r>
            <a:r>
              <a:rPr kumimoji="0" lang="en-US" sz="1100" b="1" i="0" u="none" strike="noStrike" kern="1200" cap="none" spc="0" normalizeH="0" baseline="0" noProof="0" dirty="0">
                <a:ln>
                  <a:noFill/>
                </a:ln>
                <a:solidFill>
                  <a:srgbClr val="00B050"/>
                </a:solidFill>
                <a:effectLst/>
                <a:uLnTx/>
                <a:uFillTx/>
                <a:latin typeface="Arial"/>
                <a:ea typeface="+mn-ea"/>
                <a:cs typeface="Arial"/>
              </a:rPr>
              <a:t>GREEN)</a:t>
            </a:r>
            <a:endParaRPr kumimoji="0" lang="en-US" sz="1100" b="1" i="0" u="none" strike="sngStrike" kern="1200" cap="none" spc="0" normalizeH="0" baseline="0" noProof="0" dirty="0">
              <a:ln>
                <a:noFill/>
              </a:ln>
              <a:solidFill>
                <a:srgbClr val="00B050"/>
              </a:solidFill>
              <a:effectLst/>
              <a:uLnTx/>
              <a:uFillTx/>
              <a:latin typeface="Arial"/>
              <a:ea typeface="+mn-ea"/>
              <a:cs typeface="Arial"/>
            </a:endParaRP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Customer Satisfaction (C-SAT) &gt; 95%</a:t>
            </a:r>
          </a:p>
          <a:p>
            <a:pPr marL="111125" marR="0" lvl="0" indent="-104775"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Release 4 TFE731 manuals in 2024</a:t>
            </a:r>
          </a:p>
        </p:txBody>
      </p:sp>
      <p:sp>
        <p:nvSpPr>
          <p:cNvPr id="49" name="TextBox 48">
            <a:extLst>
              <a:ext uri="{FF2B5EF4-FFF2-40B4-BE49-F238E27FC236}">
                <a16:creationId xmlns:a16="http://schemas.microsoft.com/office/drawing/2014/main" id="{B696B497-9C41-4274-9E63-F179633AF00F}"/>
              </a:ext>
            </a:extLst>
          </p:cNvPr>
          <p:cNvSpPr txBox="1"/>
          <p:nvPr/>
        </p:nvSpPr>
        <p:spPr>
          <a:xfrm>
            <a:off x="249827" y="3920925"/>
            <a:ext cx="3595569" cy="697627"/>
          </a:xfrm>
          <a:prstGeom prst="rect">
            <a:avLst/>
          </a:prstGeom>
          <a:noFill/>
        </p:spPr>
        <p:txBody>
          <a:bodyPr wrap="square" lIns="108000" rIns="10800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Deliver Higher Quality Documents</a:t>
            </a:r>
          </a:p>
          <a:p>
            <a:pPr marL="174625" marR="0" lvl="0" indent="-1682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Deliverables quality at 99.6%</a:t>
            </a:r>
          </a:p>
          <a:p>
            <a:pPr marL="174625" marR="0" lvl="0" indent="-168275" algn="r"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Reduce reported discrepancies: 250 to 150 monthly</a:t>
            </a:r>
          </a:p>
        </p:txBody>
      </p:sp>
      <p:sp>
        <p:nvSpPr>
          <p:cNvPr id="52" name="TextBox 51">
            <a:extLst>
              <a:ext uri="{FF2B5EF4-FFF2-40B4-BE49-F238E27FC236}">
                <a16:creationId xmlns:a16="http://schemas.microsoft.com/office/drawing/2014/main" id="{278381A5-B528-4B7E-8070-F92CC6A5CD0C}"/>
              </a:ext>
            </a:extLst>
          </p:cNvPr>
          <p:cNvSpPr txBox="1"/>
          <p:nvPr/>
        </p:nvSpPr>
        <p:spPr>
          <a:xfrm>
            <a:off x="8849128" y="2573410"/>
            <a:ext cx="3264487" cy="892552"/>
          </a:xfrm>
          <a:prstGeom prst="rect">
            <a:avLst/>
          </a:prstGeom>
          <a:noFill/>
        </p:spPr>
        <p:txBody>
          <a:bodyPr wrap="square" lIns="108000" rIns="10800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Convert Documents to S1000D</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Converted 3200 manuals; 1300+ in plan</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Data modules enable faster discrepancies TAT</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Enable Data Modules delivery options</a:t>
            </a:r>
          </a:p>
        </p:txBody>
      </p:sp>
      <p:sp>
        <p:nvSpPr>
          <p:cNvPr id="55" name="TextBox 54">
            <a:extLst>
              <a:ext uri="{FF2B5EF4-FFF2-40B4-BE49-F238E27FC236}">
                <a16:creationId xmlns:a16="http://schemas.microsoft.com/office/drawing/2014/main" id="{E7BCE2BD-A1F6-4013-B05E-CFB01D1A009A}"/>
              </a:ext>
            </a:extLst>
          </p:cNvPr>
          <p:cNvSpPr txBox="1"/>
          <p:nvPr/>
        </p:nvSpPr>
        <p:spPr>
          <a:xfrm>
            <a:off x="8333008" y="1248370"/>
            <a:ext cx="3566591" cy="892552"/>
          </a:xfrm>
          <a:prstGeom prst="rect">
            <a:avLst/>
          </a:prstGeom>
          <a:noFill/>
        </p:spPr>
        <p:txBody>
          <a:bodyPr wrap="square" lIns="108000" rIns="10800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Enhanced Tech Pubs portal CX</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srgbClr val="0D0D0D"/>
                </a:solidFill>
                <a:effectLst/>
                <a:uLnTx/>
                <a:uFillTx/>
                <a:latin typeface="Söhne"/>
                <a:ea typeface="+mn-ea"/>
                <a:cs typeface="+mn-cs"/>
              </a:rPr>
              <a:t>Enhanced security for browsing </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Faster downloads &amp; better search algorithm</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User defined library, favorites &amp; subscription status</a:t>
            </a:r>
          </a:p>
        </p:txBody>
      </p:sp>
      <p:sp>
        <p:nvSpPr>
          <p:cNvPr id="58" name="TextBox 57">
            <a:extLst>
              <a:ext uri="{FF2B5EF4-FFF2-40B4-BE49-F238E27FC236}">
                <a16:creationId xmlns:a16="http://schemas.microsoft.com/office/drawing/2014/main" id="{14573DC8-F509-467C-A6BE-9B4737021B68}"/>
              </a:ext>
            </a:extLst>
          </p:cNvPr>
          <p:cNvSpPr txBox="1"/>
          <p:nvPr/>
        </p:nvSpPr>
        <p:spPr>
          <a:xfrm>
            <a:off x="8256591" y="3528972"/>
            <a:ext cx="3749142" cy="1400383"/>
          </a:xfrm>
          <a:prstGeom prst="rect">
            <a:avLst/>
          </a:prstGeom>
          <a:noFill/>
        </p:spPr>
        <p:txBody>
          <a:bodyPr wrap="square" lIns="108000" rIns="108000" rtlCol="0">
            <a:spAutoFit/>
          </a:bodyPr>
          <a:lstStyle/>
          <a:p>
            <a:pPr marL="1270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10" normalizeH="0" baseline="0" noProof="0" dirty="0">
                <a:ln>
                  <a:noFill/>
                </a:ln>
                <a:solidFill>
                  <a:prstClr val="black"/>
                </a:solidFill>
                <a:effectLst/>
                <a:uLnTx/>
                <a:uFillTx/>
                <a:latin typeface="Arial"/>
                <a:ea typeface="+mn-ea"/>
                <a:cs typeface="Arial"/>
              </a:rPr>
              <a:t>Enable IETM Manuals</a:t>
            </a:r>
          </a:p>
          <a:p>
            <a:pPr marL="111125" indent="-104775">
              <a:spcBef>
                <a:spcPts val="200"/>
              </a:spcBef>
              <a:buClr>
                <a:srgbClr val="DC1F2D"/>
              </a:buClr>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Online engine / APU manuals, IETM</a:t>
            </a:r>
            <a:r>
              <a:rPr lang="en-US" sz="1100" b="0" i="0" u="none" strike="noStrike" kern="1200" noProof="0" dirty="0">
                <a:solidFill>
                  <a:schemeClr val="tx1"/>
                </a:solidFill>
                <a:effectLst/>
                <a:latin typeface="+mn-lt"/>
                <a:ea typeface="+mn-ea"/>
                <a:cs typeface="+mn-cs"/>
              </a:rPr>
              <a:t> deployment moved to Q1 due to scope change and enhanced feature web-based access  (without dependency on third party desktop application).</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Enhanced user experience</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tab pos="585470" algn="l"/>
              </a:tabLst>
              <a:defRPr/>
            </a:pPr>
            <a:r>
              <a:rPr kumimoji="0" lang="en-US" sz="1100" b="0" i="0" u="none" strike="noStrike" kern="1200" cap="none" spc="0" normalizeH="0" baseline="0" noProof="0" dirty="0">
                <a:ln>
                  <a:noFill/>
                </a:ln>
                <a:solidFill>
                  <a:prstClr val="black"/>
                </a:solidFill>
                <a:effectLst/>
                <a:uLnTx/>
                <a:uFillTx/>
                <a:latin typeface="Arial"/>
                <a:ea typeface="+mn-ea"/>
                <a:cs typeface="Arial"/>
              </a:rPr>
              <a:t>Enable manuals with repair procedure videos (2025)</a:t>
            </a:r>
          </a:p>
        </p:txBody>
      </p:sp>
      <p:grpSp>
        <p:nvGrpSpPr>
          <p:cNvPr id="128" name="Group 127">
            <a:extLst>
              <a:ext uri="{FF2B5EF4-FFF2-40B4-BE49-F238E27FC236}">
                <a16:creationId xmlns:a16="http://schemas.microsoft.com/office/drawing/2014/main" id="{C55B5867-A67E-6D80-1F16-4BA457952878}"/>
              </a:ext>
            </a:extLst>
          </p:cNvPr>
          <p:cNvGrpSpPr/>
          <p:nvPr/>
        </p:nvGrpSpPr>
        <p:grpSpPr>
          <a:xfrm>
            <a:off x="8916904" y="5057809"/>
            <a:ext cx="1737360" cy="948966"/>
            <a:chOff x="7765027" y="5188831"/>
            <a:chExt cx="1657352" cy="1092948"/>
          </a:xfrm>
        </p:grpSpPr>
        <p:pic>
          <p:nvPicPr>
            <p:cNvPr id="129" name="Picture 128">
              <a:hlinkClick r:id="rId3"/>
              <a:extLst>
                <a:ext uri="{FF2B5EF4-FFF2-40B4-BE49-F238E27FC236}">
                  <a16:creationId xmlns:a16="http://schemas.microsoft.com/office/drawing/2014/main" id="{8C5BA4A1-5FD7-D028-0FE6-432AD3550D9C}"/>
                </a:ext>
              </a:extLst>
            </p:cNvPr>
            <p:cNvPicPr>
              <a:picLocks noChangeAspect="1"/>
            </p:cNvPicPr>
            <p:nvPr/>
          </p:nvPicPr>
          <p:blipFill>
            <a:blip r:embed="rId4"/>
            <a:stretch>
              <a:fillRect/>
            </a:stretch>
          </p:blipFill>
          <p:spPr>
            <a:xfrm>
              <a:off x="7765027" y="5188831"/>
              <a:ext cx="1657352" cy="109294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0" name="TextBox 129">
              <a:extLst>
                <a:ext uri="{FF2B5EF4-FFF2-40B4-BE49-F238E27FC236}">
                  <a16:creationId xmlns:a16="http://schemas.microsoft.com/office/drawing/2014/main" id="{7AD5E6FB-1BF0-AC26-C419-DF341B700946}"/>
                </a:ext>
              </a:extLst>
            </p:cNvPr>
            <p:cNvSpPr txBox="1"/>
            <p:nvPr/>
          </p:nvSpPr>
          <p:spPr>
            <a:xfrm>
              <a:off x="8327585" y="5234955"/>
              <a:ext cx="831760" cy="3899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dirty="0">
                  <a:ln>
                    <a:noFill/>
                  </a:ln>
                  <a:solidFill>
                    <a:prstClr val="white"/>
                  </a:solidFill>
                  <a:effectLst/>
                  <a:uLnTx/>
                  <a:uFillTx/>
                  <a:latin typeface="Arial"/>
                  <a:ea typeface="+mn-ea"/>
                  <a:cs typeface="Arial"/>
                </a:rPr>
                <a:t>Video</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36" name="Title 1">
            <a:extLst>
              <a:ext uri="{FF2B5EF4-FFF2-40B4-BE49-F238E27FC236}">
                <a16:creationId xmlns:a16="http://schemas.microsoft.com/office/drawing/2014/main" id="{C63693E1-24C3-107E-F325-C89CBA1D44B1}"/>
              </a:ext>
            </a:extLst>
          </p:cNvPr>
          <p:cNvSpPr>
            <a:spLocks noGrp="1"/>
          </p:cNvSpPr>
          <p:nvPr>
            <p:ph type="title"/>
          </p:nvPr>
        </p:nvSpPr>
        <p:spPr/>
        <p:txBody>
          <a:bodyPr/>
          <a:lstStyle/>
          <a:p>
            <a:r>
              <a:rPr lang="en-US" sz="2400" dirty="0"/>
              <a:t>Tech Pubs </a:t>
            </a:r>
            <a:r>
              <a:rPr lang="en-US" sz="2400" dirty="0">
                <a:solidFill>
                  <a:schemeClr val="bg1">
                    <a:lumMod val="65000"/>
                  </a:schemeClr>
                </a:solidFill>
              </a:rPr>
              <a:t>|</a:t>
            </a:r>
            <a:r>
              <a:rPr lang="en-US" sz="2400" dirty="0"/>
              <a:t> </a:t>
            </a:r>
            <a:r>
              <a:rPr lang="en-US" sz="2400" dirty="0">
                <a:solidFill>
                  <a:srgbClr val="C00000"/>
                </a:solidFill>
              </a:rPr>
              <a:t>Key improvement elements</a:t>
            </a:r>
          </a:p>
        </p:txBody>
      </p:sp>
      <p:sp>
        <p:nvSpPr>
          <p:cNvPr id="5" name="Text Placeholder 4">
            <a:extLst>
              <a:ext uri="{FF2B5EF4-FFF2-40B4-BE49-F238E27FC236}">
                <a16:creationId xmlns:a16="http://schemas.microsoft.com/office/drawing/2014/main" id="{A49D5F3C-6E3F-6338-4779-05A272FC7EC3}"/>
              </a:ext>
            </a:extLst>
          </p:cNvPr>
          <p:cNvSpPr>
            <a:spLocks noGrp="1"/>
          </p:cNvSpPr>
          <p:nvPr>
            <p:ph type="body" sz="quarter" idx="16"/>
          </p:nvPr>
        </p:nvSpPr>
        <p:spPr>
          <a:xfrm>
            <a:off x="-1" y="6064474"/>
            <a:ext cx="12192000" cy="495299"/>
          </a:xfrm>
        </p:spPr>
        <p:txBody>
          <a:bodyPr/>
          <a:lstStyle/>
          <a:p>
            <a:r>
              <a:rPr lang="en-US" dirty="0"/>
              <a:t>Improved Customer Experience | Adoption of Latest Technology</a:t>
            </a:r>
          </a:p>
        </p:txBody>
      </p:sp>
      <p:grpSp>
        <p:nvGrpSpPr>
          <p:cNvPr id="3" name="Group 2">
            <a:extLst>
              <a:ext uri="{FF2B5EF4-FFF2-40B4-BE49-F238E27FC236}">
                <a16:creationId xmlns:a16="http://schemas.microsoft.com/office/drawing/2014/main" id="{995320D7-D3CC-8557-FB79-62BEABED67B6}"/>
              </a:ext>
            </a:extLst>
          </p:cNvPr>
          <p:cNvGrpSpPr/>
          <p:nvPr/>
        </p:nvGrpSpPr>
        <p:grpSpPr>
          <a:xfrm>
            <a:off x="3162710" y="1116511"/>
            <a:ext cx="5805392" cy="3677549"/>
            <a:chOff x="3345599" y="1499707"/>
            <a:chExt cx="5805392" cy="3677549"/>
          </a:xfrm>
        </p:grpSpPr>
        <p:cxnSp>
          <p:nvCxnSpPr>
            <p:cNvPr id="26" name="Straight Connector 95">
              <a:extLst>
                <a:ext uri="{FF2B5EF4-FFF2-40B4-BE49-F238E27FC236}">
                  <a16:creationId xmlns:a16="http://schemas.microsoft.com/office/drawing/2014/main" id="{620F93D1-D19F-4AEA-BB79-BD448679E182}"/>
                </a:ext>
              </a:extLst>
            </p:cNvPr>
            <p:cNvCxnSpPr>
              <a:cxnSpLocks/>
            </p:cNvCxnSpPr>
            <p:nvPr/>
          </p:nvCxnSpPr>
          <p:spPr>
            <a:xfrm rot="2700000" flipH="1">
              <a:off x="7295448" y="4215326"/>
              <a:ext cx="641739"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5" name="그룹 204">
              <a:extLst>
                <a:ext uri="{FF2B5EF4-FFF2-40B4-BE49-F238E27FC236}">
                  <a16:creationId xmlns:a16="http://schemas.microsoft.com/office/drawing/2014/main" id="{2DEC619D-8313-416E-8C22-5954A4D66518}"/>
                </a:ext>
              </a:extLst>
            </p:cNvPr>
            <p:cNvGrpSpPr/>
            <p:nvPr/>
          </p:nvGrpSpPr>
          <p:grpSpPr>
            <a:xfrm rot="2700000">
              <a:off x="3884698" y="1788826"/>
              <a:ext cx="1444594" cy="866356"/>
              <a:chOff x="3013984" y="3425199"/>
              <a:chExt cx="1620829" cy="936877"/>
            </a:xfrm>
          </p:grpSpPr>
          <p:sp>
            <p:nvSpPr>
              <p:cNvPr id="16" name="Oval 75">
                <a:extLst>
                  <a:ext uri="{FF2B5EF4-FFF2-40B4-BE49-F238E27FC236}">
                    <a16:creationId xmlns:a16="http://schemas.microsoft.com/office/drawing/2014/main" id="{8141771D-D95D-4B4F-9F64-A995216860E8}"/>
                  </a:ext>
                </a:extLst>
              </p:cNvPr>
              <p:cNvSpPr/>
              <p:nvPr/>
            </p:nvSpPr>
            <p:spPr>
              <a:xfrm flipH="1">
                <a:off x="3229073" y="3609520"/>
                <a:ext cx="572917" cy="5729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Arc 63">
                <a:extLst>
                  <a:ext uri="{FF2B5EF4-FFF2-40B4-BE49-F238E27FC236}">
                    <a16:creationId xmlns:a16="http://schemas.microsoft.com/office/drawing/2014/main" id="{45CE8A67-A154-4976-BD2B-D9DFD329CFFB}"/>
                  </a:ext>
                </a:extLst>
              </p:cNvPr>
              <p:cNvSpPr/>
              <p:nvPr/>
            </p:nvSpPr>
            <p:spPr>
              <a:xfrm rot="8100000" flipH="1">
                <a:off x="3013984" y="3425199"/>
                <a:ext cx="936877" cy="936877"/>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8" name="Straight Connector 95">
                <a:extLst>
                  <a:ext uri="{FF2B5EF4-FFF2-40B4-BE49-F238E27FC236}">
                    <a16:creationId xmlns:a16="http://schemas.microsoft.com/office/drawing/2014/main" id="{8F7429FB-5839-47FD-839D-3DBC8F1B94EB}"/>
                  </a:ext>
                </a:extLst>
              </p:cNvPr>
              <p:cNvCxnSpPr>
                <a:cxnSpLocks/>
              </p:cNvCxnSpPr>
              <p:nvPr/>
            </p:nvCxnSpPr>
            <p:spPr>
              <a:xfrm>
                <a:off x="3914813" y="3905372"/>
                <a:ext cx="720000"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5" name="Group 105">
              <a:extLst>
                <a:ext uri="{FF2B5EF4-FFF2-40B4-BE49-F238E27FC236}">
                  <a16:creationId xmlns:a16="http://schemas.microsoft.com/office/drawing/2014/main" id="{0D34FABC-127B-4EB1-9F07-64777BDCEF54}"/>
                </a:ext>
              </a:extLst>
            </p:cNvPr>
            <p:cNvGrpSpPr/>
            <p:nvPr/>
          </p:nvGrpSpPr>
          <p:grpSpPr>
            <a:xfrm>
              <a:off x="4777228" y="2476603"/>
              <a:ext cx="2935660" cy="1730480"/>
              <a:chOff x="2975812" y="2736845"/>
              <a:chExt cx="3174618" cy="1941592"/>
            </a:xfrm>
          </p:grpSpPr>
          <p:grpSp>
            <p:nvGrpSpPr>
              <p:cNvPr id="36" name="Group 102">
                <a:extLst>
                  <a:ext uri="{FF2B5EF4-FFF2-40B4-BE49-F238E27FC236}">
                    <a16:creationId xmlns:a16="http://schemas.microsoft.com/office/drawing/2014/main" id="{FFF02214-14B2-4B75-8E07-5CD1B1C28477}"/>
                  </a:ext>
                </a:extLst>
              </p:cNvPr>
              <p:cNvGrpSpPr/>
              <p:nvPr/>
            </p:nvGrpSpPr>
            <p:grpSpPr>
              <a:xfrm>
                <a:off x="3163801" y="2903912"/>
                <a:ext cx="2808230" cy="1622534"/>
                <a:chOff x="3163801" y="2903912"/>
                <a:chExt cx="2808230" cy="1622534"/>
              </a:xfrm>
            </p:grpSpPr>
            <p:sp>
              <p:nvSpPr>
                <p:cNvPr id="39" name="Oval 3">
                  <a:extLst>
                    <a:ext uri="{FF2B5EF4-FFF2-40B4-BE49-F238E27FC236}">
                      <a16:creationId xmlns:a16="http://schemas.microsoft.com/office/drawing/2014/main" id="{DF4EB772-7837-4CD9-B970-F63462EA5C96}"/>
                    </a:ext>
                  </a:extLst>
                </p:cNvPr>
                <p:cNvSpPr/>
                <p:nvPr/>
              </p:nvSpPr>
              <p:spPr>
                <a:xfrm>
                  <a:off x="3163801" y="2903912"/>
                  <a:ext cx="1622533" cy="1622534"/>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Oval 42">
                  <a:extLst>
                    <a:ext uri="{FF2B5EF4-FFF2-40B4-BE49-F238E27FC236}">
                      <a16:creationId xmlns:a16="http://schemas.microsoft.com/office/drawing/2014/main" id="{884CE566-A139-4068-83BA-90E5C27880B8}"/>
                    </a:ext>
                  </a:extLst>
                </p:cNvPr>
                <p:cNvSpPr/>
                <p:nvPr/>
              </p:nvSpPr>
              <p:spPr>
                <a:xfrm>
                  <a:off x="4349498" y="2903912"/>
                  <a:ext cx="1622533" cy="1622534"/>
                </a:xfrm>
                <a:prstGeom prst="ellipse">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7" name="Arc 46">
                <a:extLst>
                  <a:ext uri="{FF2B5EF4-FFF2-40B4-BE49-F238E27FC236}">
                    <a16:creationId xmlns:a16="http://schemas.microsoft.com/office/drawing/2014/main" id="{C259B407-8708-428A-867E-304AF84431F8}"/>
                  </a:ext>
                </a:extLst>
              </p:cNvPr>
              <p:cNvSpPr/>
              <p:nvPr/>
            </p:nvSpPr>
            <p:spPr>
              <a:xfrm rot="2700000" flipH="1" flipV="1">
                <a:off x="2975812" y="2736845"/>
                <a:ext cx="1941592" cy="1941591"/>
              </a:xfrm>
              <a:prstGeom prst="arc">
                <a:avLst>
                  <a:gd name="adj1" fmla="val 13645212"/>
                  <a:gd name="adj2" fmla="val 2561877"/>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Arc 47">
                <a:extLst>
                  <a:ext uri="{FF2B5EF4-FFF2-40B4-BE49-F238E27FC236}">
                    <a16:creationId xmlns:a16="http://schemas.microsoft.com/office/drawing/2014/main" id="{6A400881-DE5D-489A-A4A0-ABCA550011A4}"/>
                  </a:ext>
                </a:extLst>
              </p:cNvPr>
              <p:cNvSpPr/>
              <p:nvPr/>
            </p:nvSpPr>
            <p:spPr>
              <a:xfrm rot="18900000" flipV="1">
                <a:off x="4208838" y="2736845"/>
                <a:ext cx="1941592" cy="1941591"/>
              </a:xfrm>
              <a:prstGeom prst="arc">
                <a:avLst>
                  <a:gd name="adj1" fmla="val 13645212"/>
                  <a:gd name="adj2" fmla="val 2561877"/>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grpSp>
        <p:pic>
          <p:nvPicPr>
            <p:cNvPr id="6" name="Graphic 5" descr="Upward trend">
              <a:extLst>
                <a:ext uri="{FF2B5EF4-FFF2-40B4-BE49-F238E27FC236}">
                  <a16:creationId xmlns:a16="http://schemas.microsoft.com/office/drawing/2014/main" id="{43BC1B94-EC15-95EB-BE7A-CCC757B5A94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209601" y="1841267"/>
              <a:ext cx="387344" cy="373328"/>
            </a:xfrm>
            <a:prstGeom prst="rect">
              <a:avLst/>
            </a:prstGeom>
          </p:spPr>
        </p:pic>
        <p:sp>
          <p:nvSpPr>
            <p:cNvPr id="7" name="TextBox 6">
              <a:extLst>
                <a:ext uri="{FF2B5EF4-FFF2-40B4-BE49-F238E27FC236}">
                  <a16:creationId xmlns:a16="http://schemas.microsoft.com/office/drawing/2014/main" id="{9082E8D6-73AC-EBE7-3536-ED7F3BABB372}"/>
                </a:ext>
              </a:extLst>
            </p:cNvPr>
            <p:cNvSpPr txBox="1"/>
            <p:nvPr/>
          </p:nvSpPr>
          <p:spPr>
            <a:xfrm>
              <a:off x="5036461" y="3155299"/>
              <a:ext cx="976196" cy="50592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Customer Experience</a:t>
              </a: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80D5C778-6E62-B091-EFD9-D086E4FD173B}"/>
                </a:ext>
              </a:extLst>
            </p:cNvPr>
            <p:cNvSpPr txBox="1"/>
            <p:nvPr/>
          </p:nvSpPr>
          <p:spPr>
            <a:xfrm>
              <a:off x="6436945" y="3166168"/>
              <a:ext cx="1016705" cy="4152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Technology Deployment</a:t>
              </a:r>
            </a:p>
          </p:txBody>
        </p:sp>
        <p:pic>
          <p:nvPicPr>
            <p:cNvPr id="10" name="Graphic 9" descr="Handshake with solid fill">
              <a:extLst>
                <a:ext uri="{FF2B5EF4-FFF2-40B4-BE49-F238E27FC236}">
                  <a16:creationId xmlns:a16="http://schemas.microsoft.com/office/drawing/2014/main" id="{C6BED524-D69B-1668-A0EC-3B7DD99FE2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13107" y="2055261"/>
              <a:ext cx="845571" cy="814977"/>
            </a:xfrm>
            <a:prstGeom prst="rect">
              <a:avLst/>
            </a:prstGeom>
          </p:spPr>
        </p:pic>
        <p:grpSp>
          <p:nvGrpSpPr>
            <p:cNvPr id="114" name="Group 113">
              <a:extLst>
                <a:ext uri="{FF2B5EF4-FFF2-40B4-BE49-F238E27FC236}">
                  <a16:creationId xmlns:a16="http://schemas.microsoft.com/office/drawing/2014/main" id="{1F872DBC-E963-E943-2427-78AD50D51285}"/>
                </a:ext>
              </a:extLst>
            </p:cNvPr>
            <p:cNvGrpSpPr/>
            <p:nvPr/>
          </p:nvGrpSpPr>
          <p:grpSpPr>
            <a:xfrm>
              <a:off x="3345599" y="2913147"/>
              <a:ext cx="1483153" cy="866356"/>
              <a:chOff x="5169927" y="5312268"/>
              <a:chExt cx="1483153" cy="866356"/>
            </a:xfrm>
          </p:grpSpPr>
          <p:sp>
            <p:nvSpPr>
              <p:cNvPr id="66" name="Arc 63">
                <a:extLst>
                  <a:ext uri="{FF2B5EF4-FFF2-40B4-BE49-F238E27FC236}">
                    <a16:creationId xmlns:a16="http://schemas.microsoft.com/office/drawing/2014/main" id="{A41CAA9B-E21E-5126-4CF3-1B47A0BE10EA}"/>
                  </a:ext>
                </a:extLst>
              </p:cNvPr>
              <p:cNvSpPr/>
              <p:nvPr/>
            </p:nvSpPr>
            <p:spPr>
              <a:xfrm rot="8100000" flipH="1">
                <a:off x="5169927" y="5312268"/>
                <a:ext cx="835010" cy="866356"/>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67" name="Straight Connector 95">
                <a:extLst>
                  <a:ext uri="{FF2B5EF4-FFF2-40B4-BE49-F238E27FC236}">
                    <a16:creationId xmlns:a16="http://schemas.microsoft.com/office/drawing/2014/main" id="{EA86D0E6-BCA3-2778-B460-756BEE567A9F}"/>
                  </a:ext>
                </a:extLst>
              </p:cNvPr>
              <p:cNvCxnSpPr>
                <a:cxnSpLocks/>
              </p:cNvCxnSpPr>
              <p:nvPr/>
            </p:nvCxnSpPr>
            <p:spPr>
              <a:xfrm>
                <a:off x="5987276" y="5755905"/>
                <a:ext cx="665804"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228F9561-E54C-C071-ECE0-94E9CAD05DEC}"/>
                  </a:ext>
                </a:extLst>
              </p:cNvPr>
              <p:cNvGrpSpPr/>
              <p:nvPr/>
            </p:nvGrpSpPr>
            <p:grpSpPr>
              <a:xfrm>
                <a:off x="5386327" y="5500593"/>
                <a:ext cx="529792" cy="510624"/>
                <a:chOff x="1797735" y="5713747"/>
                <a:chExt cx="529792" cy="510624"/>
              </a:xfrm>
            </p:grpSpPr>
            <p:sp>
              <p:nvSpPr>
                <p:cNvPr id="95" name="Oval 75">
                  <a:extLst>
                    <a:ext uri="{FF2B5EF4-FFF2-40B4-BE49-F238E27FC236}">
                      <a16:creationId xmlns:a16="http://schemas.microsoft.com/office/drawing/2014/main" id="{D3EDB027-7B41-A884-3192-D5ADDAF6E9CD}"/>
                    </a:ext>
                  </a:extLst>
                </p:cNvPr>
                <p:cNvSpPr/>
                <p:nvPr/>
              </p:nvSpPr>
              <p:spPr>
                <a:xfrm rot="18900000" flipH="1">
                  <a:off x="1797735" y="5713747"/>
                  <a:ext cx="529792" cy="5106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1DF1E6CB-591C-349A-EC4F-E7107D40153E}"/>
                    </a:ext>
                  </a:extLst>
                </p:cNvPr>
                <p:cNvGrpSpPr/>
                <p:nvPr/>
              </p:nvGrpSpPr>
              <p:grpSpPr>
                <a:xfrm>
                  <a:off x="1911367" y="5836236"/>
                  <a:ext cx="302627" cy="278467"/>
                  <a:chOff x="10239375" y="4013201"/>
                  <a:chExt cx="420688" cy="401638"/>
                </a:xfrm>
                <a:solidFill>
                  <a:schemeClr val="bg1"/>
                </a:solidFill>
              </p:grpSpPr>
              <p:sp>
                <p:nvSpPr>
                  <p:cNvPr id="99" name="Freeform 6">
                    <a:extLst>
                      <a:ext uri="{FF2B5EF4-FFF2-40B4-BE49-F238E27FC236}">
                        <a16:creationId xmlns:a16="http://schemas.microsoft.com/office/drawing/2014/main" id="{736CC771-E242-D640-8932-B2A68BDC8306}"/>
                      </a:ext>
                    </a:extLst>
                  </p:cNvPr>
                  <p:cNvSpPr>
                    <a:spLocks/>
                  </p:cNvSpPr>
                  <p:nvPr/>
                </p:nvSpPr>
                <p:spPr bwMode="auto">
                  <a:xfrm>
                    <a:off x="10271125" y="4270376"/>
                    <a:ext cx="141288" cy="141288"/>
                  </a:xfrm>
                  <a:custGeom>
                    <a:avLst/>
                    <a:gdLst>
                      <a:gd name="T0" fmla="*/ 43 w 52"/>
                      <a:gd name="T1" fmla="*/ 0 h 52"/>
                      <a:gd name="T2" fmla="*/ 21 w 52"/>
                      <a:gd name="T3" fmla="*/ 21 h 52"/>
                      <a:gd name="T4" fmla="*/ 17 w 52"/>
                      <a:gd name="T5" fmla="*/ 17 h 52"/>
                      <a:gd name="T6" fmla="*/ 0 w 52"/>
                      <a:gd name="T7" fmla="*/ 46 h 52"/>
                      <a:gd name="T8" fmla="*/ 7 w 52"/>
                      <a:gd name="T9" fmla="*/ 52 h 52"/>
                      <a:gd name="T10" fmla="*/ 35 w 52"/>
                      <a:gd name="T11" fmla="*/ 35 h 52"/>
                      <a:gd name="T12" fmla="*/ 31 w 52"/>
                      <a:gd name="T13" fmla="*/ 31 h 52"/>
                      <a:gd name="T14" fmla="*/ 52 w 52"/>
                      <a:gd name="T15" fmla="*/ 10 h 52"/>
                      <a:gd name="T16" fmla="*/ 47 w 52"/>
                      <a:gd name="T17" fmla="*/ 5 h 52"/>
                      <a:gd name="T18" fmla="*/ 43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43" y="0"/>
                        </a:moveTo>
                        <a:cubicBezTo>
                          <a:pt x="21" y="21"/>
                          <a:pt x="21" y="21"/>
                          <a:pt x="21" y="21"/>
                        </a:cubicBezTo>
                        <a:cubicBezTo>
                          <a:pt x="17" y="17"/>
                          <a:pt x="17" y="17"/>
                          <a:pt x="17" y="17"/>
                        </a:cubicBezTo>
                        <a:cubicBezTo>
                          <a:pt x="0" y="46"/>
                          <a:pt x="0" y="46"/>
                          <a:pt x="0" y="46"/>
                        </a:cubicBezTo>
                        <a:cubicBezTo>
                          <a:pt x="7" y="52"/>
                          <a:pt x="7" y="52"/>
                          <a:pt x="7" y="52"/>
                        </a:cubicBezTo>
                        <a:cubicBezTo>
                          <a:pt x="35" y="35"/>
                          <a:pt x="35" y="35"/>
                          <a:pt x="35" y="35"/>
                        </a:cubicBezTo>
                        <a:cubicBezTo>
                          <a:pt x="31" y="31"/>
                          <a:pt x="31" y="31"/>
                          <a:pt x="31" y="31"/>
                        </a:cubicBezTo>
                        <a:cubicBezTo>
                          <a:pt x="52" y="10"/>
                          <a:pt x="52" y="10"/>
                          <a:pt x="52" y="10"/>
                        </a:cubicBezTo>
                        <a:cubicBezTo>
                          <a:pt x="51" y="8"/>
                          <a:pt x="49" y="6"/>
                          <a:pt x="47" y="5"/>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0" name="Freeform 7">
                    <a:extLst>
                      <a:ext uri="{FF2B5EF4-FFF2-40B4-BE49-F238E27FC236}">
                        <a16:creationId xmlns:a16="http://schemas.microsoft.com/office/drawing/2014/main" id="{61508E19-770E-43FB-5178-614CB4C5C71B}"/>
                      </a:ext>
                    </a:extLst>
                  </p:cNvPr>
                  <p:cNvSpPr>
                    <a:spLocks/>
                  </p:cNvSpPr>
                  <p:nvPr/>
                </p:nvSpPr>
                <p:spPr bwMode="auto">
                  <a:xfrm>
                    <a:off x="10460038" y="4037013"/>
                    <a:ext cx="200025" cy="187325"/>
                  </a:xfrm>
                  <a:custGeom>
                    <a:avLst/>
                    <a:gdLst>
                      <a:gd name="T0" fmla="*/ 39 w 74"/>
                      <a:gd name="T1" fmla="*/ 14 h 69"/>
                      <a:gd name="T2" fmla="*/ 49 w 74"/>
                      <a:gd name="T3" fmla="*/ 21 h 69"/>
                      <a:gd name="T4" fmla="*/ 56 w 74"/>
                      <a:gd name="T5" fmla="*/ 31 h 69"/>
                      <a:gd name="T6" fmla="*/ 27 w 74"/>
                      <a:gd name="T7" fmla="*/ 60 h 69"/>
                      <a:gd name="T8" fmla="*/ 37 w 74"/>
                      <a:gd name="T9" fmla="*/ 69 h 69"/>
                      <a:gd name="T10" fmla="*/ 67 w 74"/>
                      <a:gd name="T11" fmla="*/ 39 h 69"/>
                      <a:gd name="T12" fmla="*/ 59 w 74"/>
                      <a:gd name="T13" fmla="*/ 11 h 69"/>
                      <a:gd name="T14" fmla="*/ 38 w 74"/>
                      <a:gd name="T15" fmla="*/ 0 h 69"/>
                      <a:gd name="T16" fmla="*/ 30 w 74"/>
                      <a:gd name="T17" fmla="*/ 3 h 69"/>
                      <a:gd name="T18" fmla="*/ 0 w 74"/>
                      <a:gd name="T19" fmla="*/ 33 h 69"/>
                      <a:gd name="T20" fmla="*/ 10 w 74"/>
                      <a:gd name="T21" fmla="*/ 43 h 69"/>
                      <a:gd name="T22" fmla="*/ 39 w 74"/>
                      <a:gd name="T23"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9">
                        <a:moveTo>
                          <a:pt x="39" y="14"/>
                        </a:moveTo>
                        <a:cubicBezTo>
                          <a:pt x="41" y="14"/>
                          <a:pt x="45" y="17"/>
                          <a:pt x="49" y="21"/>
                        </a:cubicBezTo>
                        <a:cubicBezTo>
                          <a:pt x="53" y="24"/>
                          <a:pt x="55" y="29"/>
                          <a:pt x="56" y="31"/>
                        </a:cubicBezTo>
                        <a:cubicBezTo>
                          <a:pt x="27" y="60"/>
                          <a:pt x="27" y="60"/>
                          <a:pt x="27" y="60"/>
                        </a:cubicBezTo>
                        <a:cubicBezTo>
                          <a:pt x="30" y="63"/>
                          <a:pt x="34" y="66"/>
                          <a:pt x="37" y="69"/>
                        </a:cubicBezTo>
                        <a:cubicBezTo>
                          <a:pt x="67" y="39"/>
                          <a:pt x="67" y="39"/>
                          <a:pt x="67" y="39"/>
                        </a:cubicBezTo>
                        <a:cubicBezTo>
                          <a:pt x="74" y="32"/>
                          <a:pt x="68" y="20"/>
                          <a:pt x="59" y="11"/>
                        </a:cubicBezTo>
                        <a:cubicBezTo>
                          <a:pt x="54" y="6"/>
                          <a:pt x="45" y="0"/>
                          <a:pt x="38" y="0"/>
                        </a:cubicBezTo>
                        <a:cubicBezTo>
                          <a:pt x="34" y="0"/>
                          <a:pt x="31" y="1"/>
                          <a:pt x="30" y="3"/>
                        </a:cubicBezTo>
                        <a:cubicBezTo>
                          <a:pt x="0" y="33"/>
                          <a:pt x="0" y="33"/>
                          <a:pt x="0" y="33"/>
                        </a:cubicBezTo>
                        <a:cubicBezTo>
                          <a:pt x="10" y="43"/>
                          <a:pt x="10" y="43"/>
                          <a:pt x="10" y="43"/>
                        </a:cubicBezTo>
                        <a:lnTo>
                          <a:pt x="3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1" name="Freeform 8">
                    <a:extLst>
                      <a:ext uri="{FF2B5EF4-FFF2-40B4-BE49-F238E27FC236}">
                        <a16:creationId xmlns:a16="http://schemas.microsoft.com/office/drawing/2014/main" id="{CB12173E-A133-33FF-EE0C-40EA585A0710}"/>
                      </a:ext>
                    </a:extLst>
                  </p:cNvPr>
                  <p:cNvSpPr>
                    <a:spLocks noEditPoints="1"/>
                  </p:cNvSpPr>
                  <p:nvPr/>
                </p:nvSpPr>
                <p:spPr bwMode="auto">
                  <a:xfrm>
                    <a:off x="10239375" y="4013201"/>
                    <a:ext cx="401638" cy="401638"/>
                  </a:xfrm>
                  <a:custGeom>
                    <a:avLst/>
                    <a:gdLst>
                      <a:gd name="T0" fmla="*/ 103 w 148"/>
                      <a:gd name="T1" fmla="*/ 74 h 148"/>
                      <a:gd name="T2" fmla="*/ 76 w 148"/>
                      <a:gd name="T3" fmla="*/ 47 h 148"/>
                      <a:gd name="T4" fmla="*/ 74 w 148"/>
                      <a:gd name="T5" fmla="*/ 36 h 148"/>
                      <a:gd name="T6" fmla="*/ 39 w 148"/>
                      <a:gd name="T7" fmla="*/ 1 h 148"/>
                      <a:gd name="T8" fmla="*/ 28 w 148"/>
                      <a:gd name="T9" fmla="*/ 4 h 148"/>
                      <a:gd name="T10" fmla="*/ 26 w 148"/>
                      <a:gd name="T11" fmla="*/ 4 h 148"/>
                      <a:gd name="T12" fmla="*/ 21 w 148"/>
                      <a:gd name="T13" fmla="*/ 7 h 148"/>
                      <a:gd name="T14" fmla="*/ 27 w 148"/>
                      <a:gd name="T15" fmla="*/ 13 h 148"/>
                      <a:gd name="T16" fmla="*/ 39 w 148"/>
                      <a:gd name="T17" fmla="*/ 25 h 148"/>
                      <a:gd name="T18" fmla="*/ 29 w 148"/>
                      <a:gd name="T19" fmla="*/ 40 h 148"/>
                      <a:gd name="T20" fmla="*/ 12 w 148"/>
                      <a:gd name="T21" fmla="*/ 28 h 148"/>
                      <a:gd name="T22" fmla="*/ 12 w 148"/>
                      <a:gd name="T23" fmla="*/ 28 h 148"/>
                      <a:gd name="T24" fmla="*/ 3 w 148"/>
                      <a:gd name="T25" fmla="*/ 27 h 148"/>
                      <a:gd name="T26" fmla="*/ 3 w 148"/>
                      <a:gd name="T27" fmla="*/ 28 h 148"/>
                      <a:gd name="T28" fmla="*/ 3 w 148"/>
                      <a:gd name="T29" fmla="*/ 28 h 148"/>
                      <a:gd name="T30" fmla="*/ 11 w 148"/>
                      <a:gd name="T31" fmla="*/ 66 h 148"/>
                      <a:gd name="T32" fmla="*/ 43 w 148"/>
                      <a:gd name="T33" fmla="*/ 74 h 148"/>
                      <a:gd name="T34" fmla="*/ 60 w 148"/>
                      <a:gd name="T35" fmla="*/ 90 h 148"/>
                      <a:gd name="T36" fmla="*/ 83 w 148"/>
                      <a:gd name="T37" fmla="*/ 113 h 148"/>
                      <a:gd name="T38" fmla="*/ 123 w 148"/>
                      <a:gd name="T39" fmla="*/ 148 h 148"/>
                      <a:gd name="T40" fmla="*/ 148 w 148"/>
                      <a:gd name="T41" fmla="*/ 124 h 148"/>
                      <a:gd name="T42" fmla="*/ 113 w 148"/>
                      <a:gd name="T43" fmla="*/ 83 h 148"/>
                      <a:gd name="T44" fmla="*/ 56 w 148"/>
                      <a:gd name="T45" fmla="*/ 67 h 148"/>
                      <a:gd name="T46" fmla="*/ 43 w 148"/>
                      <a:gd name="T47" fmla="*/ 60 h 148"/>
                      <a:gd name="T48" fmla="*/ 20 w 148"/>
                      <a:gd name="T49" fmla="*/ 57 h 148"/>
                      <a:gd name="T50" fmla="*/ 13 w 148"/>
                      <a:gd name="T51" fmla="*/ 39 h 148"/>
                      <a:gd name="T52" fmla="*/ 26 w 148"/>
                      <a:gd name="T53" fmla="*/ 48 h 148"/>
                      <a:gd name="T54" fmla="*/ 44 w 148"/>
                      <a:gd name="T55" fmla="*/ 34 h 148"/>
                      <a:gd name="T56" fmla="*/ 38 w 148"/>
                      <a:gd name="T57" fmla="*/ 14 h 148"/>
                      <a:gd name="T58" fmla="*/ 56 w 148"/>
                      <a:gd name="T59" fmla="*/ 21 h 148"/>
                      <a:gd name="T60" fmla="*/ 59 w 148"/>
                      <a:gd name="T61" fmla="*/ 43 h 148"/>
                      <a:gd name="T62" fmla="*/ 61 w 148"/>
                      <a:gd name="T63" fmla="*/ 51 h 148"/>
                      <a:gd name="T64" fmla="*/ 80 w 148"/>
                      <a:gd name="T65" fmla="*/ 69 h 148"/>
                      <a:gd name="T66" fmla="*/ 100 w 148"/>
                      <a:gd name="T67" fmla="*/ 90 h 148"/>
                      <a:gd name="T68" fmla="*/ 130 w 148"/>
                      <a:gd name="T69" fmla="*/ 131 h 148"/>
                      <a:gd name="T70" fmla="*/ 106 w 148"/>
                      <a:gd name="T71" fmla="*/ 117 h 148"/>
                      <a:gd name="T72" fmla="*/ 81 w 148"/>
                      <a:gd name="T73" fmla="*/ 93 h 148"/>
                      <a:gd name="T74" fmla="*/ 29 w 148"/>
                      <a:gd name="T75"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8">
                        <a:moveTo>
                          <a:pt x="113" y="83"/>
                        </a:moveTo>
                        <a:cubicBezTo>
                          <a:pt x="110" y="80"/>
                          <a:pt x="106" y="77"/>
                          <a:pt x="103" y="74"/>
                        </a:cubicBezTo>
                        <a:cubicBezTo>
                          <a:pt x="97" y="68"/>
                          <a:pt x="91" y="62"/>
                          <a:pt x="86" y="57"/>
                        </a:cubicBezTo>
                        <a:cubicBezTo>
                          <a:pt x="82" y="53"/>
                          <a:pt x="79" y="50"/>
                          <a:pt x="76" y="47"/>
                        </a:cubicBezTo>
                        <a:cubicBezTo>
                          <a:pt x="75" y="46"/>
                          <a:pt x="74" y="45"/>
                          <a:pt x="73" y="44"/>
                        </a:cubicBezTo>
                        <a:cubicBezTo>
                          <a:pt x="74" y="42"/>
                          <a:pt x="74" y="39"/>
                          <a:pt x="74" y="36"/>
                        </a:cubicBezTo>
                        <a:cubicBezTo>
                          <a:pt x="75" y="27"/>
                          <a:pt x="72" y="18"/>
                          <a:pt x="65" y="11"/>
                        </a:cubicBezTo>
                        <a:cubicBezTo>
                          <a:pt x="59" y="4"/>
                          <a:pt x="49" y="0"/>
                          <a:pt x="39" y="1"/>
                        </a:cubicBezTo>
                        <a:cubicBezTo>
                          <a:pt x="34" y="1"/>
                          <a:pt x="30" y="2"/>
                          <a:pt x="28" y="4"/>
                        </a:cubicBezTo>
                        <a:cubicBezTo>
                          <a:pt x="28" y="4"/>
                          <a:pt x="28" y="4"/>
                          <a:pt x="28" y="4"/>
                        </a:cubicBezTo>
                        <a:cubicBezTo>
                          <a:pt x="28" y="4"/>
                          <a:pt x="28" y="4"/>
                          <a:pt x="28" y="4"/>
                        </a:cubicBezTo>
                        <a:cubicBezTo>
                          <a:pt x="27" y="4"/>
                          <a:pt x="26" y="4"/>
                          <a:pt x="26" y="4"/>
                        </a:cubicBezTo>
                        <a:cubicBezTo>
                          <a:pt x="26" y="4"/>
                          <a:pt x="26" y="4"/>
                          <a:pt x="26" y="4"/>
                        </a:cubicBezTo>
                        <a:cubicBezTo>
                          <a:pt x="21" y="7"/>
                          <a:pt x="21" y="7"/>
                          <a:pt x="21" y="7"/>
                        </a:cubicBezTo>
                        <a:cubicBezTo>
                          <a:pt x="27" y="13"/>
                          <a:pt x="27" y="13"/>
                          <a:pt x="27" y="13"/>
                        </a:cubicBezTo>
                        <a:cubicBezTo>
                          <a:pt x="27" y="13"/>
                          <a:pt x="27" y="13"/>
                          <a:pt x="27" y="13"/>
                        </a:cubicBezTo>
                        <a:cubicBezTo>
                          <a:pt x="29" y="15"/>
                          <a:pt x="29" y="15"/>
                          <a:pt x="29" y="15"/>
                        </a:cubicBezTo>
                        <a:cubicBezTo>
                          <a:pt x="39" y="25"/>
                          <a:pt x="39" y="25"/>
                          <a:pt x="39" y="25"/>
                        </a:cubicBezTo>
                        <a:cubicBezTo>
                          <a:pt x="40" y="26"/>
                          <a:pt x="40" y="28"/>
                          <a:pt x="39" y="30"/>
                        </a:cubicBezTo>
                        <a:cubicBezTo>
                          <a:pt x="29" y="40"/>
                          <a:pt x="29" y="40"/>
                          <a:pt x="29" y="40"/>
                        </a:cubicBezTo>
                        <a:cubicBezTo>
                          <a:pt x="27" y="41"/>
                          <a:pt x="25" y="41"/>
                          <a:pt x="24" y="40"/>
                        </a:cubicBezTo>
                        <a:cubicBezTo>
                          <a:pt x="12" y="28"/>
                          <a:pt x="12" y="28"/>
                          <a:pt x="12" y="28"/>
                        </a:cubicBezTo>
                        <a:cubicBezTo>
                          <a:pt x="12" y="28"/>
                          <a:pt x="12" y="28"/>
                          <a:pt x="12" y="28"/>
                        </a:cubicBezTo>
                        <a:cubicBezTo>
                          <a:pt x="12" y="28"/>
                          <a:pt x="12" y="28"/>
                          <a:pt x="12" y="28"/>
                        </a:cubicBezTo>
                        <a:cubicBezTo>
                          <a:pt x="6" y="22"/>
                          <a:pt x="6" y="22"/>
                          <a:pt x="6" y="22"/>
                        </a:cubicBezTo>
                        <a:cubicBezTo>
                          <a:pt x="3" y="27"/>
                          <a:pt x="3" y="27"/>
                          <a:pt x="3" y="27"/>
                        </a:cubicBezTo>
                        <a:cubicBezTo>
                          <a:pt x="3" y="27"/>
                          <a:pt x="3" y="27"/>
                          <a:pt x="3" y="27"/>
                        </a:cubicBezTo>
                        <a:cubicBezTo>
                          <a:pt x="3" y="27"/>
                          <a:pt x="3" y="27"/>
                          <a:pt x="3" y="28"/>
                        </a:cubicBezTo>
                        <a:cubicBezTo>
                          <a:pt x="3" y="28"/>
                          <a:pt x="3" y="28"/>
                          <a:pt x="3" y="28"/>
                        </a:cubicBezTo>
                        <a:cubicBezTo>
                          <a:pt x="3" y="28"/>
                          <a:pt x="3" y="28"/>
                          <a:pt x="3" y="28"/>
                        </a:cubicBezTo>
                        <a:cubicBezTo>
                          <a:pt x="2" y="30"/>
                          <a:pt x="0" y="35"/>
                          <a:pt x="0" y="40"/>
                        </a:cubicBezTo>
                        <a:cubicBezTo>
                          <a:pt x="0" y="50"/>
                          <a:pt x="4" y="60"/>
                          <a:pt x="11" y="66"/>
                        </a:cubicBezTo>
                        <a:cubicBezTo>
                          <a:pt x="17" y="73"/>
                          <a:pt x="26" y="76"/>
                          <a:pt x="36" y="75"/>
                        </a:cubicBezTo>
                        <a:cubicBezTo>
                          <a:pt x="38" y="75"/>
                          <a:pt x="41" y="75"/>
                          <a:pt x="43" y="74"/>
                        </a:cubicBezTo>
                        <a:cubicBezTo>
                          <a:pt x="46" y="77"/>
                          <a:pt x="46" y="77"/>
                          <a:pt x="46" y="77"/>
                        </a:cubicBezTo>
                        <a:cubicBezTo>
                          <a:pt x="60" y="90"/>
                          <a:pt x="60" y="90"/>
                          <a:pt x="60" y="90"/>
                        </a:cubicBezTo>
                        <a:cubicBezTo>
                          <a:pt x="69" y="100"/>
                          <a:pt x="69" y="100"/>
                          <a:pt x="69" y="100"/>
                        </a:cubicBezTo>
                        <a:cubicBezTo>
                          <a:pt x="83" y="113"/>
                          <a:pt x="83" y="113"/>
                          <a:pt x="83" y="113"/>
                        </a:cubicBezTo>
                        <a:cubicBezTo>
                          <a:pt x="115" y="145"/>
                          <a:pt x="115" y="145"/>
                          <a:pt x="115" y="145"/>
                        </a:cubicBezTo>
                        <a:cubicBezTo>
                          <a:pt x="117" y="147"/>
                          <a:pt x="120" y="148"/>
                          <a:pt x="123" y="148"/>
                        </a:cubicBezTo>
                        <a:cubicBezTo>
                          <a:pt x="128" y="148"/>
                          <a:pt x="135" y="145"/>
                          <a:pt x="140" y="140"/>
                        </a:cubicBezTo>
                        <a:cubicBezTo>
                          <a:pt x="145" y="135"/>
                          <a:pt x="148" y="129"/>
                          <a:pt x="148" y="124"/>
                        </a:cubicBezTo>
                        <a:cubicBezTo>
                          <a:pt x="148" y="120"/>
                          <a:pt x="147" y="117"/>
                          <a:pt x="145" y="115"/>
                        </a:cubicBezTo>
                        <a:cubicBezTo>
                          <a:pt x="145" y="115"/>
                          <a:pt x="129" y="100"/>
                          <a:pt x="113" y="83"/>
                        </a:cubicBezTo>
                        <a:close/>
                        <a:moveTo>
                          <a:pt x="67" y="79"/>
                        </a:moveTo>
                        <a:cubicBezTo>
                          <a:pt x="56" y="67"/>
                          <a:pt x="56" y="67"/>
                          <a:pt x="56" y="67"/>
                        </a:cubicBezTo>
                        <a:cubicBezTo>
                          <a:pt x="47" y="58"/>
                          <a:pt x="47" y="58"/>
                          <a:pt x="47" y="58"/>
                        </a:cubicBezTo>
                        <a:cubicBezTo>
                          <a:pt x="43" y="60"/>
                          <a:pt x="43" y="60"/>
                          <a:pt x="43" y="60"/>
                        </a:cubicBezTo>
                        <a:cubicBezTo>
                          <a:pt x="40" y="61"/>
                          <a:pt x="37" y="62"/>
                          <a:pt x="35" y="62"/>
                        </a:cubicBezTo>
                        <a:cubicBezTo>
                          <a:pt x="29" y="62"/>
                          <a:pt x="24" y="60"/>
                          <a:pt x="20" y="57"/>
                        </a:cubicBezTo>
                        <a:cubicBezTo>
                          <a:pt x="16" y="53"/>
                          <a:pt x="13" y="47"/>
                          <a:pt x="13" y="40"/>
                        </a:cubicBezTo>
                        <a:cubicBezTo>
                          <a:pt x="13" y="39"/>
                          <a:pt x="13" y="39"/>
                          <a:pt x="13" y="39"/>
                        </a:cubicBezTo>
                        <a:cubicBezTo>
                          <a:pt x="19" y="45"/>
                          <a:pt x="19" y="45"/>
                          <a:pt x="19" y="45"/>
                        </a:cubicBezTo>
                        <a:cubicBezTo>
                          <a:pt x="21" y="47"/>
                          <a:pt x="24" y="48"/>
                          <a:pt x="26" y="48"/>
                        </a:cubicBezTo>
                        <a:cubicBezTo>
                          <a:pt x="29" y="48"/>
                          <a:pt x="32" y="47"/>
                          <a:pt x="34" y="45"/>
                        </a:cubicBezTo>
                        <a:cubicBezTo>
                          <a:pt x="44" y="34"/>
                          <a:pt x="44" y="34"/>
                          <a:pt x="44" y="34"/>
                        </a:cubicBezTo>
                        <a:cubicBezTo>
                          <a:pt x="48" y="30"/>
                          <a:pt x="48" y="24"/>
                          <a:pt x="44" y="20"/>
                        </a:cubicBezTo>
                        <a:cubicBezTo>
                          <a:pt x="38" y="14"/>
                          <a:pt x="38" y="14"/>
                          <a:pt x="38" y="14"/>
                        </a:cubicBezTo>
                        <a:cubicBezTo>
                          <a:pt x="39" y="14"/>
                          <a:pt x="39" y="14"/>
                          <a:pt x="39" y="14"/>
                        </a:cubicBezTo>
                        <a:cubicBezTo>
                          <a:pt x="46" y="14"/>
                          <a:pt x="52" y="16"/>
                          <a:pt x="56" y="21"/>
                        </a:cubicBezTo>
                        <a:cubicBezTo>
                          <a:pt x="60" y="24"/>
                          <a:pt x="61" y="30"/>
                          <a:pt x="61" y="36"/>
                        </a:cubicBezTo>
                        <a:cubicBezTo>
                          <a:pt x="61" y="38"/>
                          <a:pt x="60" y="41"/>
                          <a:pt x="59" y="43"/>
                        </a:cubicBezTo>
                        <a:cubicBezTo>
                          <a:pt x="58" y="48"/>
                          <a:pt x="58" y="48"/>
                          <a:pt x="58" y="48"/>
                        </a:cubicBezTo>
                        <a:cubicBezTo>
                          <a:pt x="61" y="51"/>
                          <a:pt x="61" y="51"/>
                          <a:pt x="61" y="51"/>
                        </a:cubicBezTo>
                        <a:cubicBezTo>
                          <a:pt x="63" y="52"/>
                          <a:pt x="66" y="56"/>
                          <a:pt x="70" y="59"/>
                        </a:cubicBezTo>
                        <a:cubicBezTo>
                          <a:pt x="73" y="62"/>
                          <a:pt x="76" y="66"/>
                          <a:pt x="80" y="69"/>
                        </a:cubicBezTo>
                        <a:cubicBezTo>
                          <a:pt x="83" y="73"/>
                          <a:pt x="87" y="76"/>
                          <a:pt x="90" y="80"/>
                        </a:cubicBezTo>
                        <a:cubicBezTo>
                          <a:pt x="94" y="83"/>
                          <a:pt x="97" y="87"/>
                          <a:pt x="100" y="90"/>
                        </a:cubicBezTo>
                        <a:cubicBezTo>
                          <a:pt x="116" y="106"/>
                          <a:pt x="131" y="121"/>
                          <a:pt x="134" y="124"/>
                        </a:cubicBezTo>
                        <a:cubicBezTo>
                          <a:pt x="134" y="125"/>
                          <a:pt x="133" y="128"/>
                          <a:pt x="130" y="131"/>
                        </a:cubicBezTo>
                        <a:cubicBezTo>
                          <a:pt x="127" y="134"/>
                          <a:pt x="125" y="135"/>
                          <a:pt x="124" y="135"/>
                        </a:cubicBezTo>
                        <a:cubicBezTo>
                          <a:pt x="121" y="133"/>
                          <a:pt x="115" y="126"/>
                          <a:pt x="106" y="117"/>
                        </a:cubicBezTo>
                        <a:cubicBezTo>
                          <a:pt x="92" y="104"/>
                          <a:pt x="92" y="104"/>
                          <a:pt x="92" y="104"/>
                        </a:cubicBezTo>
                        <a:cubicBezTo>
                          <a:pt x="81" y="93"/>
                          <a:pt x="81" y="93"/>
                          <a:pt x="81" y="93"/>
                        </a:cubicBezTo>
                        <a:lnTo>
                          <a:pt x="67" y="79"/>
                        </a:lnTo>
                        <a:close/>
                        <a:moveTo>
                          <a:pt x="29" y="10"/>
                        </a:moveTo>
                        <a:cubicBezTo>
                          <a:pt x="29" y="10"/>
                          <a:pt x="29" y="10"/>
                          <a:pt x="2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grpSp>
        <p:grpSp>
          <p:nvGrpSpPr>
            <p:cNvPr id="123" name="Group 122">
              <a:extLst>
                <a:ext uri="{FF2B5EF4-FFF2-40B4-BE49-F238E27FC236}">
                  <a16:creationId xmlns:a16="http://schemas.microsoft.com/office/drawing/2014/main" id="{AA6C1B18-FC3F-2B05-E024-AC2DCACCDB03}"/>
                </a:ext>
              </a:extLst>
            </p:cNvPr>
            <p:cNvGrpSpPr/>
            <p:nvPr/>
          </p:nvGrpSpPr>
          <p:grpSpPr>
            <a:xfrm>
              <a:off x="3940414" y="4249017"/>
              <a:ext cx="1291605" cy="928239"/>
              <a:chOff x="5454211" y="5464440"/>
              <a:chExt cx="1291605" cy="928239"/>
            </a:xfrm>
          </p:grpSpPr>
          <p:grpSp>
            <p:nvGrpSpPr>
              <p:cNvPr id="107" name="Group 106">
                <a:extLst>
                  <a:ext uri="{FF2B5EF4-FFF2-40B4-BE49-F238E27FC236}">
                    <a16:creationId xmlns:a16="http://schemas.microsoft.com/office/drawing/2014/main" id="{AF86D2D8-3F92-8555-2679-02CD72FD9A98}"/>
                  </a:ext>
                </a:extLst>
              </p:cNvPr>
              <p:cNvGrpSpPr/>
              <p:nvPr/>
            </p:nvGrpSpPr>
            <p:grpSpPr>
              <a:xfrm>
                <a:off x="5666433" y="5645645"/>
                <a:ext cx="529792" cy="510624"/>
                <a:chOff x="5353153" y="5476240"/>
                <a:chExt cx="529792" cy="510624"/>
              </a:xfrm>
            </p:grpSpPr>
            <p:sp>
              <p:nvSpPr>
                <p:cNvPr id="108" name="Oval 75">
                  <a:extLst>
                    <a:ext uri="{FF2B5EF4-FFF2-40B4-BE49-F238E27FC236}">
                      <a16:creationId xmlns:a16="http://schemas.microsoft.com/office/drawing/2014/main" id="{50160853-A391-F171-C0A2-5C2F3FCE3AA3}"/>
                    </a:ext>
                  </a:extLst>
                </p:cNvPr>
                <p:cNvSpPr/>
                <p:nvPr/>
              </p:nvSpPr>
              <p:spPr>
                <a:xfrm flipH="1">
                  <a:off x="5353153" y="5476240"/>
                  <a:ext cx="529792" cy="5106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217">
                  <a:extLst>
                    <a:ext uri="{FF2B5EF4-FFF2-40B4-BE49-F238E27FC236}">
                      <a16:creationId xmlns:a16="http://schemas.microsoft.com/office/drawing/2014/main" id="{B368FFC2-C102-C5AF-B659-33F28267CB31}"/>
                    </a:ext>
                  </a:extLst>
                </p:cNvPr>
                <p:cNvGrpSpPr>
                  <a:grpSpLocks noChangeAspect="1"/>
                </p:cNvGrpSpPr>
                <p:nvPr/>
              </p:nvGrpSpPr>
              <p:grpSpPr bwMode="auto">
                <a:xfrm>
                  <a:off x="5449297" y="5544996"/>
                  <a:ext cx="361808" cy="346104"/>
                  <a:chOff x="3734" y="1898"/>
                  <a:chExt cx="267" cy="265"/>
                </a:xfrm>
                <a:solidFill>
                  <a:schemeClr val="bg1"/>
                </a:solidFill>
              </p:grpSpPr>
              <p:sp>
                <p:nvSpPr>
                  <p:cNvPr id="110" name="Freeform 218">
                    <a:extLst>
                      <a:ext uri="{FF2B5EF4-FFF2-40B4-BE49-F238E27FC236}">
                        <a16:creationId xmlns:a16="http://schemas.microsoft.com/office/drawing/2014/main" id="{EE2570E6-30D5-371E-6639-0AB87182D8CA}"/>
                      </a:ext>
                    </a:extLst>
                  </p:cNvPr>
                  <p:cNvSpPr>
                    <a:spLocks/>
                  </p:cNvSpPr>
                  <p:nvPr/>
                </p:nvSpPr>
                <p:spPr bwMode="auto">
                  <a:xfrm>
                    <a:off x="3734" y="1934"/>
                    <a:ext cx="223" cy="229"/>
                  </a:xfrm>
                  <a:custGeom>
                    <a:avLst/>
                    <a:gdLst>
                      <a:gd name="T0" fmla="*/ 300 w 353"/>
                      <a:gd name="T1" fmla="*/ 105 h 365"/>
                      <a:gd name="T2" fmla="*/ 260 w 353"/>
                      <a:gd name="T3" fmla="*/ 300 h 365"/>
                      <a:gd name="T4" fmla="*/ 65 w 353"/>
                      <a:gd name="T5" fmla="*/ 260 h 365"/>
                      <a:gd name="T6" fmla="*/ 105 w 353"/>
                      <a:gd name="T7" fmla="*/ 65 h 365"/>
                      <a:gd name="T8" fmla="*/ 260 w 353"/>
                      <a:gd name="T9" fmla="*/ 65 h 365"/>
                      <a:gd name="T10" fmla="*/ 275 w 353"/>
                      <a:gd name="T11" fmla="*/ 50 h 365"/>
                      <a:gd name="T12" fmla="*/ 51 w 353"/>
                      <a:gd name="T13" fmla="*/ 90 h 365"/>
                      <a:gd name="T14" fmla="*/ 91 w 353"/>
                      <a:gd name="T15" fmla="*/ 314 h 365"/>
                      <a:gd name="T16" fmla="*/ 315 w 353"/>
                      <a:gd name="T17" fmla="*/ 274 h 365"/>
                      <a:gd name="T18" fmla="*/ 315 w 353"/>
                      <a:gd name="T19" fmla="*/ 90 h 365"/>
                      <a:gd name="T20" fmla="*/ 300 w 353"/>
                      <a:gd name="T21" fmla="*/ 10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65">
                        <a:moveTo>
                          <a:pt x="300" y="105"/>
                        </a:moveTo>
                        <a:cubicBezTo>
                          <a:pt x="343" y="170"/>
                          <a:pt x="325" y="257"/>
                          <a:pt x="260" y="300"/>
                        </a:cubicBezTo>
                        <a:cubicBezTo>
                          <a:pt x="195" y="343"/>
                          <a:pt x="108" y="325"/>
                          <a:pt x="65" y="260"/>
                        </a:cubicBezTo>
                        <a:cubicBezTo>
                          <a:pt x="22" y="195"/>
                          <a:pt x="40" y="108"/>
                          <a:pt x="105" y="65"/>
                        </a:cubicBezTo>
                        <a:cubicBezTo>
                          <a:pt x="152" y="34"/>
                          <a:pt x="213" y="34"/>
                          <a:pt x="260" y="65"/>
                        </a:cubicBezTo>
                        <a:cubicBezTo>
                          <a:pt x="275" y="50"/>
                          <a:pt x="275" y="50"/>
                          <a:pt x="275" y="50"/>
                        </a:cubicBezTo>
                        <a:cubicBezTo>
                          <a:pt x="202" y="0"/>
                          <a:pt x="101" y="17"/>
                          <a:pt x="51" y="90"/>
                        </a:cubicBezTo>
                        <a:cubicBezTo>
                          <a:pt x="0" y="163"/>
                          <a:pt x="18" y="264"/>
                          <a:pt x="91" y="314"/>
                        </a:cubicBezTo>
                        <a:cubicBezTo>
                          <a:pt x="163" y="365"/>
                          <a:pt x="264" y="347"/>
                          <a:pt x="315" y="274"/>
                        </a:cubicBezTo>
                        <a:cubicBezTo>
                          <a:pt x="353" y="219"/>
                          <a:pt x="353" y="146"/>
                          <a:pt x="315" y="90"/>
                        </a:cubicBezTo>
                        <a:lnTo>
                          <a:pt x="3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1" name="Freeform 219">
                    <a:extLst>
                      <a:ext uri="{FF2B5EF4-FFF2-40B4-BE49-F238E27FC236}">
                        <a16:creationId xmlns:a16="http://schemas.microsoft.com/office/drawing/2014/main" id="{B7AAF31D-3C8E-779D-38A5-BF884F26E7F4}"/>
                      </a:ext>
                    </a:extLst>
                  </p:cNvPr>
                  <p:cNvSpPr>
                    <a:spLocks/>
                  </p:cNvSpPr>
                  <p:nvPr/>
                </p:nvSpPr>
                <p:spPr bwMode="auto">
                  <a:xfrm>
                    <a:off x="3777" y="1976"/>
                    <a:ext cx="138" cy="145"/>
                  </a:xfrm>
                  <a:custGeom>
                    <a:avLst/>
                    <a:gdLst>
                      <a:gd name="T0" fmla="*/ 115 w 219"/>
                      <a:gd name="T1" fmla="*/ 34 h 229"/>
                      <a:gd name="T2" fmla="*/ 148 w 219"/>
                      <a:gd name="T3" fmla="*/ 41 h 229"/>
                      <a:gd name="T4" fmla="*/ 163 w 219"/>
                      <a:gd name="T5" fmla="*/ 26 h 229"/>
                      <a:gd name="T6" fmla="*/ 27 w 219"/>
                      <a:gd name="T7" fmla="*/ 66 h 229"/>
                      <a:gd name="T8" fmla="*/ 67 w 219"/>
                      <a:gd name="T9" fmla="*/ 202 h 229"/>
                      <a:gd name="T10" fmla="*/ 203 w 219"/>
                      <a:gd name="T11" fmla="*/ 162 h 229"/>
                      <a:gd name="T12" fmla="*/ 203 w 219"/>
                      <a:gd name="T13" fmla="*/ 66 h 229"/>
                      <a:gd name="T14" fmla="*/ 188 w 219"/>
                      <a:gd name="T15" fmla="*/ 81 h 229"/>
                      <a:gd name="T16" fmla="*/ 195 w 219"/>
                      <a:gd name="T17" fmla="*/ 114 h 229"/>
                      <a:gd name="T18" fmla="*/ 115 w 219"/>
                      <a:gd name="T19" fmla="*/ 194 h 229"/>
                      <a:gd name="T20" fmla="*/ 35 w 219"/>
                      <a:gd name="T21" fmla="*/ 114 h 229"/>
                      <a:gd name="T22" fmla="*/ 115 w 219"/>
                      <a:gd name="T23" fmla="*/ 3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29">
                        <a:moveTo>
                          <a:pt x="115" y="34"/>
                        </a:moveTo>
                        <a:cubicBezTo>
                          <a:pt x="126" y="34"/>
                          <a:pt x="137" y="37"/>
                          <a:pt x="148" y="41"/>
                        </a:cubicBezTo>
                        <a:cubicBezTo>
                          <a:pt x="163" y="26"/>
                          <a:pt x="163" y="26"/>
                          <a:pt x="163" y="26"/>
                        </a:cubicBezTo>
                        <a:cubicBezTo>
                          <a:pt x="114" y="0"/>
                          <a:pt x="53" y="18"/>
                          <a:pt x="27" y="66"/>
                        </a:cubicBezTo>
                        <a:cubicBezTo>
                          <a:pt x="0" y="115"/>
                          <a:pt x="18" y="176"/>
                          <a:pt x="67" y="202"/>
                        </a:cubicBezTo>
                        <a:cubicBezTo>
                          <a:pt x="115" y="229"/>
                          <a:pt x="176" y="211"/>
                          <a:pt x="203" y="162"/>
                        </a:cubicBezTo>
                        <a:cubicBezTo>
                          <a:pt x="219" y="132"/>
                          <a:pt x="219" y="96"/>
                          <a:pt x="203" y="66"/>
                        </a:cubicBezTo>
                        <a:cubicBezTo>
                          <a:pt x="188" y="81"/>
                          <a:pt x="188" y="81"/>
                          <a:pt x="188" y="81"/>
                        </a:cubicBezTo>
                        <a:cubicBezTo>
                          <a:pt x="192" y="92"/>
                          <a:pt x="195" y="103"/>
                          <a:pt x="195" y="114"/>
                        </a:cubicBezTo>
                        <a:cubicBezTo>
                          <a:pt x="195" y="158"/>
                          <a:pt x="159" y="194"/>
                          <a:pt x="115" y="194"/>
                        </a:cubicBezTo>
                        <a:cubicBezTo>
                          <a:pt x="71" y="194"/>
                          <a:pt x="35" y="158"/>
                          <a:pt x="35" y="114"/>
                        </a:cubicBezTo>
                        <a:cubicBezTo>
                          <a:pt x="35" y="70"/>
                          <a:pt x="71" y="34"/>
                          <a:pt x="115"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2" name="Freeform 220">
                    <a:extLst>
                      <a:ext uri="{FF2B5EF4-FFF2-40B4-BE49-F238E27FC236}">
                        <a16:creationId xmlns:a16="http://schemas.microsoft.com/office/drawing/2014/main" id="{7B381D00-73A2-94D3-08A2-1A16A1C3F8BD}"/>
                      </a:ext>
                    </a:extLst>
                  </p:cNvPr>
                  <p:cNvSpPr>
                    <a:spLocks/>
                  </p:cNvSpPr>
                  <p:nvPr/>
                </p:nvSpPr>
                <p:spPr bwMode="auto">
                  <a:xfrm>
                    <a:off x="3845" y="1898"/>
                    <a:ext cx="156" cy="155"/>
                  </a:xfrm>
                  <a:custGeom>
                    <a:avLst/>
                    <a:gdLst>
                      <a:gd name="T0" fmla="*/ 236 w 246"/>
                      <a:gd name="T1" fmla="*/ 51 h 246"/>
                      <a:gd name="T2" fmla="*/ 213 w 246"/>
                      <a:gd name="T3" fmla="*/ 33 h 246"/>
                      <a:gd name="T4" fmla="*/ 200 w 246"/>
                      <a:gd name="T5" fmla="*/ 18 h 246"/>
                      <a:gd name="T6" fmla="*/ 195 w 246"/>
                      <a:gd name="T7" fmla="*/ 10 h 246"/>
                      <a:gd name="T8" fmla="*/ 188 w 246"/>
                      <a:gd name="T9" fmla="*/ 0 h 246"/>
                      <a:gd name="T10" fmla="*/ 126 w 246"/>
                      <a:gd name="T11" fmla="*/ 62 h 246"/>
                      <a:gd name="T12" fmla="*/ 126 w 246"/>
                      <a:gd name="T13" fmla="*/ 106 h 246"/>
                      <a:gd name="T14" fmla="*/ 0 w 246"/>
                      <a:gd name="T15" fmla="*/ 232 h 246"/>
                      <a:gd name="T16" fmla="*/ 1 w 246"/>
                      <a:gd name="T17" fmla="*/ 245 h 246"/>
                      <a:gd name="T18" fmla="*/ 14 w 246"/>
                      <a:gd name="T19" fmla="*/ 246 h 246"/>
                      <a:gd name="T20" fmla="*/ 140 w 246"/>
                      <a:gd name="T21" fmla="*/ 120 h 246"/>
                      <a:gd name="T22" fmla="*/ 184 w 246"/>
                      <a:gd name="T23" fmla="*/ 120 h 246"/>
                      <a:gd name="T24" fmla="*/ 246 w 246"/>
                      <a:gd name="T25" fmla="*/ 58 h 246"/>
                      <a:gd name="T26" fmla="*/ 236 w 246"/>
                      <a:gd name="T27" fmla="*/ 5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 h="246">
                        <a:moveTo>
                          <a:pt x="236" y="51"/>
                        </a:moveTo>
                        <a:cubicBezTo>
                          <a:pt x="228" y="46"/>
                          <a:pt x="220" y="40"/>
                          <a:pt x="213" y="33"/>
                        </a:cubicBezTo>
                        <a:cubicBezTo>
                          <a:pt x="209" y="28"/>
                          <a:pt x="204" y="23"/>
                          <a:pt x="200" y="18"/>
                        </a:cubicBezTo>
                        <a:cubicBezTo>
                          <a:pt x="197" y="13"/>
                          <a:pt x="195" y="10"/>
                          <a:pt x="195" y="10"/>
                        </a:cubicBezTo>
                        <a:cubicBezTo>
                          <a:pt x="188" y="0"/>
                          <a:pt x="188" y="0"/>
                          <a:pt x="188" y="0"/>
                        </a:cubicBezTo>
                        <a:cubicBezTo>
                          <a:pt x="126" y="62"/>
                          <a:pt x="126" y="62"/>
                          <a:pt x="126" y="62"/>
                        </a:cubicBezTo>
                        <a:cubicBezTo>
                          <a:pt x="126" y="106"/>
                          <a:pt x="126" y="106"/>
                          <a:pt x="126" y="106"/>
                        </a:cubicBezTo>
                        <a:cubicBezTo>
                          <a:pt x="0" y="232"/>
                          <a:pt x="0" y="232"/>
                          <a:pt x="0" y="232"/>
                        </a:cubicBezTo>
                        <a:cubicBezTo>
                          <a:pt x="1" y="245"/>
                          <a:pt x="1" y="245"/>
                          <a:pt x="1" y="245"/>
                        </a:cubicBezTo>
                        <a:cubicBezTo>
                          <a:pt x="14" y="246"/>
                          <a:pt x="14" y="246"/>
                          <a:pt x="14" y="246"/>
                        </a:cubicBezTo>
                        <a:cubicBezTo>
                          <a:pt x="140" y="120"/>
                          <a:pt x="140" y="120"/>
                          <a:pt x="140" y="120"/>
                        </a:cubicBezTo>
                        <a:cubicBezTo>
                          <a:pt x="184" y="120"/>
                          <a:pt x="184" y="120"/>
                          <a:pt x="184" y="120"/>
                        </a:cubicBezTo>
                        <a:cubicBezTo>
                          <a:pt x="246" y="58"/>
                          <a:pt x="246" y="58"/>
                          <a:pt x="246" y="58"/>
                        </a:cubicBezTo>
                        <a:lnTo>
                          <a:pt x="23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117" name="Arc 63">
                <a:extLst>
                  <a:ext uri="{FF2B5EF4-FFF2-40B4-BE49-F238E27FC236}">
                    <a16:creationId xmlns:a16="http://schemas.microsoft.com/office/drawing/2014/main" id="{AEAA3674-4A06-4C92-D94C-562B23AC3103}"/>
                  </a:ext>
                </a:extLst>
              </p:cNvPr>
              <p:cNvSpPr/>
              <p:nvPr/>
            </p:nvSpPr>
            <p:spPr>
              <a:xfrm rot="5400000" flipH="1">
                <a:off x="5469884" y="5541996"/>
                <a:ext cx="835010" cy="866356"/>
              </a:xfrm>
              <a:prstGeom prst="arc">
                <a:avLst>
                  <a:gd name="adj1" fmla="val 15767060"/>
                  <a:gd name="adj2" fmla="val 231555"/>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18" name="Straight Connector 95">
                <a:extLst>
                  <a:ext uri="{FF2B5EF4-FFF2-40B4-BE49-F238E27FC236}">
                    <a16:creationId xmlns:a16="http://schemas.microsoft.com/office/drawing/2014/main" id="{3165D512-AE35-B124-2CED-D37E63709119}"/>
                  </a:ext>
                </a:extLst>
              </p:cNvPr>
              <p:cNvCxnSpPr>
                <a:cxnSpLocks/>
              </p:cNvCxnSpPr>
              <p:nvPr/>
            </p:nvCxnSpPr>
            <p:spPr>
              <a:xfrm rot="18900000">
                <a:off x="6080012" y="5464440"/>
                <a:ext cx="665804" cy="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DD3E5AA4-F692-0FFE-FFB9-BF2FB78A2D64}"/>
                </a:ext>
              </a:extLst>
            </p:cNvPr>
            <p:cNvGrpSpPr/>
            <p:nvPr/>
          </p:nvGrpSpPr>
          <p:grpSpPr>
            <a:xfrm>
              <a:off x="7144749" y="1759355"/>
              <a:ext cx="1444594" cy="866356"/>
              <a:chOff x="7144749" y="1567331"/>
              <a:chExt cx="1444594" cy="866356"/>
            </a:xfrm>
          </p:grpSpPr>
          <p:grpSp>
            <p:nvGrpSpPr>
              <p:cNvPr id="27" name="그룹 216">
                <a:extLst>
                  <a:ext uri="{FF2B5EF4-FFF2-40B4-BE49-F238E27FC236}">
                    <a16:creationId xmlns:a16="http://schemas.microsoft.com/office/drawing/2014/main" id="{659E5C69-287C-40D6-B125-4CDB1681A5B1}"/>
                  </a:ext>
                </a:extLst>
              </p:cNvPr>
              <p:cNvGrpSpPr/>
              <p:nvPr/>
            </p:nvGrpSpPr>
            <p:grpSpPr>
              <a:xfrm rot="18900000" flipH="1">
                <a:off x="7144749" y="1567331"/>
                <a:ext cx="1444594" cy="866356"/>
                <a:chOff x="3013984" y="3425199"/>
                <a:chExt cx="1620829" cy="936877"/>
              </a:xfrm>
            </p:grpSpPr>
            <p:sp>
              <p:nvSpPr>
                <p:cNvPr id="28" name="Oval 75">
                  <a:extLst>
                    <a:ext uri="{FF2B5EF4-FFF2-40B4-BE49-F238E27FC236}">
                      <a16:creationId xmlns:a16="http://schemas.microsoft.com/office/drawing/2014/main" id="{9645A8F2-1E19-4CFC-BF19-5B66E830186C}"/>
                    </a:ext>
                  </a:extLst>
                </p:cNvPr>
                <p:cNvSpPr/>
                <p:nvPr/>
              </p:nvSpPr>
              <p:spPr>
                <a:xfrm flipH="1">
                  <a:off x="3229073" y="3609520"/>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Arc 63">
                  <a:extLst>
                    <a:ext uri="{FF2B5EF4-FFF2-40B4-BE49-F238E27FC236}">
                      <a16:creationId xmlns:a16="http://schemas.microsoft.com/office/drawing/2014/main" id="{F034BA9F-D7B9-411D-921E-8C1FED0804F5}"/>
                    </a:ext>
                  </a:extLst>
                </p:cNvPr>
                <p:cNvSpPr/>
                <p:nvPr/>
              </p:nvSpPr>
              <p:spPr>
                <a:xfrm rot="8100000" flipH="1">
                  <a:off x="3013984" y="3425199"/>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0" name="Straight Connector 95">
                  <a:extLst>
                    <a:ext uri="{FF2B5EF4-FFF2-40B4-BE49-F238E27FC236}">
                      <a16:creationId xmlns:a16="http://schemas.microsoft.com/office/drawing/2014/main" id="{ABAE1F65-65E4-43E1-9D39-15AAFCEB8DEE}"/>
                    </a:ext>
                  </a:extLst>
                </p:cNvPr>
                <p:cNvCxnSpPr>
                  <a:cxnSpLocks/>
                </p:cNvCxnSpPr>
                <p:nvPr/>
              </p:nvCxnSpPr>
              <p:spPr>
                <a:xfrm>
                  <a:off x="3914813" y="3905372"/>
                  <a:ext cx="7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pic>
            <p:nvPicPr>
              <p:cNvPr id="170" name="Picture 169">
                <a:extLst>
                  <a:ext uri="{FF2B5EF4-FFF2-40B4-BE49-F238E27FC236}">
                    <a16:creationId xmlns:a16="http://schemas.microsoft.com/office/drawing/2014/main" id="{64F97B6B-F8E6-5386-CCA9-589B0D718163}"/>
                  </a:ext>
                </a:extLst>
              </p:cNvPr>
              <p:cNvPicPr>
                <a:picLocks noChangeAspect="1"/>
              </p:cNvPicPr>
              <p:nvPr/>
            </p:nvPicPr>
            <p:blipFill>
              <a:blip r:embed="rId9"/>
              <a:stretch>
                <a:fillRect/>
              </a:stretch>
            </p:blipFill>
            <p:spPr>
              <a:xfrm>
                <a:off x="7889503" y="1645836"/>
                <a:ext cx="349282" cy="290292"/>
              </a:xfrm>
              <a:prstGeom prst="rect">
                <a:avLst/>
              </a:prstGeom>
            </p:spPr>
          </p:pic>
        </p:grpSp>
        <p:grpSp>
          <p:nvGrpSpPr>
            <p:cNvPr id="176" name="Group 175">
              <a:extLst>
                <a:ext uri="{FF2B5EF4-FFF2-40B4-BE49-F238E27FC236}">
                  <a16:creationId xmlns:a16="http://schemas.microsoft.com/office/drawing/2014/main" id="{1153FF5E-C243-54FF-D235-052F39AD6A2F}"/>
                </a:ext>
              </a:extLst>
            </p:cNvPr>
            <p:cNvGrpSpPr/>
            <p:nvPr/>
          </p:nvGrpSpPr>
          <p:grpSpPr>
            <a:xfrm>
              <a:off x="7652166" y="2897103"/>
              <a:ext cx="1498825" cy="835009"/>
              <a:chOff x="7652166" y="2705079"/>
              <a:chExt cx="1498825" cy="835009"/>
            </a:xfrm>
          </p:grpSpPr>
          <p:grpSp>
            <p:nvGrpSpPr>
              <p:cNvPr id="31" name="그룹 220">
                <a:extLst>
                  <a:ext uri="{FF2B5EF4-FFF2-40B4-BE49-F238E27FC236}">
                    <a16:creationId xmlns:a16="http://schemas.microsoft.com/office/drawing/2014/main" id="{52384EA5-0F6F-4B5F-875D-5EE91068B5DE}"/>
                  </a:ext>
                </a:extLst>
              </p:cNvPr>
              <p:cNvGrpSpPr/>
              <p:nvPr/>
            </p:nvGrpSpPr>
            <p:grpSpPr>
              <a:xfrm flipH="1">
                <a:off x="7652166" y="2705079"/>
                <a:ext cx="1498825" cy="835009"/>
                <a:chOff x="3013984" y="3425199"/>
                <a:chExt cx="1620829" cy="936877"/>
              </a:xfrm>
            </p:grpSpPr>
            <p:sp>
              <p:nvSpPr>
                <p:cNvPr id="32" name="Oval 75">
                  <a:extLst>
                    <a:ext uri="{FF2B5EF4-FFF2-40B4-BE49-F238E27FC236}">
                      <a16:creationId xmlns:a16="http://schemas.microsoft.com/office/drawing/2014/main" id="{082D75CC-04D5-40BC-85EA-D18F216DAA9F}"/>
                    </a:ext>
                  </a:extLst>
                </p:cNvPr>
                <p:cNvSpPr/>
                <p:nvPr/>
              </p:nvSpPr>
              <p:spPr>
                <a:xfrm flipH="1">
                  <a:off x="3229073" y="3609520"/>
                  <a:ext cx="572917" cy="5729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Arc 63">
                  <a:extLst>
                    <a:ext uri="{FF2B5EF4-FFF2-40B4-BE49-F238E27FC236}">
                      <a16:creationId xmlns:a16="http://schemas.microsoft.com/office/drawing/2014/main" id="{A253BA83-FF1C-4E56-8D46-7B93DF0652BD}"/>
                    </a:ext>
                  </a:extLst>
                </p:cNvPr>
                <p:cNvSpPr/>
                <p:nvPr/>
              </p:nvSpPr>
              <p:spPr>
                <a:xfrm rot="8100000" flipH="1">
                  <a:off x="3013984" y="3425199"/>
                  <a:ext cx="936877" cy="936877"/>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34" name="Straight Connector 95">
                  <a:extLst>
                    <a:ext uri="{FF2B5EF4-FFF2-40B4-BE49-F238E27FC236}">
                      <a16:creationId xmlns:a16="http://schemas.microsoft.com/office/drawing/2014/main" id="{05A25BCC-09DD-44A9-85B0-D91F390D04FD}"/>
                    </a:ext>
                  </a:extLst>
                </p:cNvPr>
                <p:cNvCxnSpPr>
                  <a:cxnSpLocks/>
                </p:cNvCxnSpPr>
                <p:nvPr/>
              </p:nvCxnSpPr>
              <p:spPr>
                <a:xfrm>
                  <a:off x="3914813" y="3905372"/>
                  <a:ext cx="720000" cy="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grpSp>
          <p:pic>
            <p:nvPicPr>
              <p:cNvPr id="172" name="Picture 171">
                <a:extLst>
                  <a:ext uri="{FF2B5EF4-FFF2-40B4-BE49-F238E27FC236}">
                    <a16:creationId xmlns:a16="http://schemas.microsoft.com/office/drawing/2014/main" id="{A8B364AA-967C-E804-C40C-D6C16089029D}"/>
                  </a:ext>
                </a:extLst>
              </p:cNvPr>
              <p:cNvPicPr>
                <a:picLocks noChangeAspect="1"/>
              </p:cNvPicPr>
              <p:nvPr/>
            </p:nvPicPr>
            <p:blipFill>
              <a:blip r:embed="rId10"/>
              <a:stretch>
                <a:fillRect/>
              </a:stretch>
            </p:blipFill>
            <p:spPr>
              <a:xfrm>
                <a:off x="8515743" y="2979617"/>
                <a:ext cx="336989" cy="316477"/>
              </a:xfrm>
              <a:prstGeom prst="rect">
                <a:avLst/>
              </a:prstGeom>
            </p:spPr>
          </p:pic>
        </p:grpSp>
        <p:grpSp>
          <p:nvGrpSpPr>
            <p:cNvPr id="175" name="Group 174">
              <a:extLst>
                <a:ext uri="{FF2B5EF4-FFF2-40B4-BE49-F238E27FC236}">
                  <a16:creationId xmlns:a16="http://schemas.microsoft.com/office/drawing/2014/main" id="{785C795B-2A16-959C-9D23-23F8C43A7980}"/>
                </a:ext>
              </a:extLst>
            </p:cNvPr>
            <p:cNvGrpSpPr/>
            <p:nvPr/>
          </p:nvGrpSpPr>
          <p:grpSpPr>
            <a:xfrm>
              <a:off x="7705592" y="4289829"/>
              <a:ext cx="835043" cy="835008"/>
              <a:chOff x="7705592" y="4097805"/>
              <a:chExt cx="835043" cy="835008"/>
            </a:xfrm>
          </p:grpSpPr>
          <p:sp>
            <p:nvSpPr>
              <p:cNvPr id="24" name="Oval 75">
                <a:extLst>
                  <a:ext uri="{FF2B5EF4-FFF2-40B4-BE49-F238E27FC236}">
                    <a16:creationId xmlns:a16="http://schemas.microsoft.com/office/drawing/2014/main" id="{4C914445-B4BE-43B1-AB04-6567056D236E}"/>
                  </a:ext>
                </a:extLst>
              </p:cNvPr>
              <p:cNvSpPr/>
              <p:nvPr/>
            </p:nvSpPr>
            <p:spPr>
              <a:xfrm rot="2700000">
                <a:off x="7845432" y="4240610"/>
                <a:ext cx="510645" cy="5106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Arc 63">
                <a:extLst>
                  <a:ext uri="{FF2B5EF4-FFF2-40B4-BE49-F238E27FC236}">
                    <a16:creationId xmlns:a16="http://schemas.microsoft.com/office/drawing/2014/main" id="{2E04EA5B-040F-4F17-8269-5327207CAD79}"/>
                  </a:ext>
                </a:extLst>
              </p:cNvPr>
              <p:cNvSpPr/>
              <p:nvPr/>
            </p:nvSpPr>
            <p:spPr>
              <a:xfrm rot="16200000">
                <a:off x="7705610" y="4097787"/>
                <a:ext cx="835008" cy="835043"/>
              </a:xfrm>
              <a:prstGeom prst="arc">
                <a:avLst>
                  <a:gd name="adj1" fmla="val 15767060"/>
                  <a:gd name="adj2" fmla="val 231555"/>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74" name="Picture 173">
                <a:extLst>
                  <a:ext uri="{FF2B5EF4-FFF2-40B4-BE49-F238E27FC236}">
                    <a16:creationId xmlns:a16="http://schemas.microsoft.com/office/drawing/2014/main" id="{BCCA8B4D-80E3-872E-2799-659554CC5452}"/>
                  </a:ext>
                </a:extLst>
              </p:cNvPr>
              <p:cNvPicPr>
                <a:picLocks noChangeAspect="1"/>
              </p:cNvPicPr>
              <p:nvPr/>
            </p:nvPicPr>
            <p:blipFill>
              <a:blip r:embed="rId11"/>
              <a:stretch>
                <a:fillRect/>
              </a:stretch>
            </p:blipFill>
            <p:spPr>
              <a:xfrm>
                <a:off x="7930577" y="4329311"/>
                <a:ext cx="361529" cy="332016"/>
              </a:xfrm>
              <a:prstGeom prst="rect">
                <a:avLst/>
              </a:prstGeom>
            </p:spPr>
          </p:pic>
        </p:grpSp>
      </p:grpSp>
      <p:grpSp>
        <p:nvGrpSpPr>
          <p:cNvPr id="178" name="Group 177">
            <a:extLst>
              <a:ext uri="{FF2B5EF4-FFF2-40B4-BE49-F238E27FC236}">
                <a16:creationId xmlns:a16="http://schemas.microsoft.com/office/drawing/2014/main" id="{DA5F05CE-7A1E-9580-7698-40062BFE235D}"/>
              </a:ext>
            </a:extLst>
          </p:cNvPr>
          <p:cNvGrpSpPr/>
          <p:nvPr/>
        </p:nvGrpSpPr>
        <p:grpSpPr>
          <a:xfrm>
            <a:off x="4876707" y="888716"/>
            <a:ext cx="2550431" cy="500045"/>
            <a:chOff x="222118" y="824397"/>
            <a:chExt cx="3719688" cy="545393"/>
          </a:xfrm>
        </p:grpSpPr>
        <p:grpSp>
          <p:nvGrpSpPr>
            <p:cNvPr id="179" name="Group 178">
              <a:extLst>
                <a:ext uri="{FF2B5EF4-FFF2-40B4-BE49-F238E27FC236}">
                  <a16:creationId xmlns:a16="http://schemas.microsoft.com/office/drawing/2014/main" id="{10EE7F5F-50DD-2A81-C5BB-1A1A73EC94E6}"/>
                </a:ext>
              </a:extLst>
            </p:cNvPr>
            <p:cNvGrpSpPr/>
            <p:nvPr/>
          </p:nvGrpSpPr>
          <p:grpSpPr>
            <a:xfrm>
              <a:off x="297765" y="824397"/>
              <a:ext cx="3644041" cy="545393"/>
              <a:chOff x="1981906" y="1763367"/>
              <a:chExt cx="3644041" cy="545393"/>
            </a:xfrm>
          </p:grpSpPr>
          <p:sp>
            <p:nvSpPr>
              <p:cNvPr id="181" name="TextBox 180">
                <a:extLst>
                  <a:ext uri="{FF2B5EF4-FFF2-40B4-BE49-F238E27FC236}">
                    <a16:creationId xmlns:a16="http://schemas.microsoft.com/office/drawing/2014/main" id="{B322FB9F-E2CF-B152-F91C-EB87D93454AA}"/>
                  </a:ext>
                </a:extLst>
              </p:cNvPr>
              <p:cNvSpPr txBox="1"/>
              <p:nvPr/>
            </p:nvSpPr>
            <p:spPr>
              <a:xfrm>
                <a:off x="5195761" y="1769533"/>
                <a:ext cx="430186" cy="203661"/>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Honeywell Cond Web" panose="020B0506030202060103" pitchFamily="34" charset="0"/>
                    <a:ea typeface="+mn-ea"/>
                    <a:cs typeface="+mn-cs"/>
                  </a:rPr>
                  <a:t>4.75/ 5 sco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70C0"/>
                    </a:solidFill>
                    <a:effectLst/>
                    <a:uLnTx/>
                    <a:uFillTx/>
                    <a:latin typeface="Honeywell Cond Web" panose="020B0506030202060103" pitchFamily="34" charset="0"/>
                    <a:ea typeface="+mn-ea"/>
                    <a:cs typeface="+mn-cs"/>
                  </a:rPr>
                  <a:t>BGA OEMs</a:t>
                </a:r>
              </a:p>
            </p:txBody>
          </p:sp>
          <p:grpSp>
            <p:nvGrpSpPr>
              <p:cNvPr id="182" name="Group 181">
                <a:extLst>
                  <a:ext uri="{FF2B5EF4-FFF2-40B4-BE49-F238E27FC236}">
                    <a16:creationId xmlns:a16="http://schemas.microsoft.com/office/drawing/2014/main" id="{6D307861-51F9-19E7-8AC7-31EC2F8C29CD}"/>
                  </a:ext>
                </a:extLst>
              </p:cNvPr>
              <p:cNvGrpSpPr/>
              <p:nvPr/>
            </p:nvGrpSpPr>
            <p:grpSpPr>
              <a:xfrm>
                <a:off x="2920618" y="1769532"/>
                <a:ext cx="856463" cy="465327"/>
                <a:chOff x="2868179" y="1806399"/>
                <a:chExt cx="834391" cy="565835"/>
              </a:xfrm>
            </p:grpSpPr>
            <p:sp>
              <p:nvSpPr>
                <p:cNvPr id="189" name="TextBox 188">
                  <a:extLst>
                    <a:ext uri="{FF2B5EF4-FFF2-40B4-BE49-F238E27FC236}">
                      <a16:creationId xmlns:a16="http://schemas.microsoft.com/office/drawing/2014/main" id="{E1549ED7-C1E8-97B2-8721-F6F53BE597B2}"/>
                    </a:ext>
                  </a:extLst>
                </p:cNvPr>
                <p:cNvSpPr txBox="1"/>
                <p:nvPr/>
              </p:nvSpPr>
              <p:spPr>
                <a:xfrm>
                  <a:off x="3076826" y="1806399"/>
                  <a:ext cx="419100" cy="247650"/>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100" b="1" dirty="0">
                      <a:solidFill>
                        <a:prstClr val="black"/>
                      </a:solidFill>
                      <a:latin typeface="Honeywell Cond Web" panose="020B0506030202060103" pitchFamily="34" charset="0"/>
                    </a:rPr>
                    <a:t>97</a:t>
                  </a:r>
                  <a:r>
                    <a:rPr kumimoji="0" lang="en-US" sz="1100" b="1" i="0" u="none" strike="noStrike" kern="1200" cap="none" spc="0" normalizeH="0" baseline="0" noProof="0" dirty="0">
                      <a:ln>
                        <a:noFill/>
                      </a:ln>
                      <a:solidFill>
                        <a:prstClr val="black"/>
                      </a:solidFill>
                      <a:effectLst/>
                      <a:uLnTx/>
                      <a:uFillTx/>
                      <a:latin typeface="Honeywell Cond Web" panose="020B0506030202060103" pitchFamily="34" charset="0"/>
                      <a:ea typeface="+mn-ea"/>
                      <a:cs typeface="+mn-cs"/>
                    </a:rPr>
                    <a:t>%</a:t>
                  </a:r>
                </a:p>
              </p:txBody>
            </p:sp>
            <p:pic>
              <p:nvPicPr>
                <p:cNvPr id="190" name="Picture 4">
                  <a:extLst>
                    <a:ext uri="{FF2B5EF4-FFF2-40B4-BE49-F238E27FC236}">
                      <a16:creationId xmlns:a16="http://schemas.microsoft.com/office/drawing/2014/main" id="{8DC2FE92-B826-F977-13BE-226AC52D05B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68179" y="2124583"/>
                  <a:ext cx="834391" cy="2476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3" name="Group 182">
                <a:extLst>
                  <a:ext uri="{FF2B5EF4-FFF2-40B4-BE49-F238E27FC236}">
                    <a16:creationId xmlns:a16="http://schemas.microsoft.com/office/drawing/2014/main" id="{3531125D-96EE-17D4-E06F-ED05CF0FF3D3}"/>
                  </a:ext>
                </a:extLst>
              </p:cNvPr>
              <p:cNvGrpSpPr/>
              <p:nvPr/>
            </p:nvGrpSpPr>
            <p:grpSpPr>
              <a:xfrm>
                <a:off x="3777081" y="1769533"/>
                <a:ext cx="887434" cy="539227"/>
                <a:chOff x="6199188" y="2359838"/>
                <a:chExt cx="864564" cy="593673"/>
              </a:xfrm>
            </p:grpSpPr>
            <p:sp>
              <p:nvSpPr>
                <p:cNvPr id="187" name="TextBox 186">
                  <a:extLst>
                    <a:ext uri="{FF2B5EF4-FFF2-40B4-BE49-F238E27FC236}">
                      <a16:creationId xmlns:a16="http://schemas.microsoft.com/office/drawing/2014/main" id="{F2978733-D942-0467-3F7A-0867CC0D1B6B}"/>
                    </a:ext>
                  </a:extLst>
                </p:cNvPr>
                <p:cNvSpPr txBox="1"/>
                <p:nvPr/>
              </p:nvSpPr>
              <p:spPr>
                <a:xfrm>
                  <a:off x="6476058" y="2359838"/>
                  <a:ext cx="419100" cy="247650"/>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Honeywell Cond Web" panose="020B0506030202060103" pitchFamily="34" charset="0"/>
                      <a:ea typeface="+mn-ea"/>
                      <a:cs typeface="+mn-cs"/>
                    </a:rPr>
                    <a:t>5/5 score</a:t>
                  </a:r>
                </a:p>
              </p:txBody>
            </p:sp>
            <p:pic>
              <p:nvPicPr>
                <p:cNvPr id="188" name="Picture 6" descr="Download Comac Logo in SVG Vector or PNG File Format - Logo.wine">
                  <a:extLst>
                    <a:ext uri="{FF2B5EF4-FFF2-40B4-BE49-F238E27FC236}">
                      <a16:creationId xmlns:a16="http://schemas.microsoft.com/office/drawing/2014/main" id="{B1096F2F-906A-D329-04CA-E7298620BFD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99188" y="2593191"/>
                  <a:ext cx="864564" cy="360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4" name="Group 183">
                <a:extLst>
                  <a:ext uri="{FF2B5EF4-FFF2-40B4-BE49-F238E27FC236}">
                    <a16:creationId xmlns:a16="http://schemas.microsoft.com/office/drawing/2014/main" id="{CFFF489D-19D2-330A-CF1F-9170CD9D3678}"/>
                  </a:ext>
                </a:extLst>
              </p:cNvPr>
              <p:cNvGrpSpPr/>
              <p:nvPr/>
            </p:nvGrpSpPr>
            <p:grpSpPr>
              <a:xfrm>
                <a:off x="1981906" y="1763367"/>
                <a:ext cx="795436" cy="484590"/>
                <a:chOff x="6096280" y="2996330"/>
                <a:chExt cx="795436" cy="484590"/>
              </a:xfrm>
            </p:grpSpPr>
            <p:pic>
              <p:nvPicPr>
                <p:cNvPr id="185" name="Picture 2" descr="Airbus Logo PNG Transparent &amp; SVG Vector - Freebie Supply">
                  <a:extLst>
                    <a:ext uri="{FF2B5EF4-FFF2-40B4-BE49-F238E27FC236}">
                      <a16:creationId xmlns:a16="http://schemas.microsoft.com/office/drawing/2014/main" id="{81FE74A4-1783-E4A1-185C-7B6009C98831}"/>
                    </a:ext>
                  </a:extLst>
                </p:cNvPr>
                <p:cNvPicPr>
                  <a:picLocks noChangeAspect="1" noChangeArrowheads="1"/>
                </p:cNvPicPr>
                <p:nvPr/>
              </p:nvPicPr>
              <p:blipFill rotWithShape="1">
                <a:blip r:embed="rId14"/>
                <a:srcRect/>
                <a:stretch/>
              </p:blipFill>
              <p:spPr bwMode="auto">
                <a:xfrm>
                  <a:off x="6273389" y="3206157"/>
                  <a:ext cx="618327" cy="274763"/>
                </a:xfrm>
                <a:prstGeom prst="rect">
                  <a:avLst/>
                </a:prstGeom>
                <a:noFill/>
                <a:extLst>
                  <a:ext uri="{909E8E84-426E-40DD-AFC4-6F175D3DCCD1}">
                    <a14:hiddenFill xmlns:a14="http://schemas.microsoft.com/office/drawing/2010/main">
                      <a:solidFill>
                        <a:srgbClr val="FFFFFF"/>
                      </a:solidFill>
                    </a14:hiddenFill>
                  </a:ext>
                </a:extLst>
              </p:spPr>
            </p:pic>
            <p:sp>
              <p:nvSpPr>
                <p:cNvPr id="186" name="TextBox 185">
                  <a:extLst>
                    <a:ext uri="{FF2B5EF4-FFF2-40B4-BE49-F238E27FC236}">
                      <a16:creationId xmlns:a16="http://schemas.microsoft.com/office/drawing/2014/main" id="{772EF090-15EE-2D93-DBC2-22A17F903C27}"/>
                    </a:ext>
                  </a:extLst>
                </p:cNvPr>
                <p:cNvSpPr txBox="1"/>
                <p:nvPr/>
              </p:nvSpPr>
              <p:spPr>
                <a:xfrm>
                  <a:off x="6096280" y="2996330"/>
                  <a:ext cx="430186" cy="203661"/>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Honeywell Cond Web" panose="020B0506030202060103" pitchFamily="34" charset="0"/>
                      <a:ea typeface="+mn-ea"/>
                      <a:cs typeface="+mn-cs"/>
                    </a:rPr>
                    <a:t>“A / 100%”</a:t>
                  </a:r>
                </a:p>
              </p:txBody>
            </p:sp>
          </p:grpSp>
        </p:grpSp>
        <p:pic>
          <p:nvPicPr>
            <p:cNvPr id="180" name="Picture 2">
              <a:extLst>
                <a:ext uri="{FF2B5EF4-FFF2-40B4-BE49-F238E27FC236}">
                  <a16:creationId xmlns:a16="http://schemas.microsoft.com/office/drawing/2014/main" id="{2C06B277-06A8-9AF9-377A-5A13B67B4DE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22118" y="1060904"/>
              <a:ext cx="856844" cy="1908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949CA39D-A6B6-FD28-C0D1-63078DED70A7}"/>
              </a:ext>
            </a:extLst>
          </p:cNvPr>
          <p:cNvGrpSpPr/>
          <p:nvPr/>
        </p:nvGrpSpPr>
        <p:grpSpPr>
          <a:xfrm>
            <a:off x="2582214" y="4755724"/>
            <a:ext cx="5763988" cy="1189105"/>
            <a:chOff x="2883256" y="4827920"/>
            <a:chExt cx="5763988" cy="1189105"/>
          </a:xfrm>
        </p:grpSpPr>
        <p:sp>
          <p:nvSpPr>
            <p:cNvPr id="1029" name="TextBox 1028">
              <a:extLst>
                <a:ext uri="{FF2B5EF4-FFF2-40B4-BE49-F238E27FC236}">
                  <a16:creationId xmlns:a16="http://schemas.microsoft.com/office/drawing/2014/main" id="{28B43E47-CC7A-1B1C-82B2-5E1507A14DE9}"/>
                </a:ext>
              </a:extLst>
            </p:cNvPr>
            <p:cNvSpPr txBox="1"/>
            <p:nvPr/>
          </p:nvSpPr>
          <p:spPr>
            <a:xfrm>
              <a:off x="3506772" y="4827920"/>
              <a:ext cx="5140472" cy="1188720"/>
            </a:xfrm>
            <a:prstGeom prst="rect">
              <a:avLst/>
            </a:prstGeom>
            <a:solidFill>
              <a:schemeClr val="bg1">
                <a:lumMod val="95000"/>
              </a:schemeClr>
            </a:solidFill>
          </p:spPr>
          <p:txBody>
            <a:bodyPr wrap="square">
              <a:spAutoFit/>
            </a:bodyPr>
            <a:lstStyle/>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Hotspots: </a:t>
              </a:r>
              <a:r>
                <a:rPr kumimoji="0" lang="en-US" sz="1100" b="0" i="0" u="none" strike="noStrike" kern="1200" cap="none" spc="0" normalizeH="0" baseline="0" noProof="0" dirty="0">
                  <a:ln>
                    <a:noFill/>
                  </a:ln>
                  <a:solidFill>
                    <a:prstClr val="black"/>
                  </a:solidFill>
                  <a:effectLst/>
                  <a:uLnTx/>
                  <a:uFillTx/>
                  <a:latin typeface="Arial"/>
                  <a:ea typeface="+mn-ea"/>
                  <a:cs typeface="+mn-cs"/>
                </a:rPr>
                <a:t>Correlation of parts from text to illustrations</a:t>
              </a:r>
            </a:p>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Navigation: </a:t>
              </a:r>
              <a:r>
                <a:rPr kumimoji="0" lang="en-US" sz="1100" b="0" i="0" u="none" strike="noStrike" kern="1200" cap="none" spc="0" normalizeH="0" baseline="0" noProof="0" dirty="0">
                  <a:ln>
                    <a:noFill/>
                  </a:ln>
                  <a:solidFill>
                    <a:prstClr val="black"/>
                  </a:solidFill>
                  <a:effectLst/>
                  <a:uLnTx/>
                  <a:uFillTx/>
                  <a:latin typeface="Arial"/>
                  <a:ea typeface="+mn-ea"/>
                  <a:cs typeface="+mn-cs"/>
                </a:rPr>
                <a:t>Easy to switch between previously viewed pages</a:t>
              </a:r>
            </a:p>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Links to external documents: </a:t>
              </a:r>
              <a:r>
                <a:rPr kumimoji="0" lang="en-US" sz="1100" b="0" i="0" u="none" strike="noStrike" kern="1200" cap="none" spc="0" normalizeH="0" baseline="0" noProof="0" dirty="0">
                  <a:ln>
                    <a:noFill/>
                  </a:ln>
                  <a:solidFill>
                    <a:prstClr val="black"/>
                  </a:solidFill>
                  <a:effectLst/>
                  <a:uLnTx/>
                  <a:uFillTx/>
                  <a:latin typeface="Arial"/>
                  <a:ea typeface="+mn-ea"/>
                  <a:cs typeface="+mn-cs"/>
                </a:rPr>
                <a:t>Viewed within context of a single document</a:t>
              </a:r>
            </a:p>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Advanced search: </a:t>
              </a:r>
              <a:r>
                <a:rPr kumimoji="0" lang="en-US" sz="1100" b="0" i="0" u="none" strike="noStrike" kern="1200" cap="none" spc="0" normalizeH="0" baseline="0" noProof="0" dirty="0">
                  <a:ln>
                    <a:noFill/>
                  </a:ln>
                  <a:solidFill>
                    <a:prstClr val="black"/>
                  </a:solidFill>
                  <a:effectLst/>
                  <a:uLnTx/>
                  <a:uFillTx/>
                  <a:latin typeface="Arial"/>
                  <a:ea typeface="+mn-ea"/>
                  <a:cs typeface="+mn-cs"/>
                </a:rPr>
                <a:t>Find content anywhere &amp; easily identify version changes</a:t>
              </a:r>
            </a:p>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Technotes: </a:t>
              </a:r>
              <a:r>
                <a:rPr kumimoji="0" lang="en-US" sz="1100" b="0" i="0" u="none" strike="noStrike" kern="1200" cap="none" spc="0" normalizeH="0" baseline="0" noProof="0" dirty="0">
                  <a:ln>
                    <a:noFill/>
                  </a:ln>
                  <a:solidFill>
                    <a:prstClr val="black"/>
                  </a:solidFill>
                  <a:effectLst/>
                  <a:uLnTx/>
                  <a:uFillTx/>
                  <a:latin typeface="Arial"/>
                  <a:ea typeface="+mn-ea"/>
                  <a:cs typeface="+mn-cs"/>
                </a:rPr>
                <a:t>Annotations, discrepancy reporting and resolution</a:t>
              </a:r>
            </a:p>
            <a:p>
              <a:pPr marL="174625" marR="0" lvl="0" indent="-174625" algn="l" defTabSz="914400" rtl="0" eaLnBrk="1" fontAlgn="auto" latinLnBrk="0" hangingPunct="1">
                <a:lnSpc>
                  <a:spcPct val="100000"/>
                </a:lnSpc>
                <a:spcBef>
                  <a:spcPts val="100"/>
                </a:spcBef>
                <a:spcAft>
                  <a:spcPts val="0"/>
                </a:spcAft>
                <a:buClr>
                  <a:srgbClr val="FF0000"/>
                </a:buClr>
                <a:buSzTx/>
                <a:buFont typeface="Arial" panose="020B0604020202020204" pitchFamily="34" charset="0"/>
                <a:buChar char="•"/>
                <a:tabLst/>
                <a:defRPr/>
              </a:pPr>
              <a:r>
                <a:rPr kumimoji="0" lang="en-US" sz="1100" b="1" i="0" u="none" strike="noStrike" kern="1200" cap="none" spc="-10" normalizeH="0" baseline="0" noProof="0" dirty="0">
                  <a:ln>
                    <a:noFill/>
                  </a:ln>
                  <a:solidFill>
                    <a:prstClr val="black"/>
                  </a:solidFill>
                  <a:effectLst/>
                  <a:uLnTx/>
                  <a:uFillTx/>
                  <a:latin typeface="Arial"/>
                  <a:ea typeface="+mn-ea"/>
                  <a:cs typeface="Arial"/>
                </a:rPr>
                <a:t>3D models: </a:t>
              </a:r>
              <a:r>
                <a:rPr kumimoji="0" lang="en-US" sz="1100" b="0" i="0" u="none" strike="noStrike" kern="1200" cap="none" spc="0" normalizeH="0" baseline="0" noProof="0" dirty="0">
                  <a:ln>
                    <a:noFill/>
                  </a:ln>
                  <a:solidFill>
                    <a:prstClr val="black"/>
                  </a:solidFill>
                  <a:effectLst/>
                  <a:uLnTx/>
                  <a:uFillTx/>
                  <a:latin typeface="Arial"/>
                  <a:ea typeface="+mn-ea"/>
                  <a:cs typeface="+mn-cs"/>
                </a:rPr>
                <a:t>Improved visualization for repairs in complex parts</a:t>
              </a:r>
            </a:p>
          </p:txBody>
        </p:sp>
        <p:sp>
          <p:nvSpPr>
            <p:cNvPr id="9" name="Rectangle 8">
              <a:extLst>
                <a:ext uri="{FF2B5EF4-FFF2-40B4-BE49-F238E27FC236}">
                  <a16:creationId xmlns:a16="http://schemas.microsoft.com/office/drawing/2014/main" id="{A9F028E4-9077-8E3C-72A9-6951782BDEE5}"/>
                </a:ext>
              </a:extLst>
            </p:cNvPr>
            <p:cNvSpPr/>
            <p:nvPr/>
          </p:nvSpPr>
          <p:spPr>
            <a:xfrm>
              <a:off x="2883256" y="4828305"/>
              <a:ext cx="618864" cy="118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IETM Features</a:t>
              </a:r>
            </a:p>
          </p:txBody>
        </p:sp>
      </p:grpSp>
    </p:spTree>
    <p:extLst>
      <p:ext uri="{BB962C8B-B14F-4D97-AF65-F5344CB8AC3E}">
        <p14:creationId xmlns:p14="http://schemas.microsoft.com/office/powerpoint/2010/main" val="5863007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43052-B5A5-186C-9BDF-31A5C2B4657F}"/>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5FD577B3-7958-57D6-870D-60DAF0FA2139}"/>
              </a:ext>
            </a:extLst>
          </p:cNvPr>
          <p:cNvSpPr txBox="1"/>
          <p:nvPr/>
        </p:nvSpPr>
        <p:spPr>
          <a:xfrm>
            <a:off x="791593" y="592905"/>
            <a:ext cx="10608815" cy="1210588"/>
          </a:xfrm>
          <a:prstGeom prst="rect">
            <a:avLst/>
          </a:prstGeom>
          <a:noFill/>
          <a:ln>
            <a:solidFill>
              <a:schemeClr val="accent1"/>
            </a:solidFill>
          </a:ln>
        </p:spPr>
        <p:txBody>
          <a:bodyPr wrap="square" lIns="108000" rIns="10800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10" normalizeH="0" baseline="0" noProof="0" dirty="0">
                <a:ln>
                  <a:noFill/>
                </a:ln>
                <a:solidFill>
                  <a:prstClr val="black"/>
                </a:solidFill>
                <a:effectLst/>
                <a:uLnTx/>
                <a:uFillTx/>
                <a:latin typeface="Arial"/>
                <a:ea typeface="+mn-ea"/>
                <a:cs typeface="Arial"/>
              </a:rPr>
              <a:t>Problem Statement</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1" i="0" u="none" strike="noStrike" kern="1200" cap="none" spc="-10" normalizeH="0" baseline="0" noProof="0" dirty="0">
                <a:ln>
                  <a:noFill/>
                </a:ln>
                <a:solidFill>
                  <a:prstClr val="black"/>
                </a:solidFill>
                <a:effectLst/>
                <a:uLnTx/>
                <a:uFillTx/>
                <a:latin typeface="Arial"/>
                <a:ea typeface="+mn-ea"/>
                <a:cs typeface="Arial"/>
              </a:rPr>
              <a:t>AIN Survey</a:t>
            </a:r>
            <a:r>
              <a:rPr kumimoji="0" lang="en-US" sz="1200" b="0" i="0" u="none" strike="noStrike" kern="1200" cap="none" spc="-10" normalizeH="0" baseline="0" noProof="0" dirty="0">
                <a:ln>
                  <a:noFill/>
                </a:ln>
                <a:solidFill>
                  <a:prstClr val="black"/>
                </a:solidFill>
                <a:effectLst/>
                <a:uLnTx/>
                <a:uFillTx/>
                <a:latin typeface="Arial"/>
                <a:ea typeface="+mn-ea"/>
                <a:cs typeface="Arial"/>
              </a:rPr>
              <a:t>: </a:t>
            </a:r>
            <a:r>
              <a:rPr kumimoji="0" lang="en-US" sz="1200" b="1" i="0" u="none" strike="noStrike" kern="1200" cap="none" spc="-10" normalizeH="0" baseline="0" noProof="0" dirty="0">
                <a:ln>
                  <a:noFill/>
                </a:ln>
                <a:solidFill>
                  <a:prstClr val="black"/>
                </a:solidFill>
                <a:effectLst/>
                <a:uLnTx/>
                <a:uFillTx/>
                <a:latin typeface="Arial"/>
                <a:ea typeface="+mn-ea"/>
                <a:cs typeface="Arial"/>
              </a:rPr>
              <a:t>Honeywell</a:t>
            </a:r>
            <a:r>
              <a:rPr kumimoji="0" lang="en-US" sz="1200" b="0" i="0" u="none" strike="noStrike" kern="1200" cap="none" spc="-10" normalizeH="0" baseline="0" noProof="0" dirty="0">
                <a:ln>
                  <a:noFill/>
                </a:ln>
                <a:solidFill>
                  <a:prstClr val="black"/>
                </a:solidFill>
                <a:effectLst/>
                <a:uLnTx/>
                <a:uFillTx/>
                <a:latin typeface="Arial"/>
                <a:ea typeface="+mn-ea"/>
                <a:cs typeface="Arial"/>
              </a:rPr>
              <a:t> score </a:t>
            </a:r>
            <a:r>
              <a:rPr kumimoji="0" lang="en-US" sz="1200" b="1" i="0" u="none" strike="noStrike" kern="1200" cap="none" spc="-10" normalizeH="0" baseline="0" noProof="0" dirty="0">
                <a:ln>
                  <a:noFill/>
                </a:ln>
                <a:solidFill>
                  <a:prstClr val="black"/>
                </a:solidFill>
                <a:effectLst/>
                <a:uLnTx/>
                <a:uFillTx/>
                <a:latin typeface="Arial"/>
                <a:ea typeface="+mn-ea"/>
                <a:cs typeface="Arial"/>
              </a:rPr>
              <a:t>(8.3) is at 4</a:t>
            </a:r>
            <a:r>
              <a:rPr kumimoji="0" lang="en-US" sz="1200" b="1" i="0" u="none" strike="noStrike" kern="1200" cap="none" spc="-10" normalizeH="0" baseline="30000" noProof="0" dirty="0">
                <a:ln>
                  <a:noFill/>
                </a:ln>
                <a:solidFill>
                  <a:prstClr val="black"/>
                </a:solidFill>
                <a:effectLst/>
                <a:uLnTx/>
                <a:uFillTx/>
                <a:latin typeface="Arial"/>
                <a:ea typeface="+mn-ea"/>
                <a:cs typeface="Arial"/>
              </a:rPr>
              <a:t>th</a:t>
            </a:r>
            <a:r>
              <a:rPr kumimoji="0" lang="en-US" sz="1200" b="1" i="0" u="none" strike="noStrike" kern="1200" cap="none" spc="-10" normalizeH="0" baseline="0" noProof="0" dirty="0">
                <a:ln>
                  <a:noFill/>
                </a:ln>
                <a:solidFill>
                  <a:prstClr val="black"/>
                </a:solidFill>
                <a:effectLst/>
                <a:uLnTx/>
                <a:uFillTx/>
                <a:latin typeface="Arial"/>
                <a:ea typeface="+mn-ea"/>
                <a:cs typeface="Arial"/>
              </a:rPr>
              <a:t> place </a:t>
            </a:r>
            <a:r>
              <a:rPr kumimoji="0" lang="en-US" sz="1200" b="0" i="0" u="none" strike="noStrike" kern="1200" cap="none" spc="-10" normalizeH="0" baseline="0" noProof="0" dirty="0">
                <a:ln>
                  <a:noFill/>
                </a:ln>
                <a:solidFill>
                  <a:prstClr val="black"/>
                </a:solidFill>
                <a:effectLst/>
                <a:uLnTx/>
                <a:uFillTx/>
                <a:latin typeface="Arial"/>
                <a:ea typeface="+mn-ea"/>
                <a:cs typeface="Arial"/>
              </a:rPr>
              <a:t>compared to </a:t>
            </a:r>
            <a:r>
              <a:rPr kumimoji="0" lang="en-US" sz="1200" b="1" i="0" u="none" strike="noStrike" kern="1200" cap="none" spc="-10" normalizeH="0" baseline="0" noProof="0" dirty="0">
                <a:ln>
                  <a:noFill/>
                </a:ln>
                <a:solidFill>
                  <a:prstClr val="black"/>
                </a:solidFill>
                <a:effectLst/>
                <a:uLnTx/>
                <a:uFillTx/>
                <a:latin typeface="Arial"/>
                <a:ea typeface="+mn-ea"/>
                <a:cs typeface="Arial"/>
              </a:rPr>
              <a:t>GE (9.1)</a:t>
            </a:r>
            <a:r>
              <a:rPr kumimoji="0" lang="en-US" sz="1200" b="0" i="0" u="none" strike="noStrike" kern="1200" cap="none" spc="-10" normalizeH="0" baseline="0" noProof="0" dirty="0">
                <a:ln>
                  <a:noFill/>
                </a:ln>
                <a:solidFill>
                  <a:prstClr val="black"/>
                </a:solidFill>
                <a:effectLst/>
                <a:uLnTx/>
                <a:uFillTx/>
                <a:latin typeface="Arial"/>
                <a:ea typeface="+mn-ea"/>
                <a:cs typeface="Arial"/>
              </a:rPr>
              <a:t>, </a:t>
            </a:r>
            <a:r>
              <a:rPr kumimoji="0" lang="en-US" sz="1200" b="1" i="0" u="none" strike="noStrike" kern="1200" cap="none" spc="-10" normalizeH="0" baseline="0" noProof="0" dirty="0">
                <a:ln>
                  <a:noFill/>
                </a:ln>
                <a:solidFill>
                  <a:prstClr val="black"/>
                </a:solidFill>
                <a:effectLst/>
                <a:uLnTx/>
                <a:uFillTx/>
                <a:latin typeface="Arial"/>
                <a:ea typeface="+mn-ea"/>
                <a:cs typeface="Arial"/>
              </a:rPr>
              <a:t>RR (8.8)</a:t>
            </a:r>
            <a:r>
              <a:rPr kumimoji="0" lang="en-US" sz="1200" b="0" i="0" u="none" strike="noStrike" kern="1200" cap="none" spc="-10" normalizeH="0" baseline="0" noProof="0" dirty="0">
                <a:ln>
                  <a:noFill/>
                </a:ln>
                <a:solidFill>
                  <a:prstClr val="black"/>
                </a:solidFill>
                <a:effectLst/>
                <a:uLnTx/>
                <a:uFillTx/>
                <a:latin typeface="Arial"/>
                <a:ea typeface="+mn-ea"/>
                <a:cs typeface="Arial"/>
              </a:rPr>
              <a:t> and </a:t>
            </a:r>
            <a:r>
              <a:rPr kumimoji="0" lang="en-US" sz="1200" b="1" i="0" u="none" strike="noStrike" kern="1200" cap="none" spc="-10" normalizeH="0" baseline="0" noProof="0" dirty="0">
                <a:ln>
                  <a:noFill/>
                </a:ln>
                <a:solidFill>
                  <a:prstClr val="black"/>
                </a:solidFill>
                <a:effectLst/>
                <a:uLnTx/>
                <a:uFillTx/>
                <a:latin typeface="Arial"/>
                <a:ea typeface="+mn-ea"/>
                <a:cs typeface="Arial"/>
              </a:rPr>
              <a:t>P&amp;W (8.6)</a:t>
            </a:r>
            <a:endParaRPr kumimoji="0" lang="en-US" sz="1200" b="0" i="0" u="none" strike="noStrike" kern="1200" cap="none" spc="-10" normalizeH="0" baseline="0" noProof="0" dirty="0">
              <a:ln>
                <a:noFill/>
              </a:ln>
              <a:solidFill>
                <a:prstClr val="black"/>
              </a:solidFill>
              <a:effectLst/>
              <a:uLnTx/>
              <a:uFillTx/>
              <a:latin typeface="Arial"/>
              <a:ea typeface="+mn-ea"/>
              <a:cs typeface="Arial"/>
            </a:endParaRPr>
          </a:p>
          <a:p>
            <a:pPr marL="111125" lvl="0" indent="-104775">
              <a:spcBef>
                <a:spcPts val="200"/>
              </a:spcBef>
              <a:buClr>
                <a:srgbClr val="DC1F2D"/>
              </a:buClr>
              <a:buFontTx/>
              <a:buChar char="•"/>
              <a:defRPr/>
            </a:pPr>
            <a:r>
              <a:rPr kumimoji="0" lang="en-US" sz="1200" b="1" i="0" u="none" strike="noStrike" kern="1200" cap="none" spc="-10" normalizeH="0" baseline="0" noProof="0" dirty="0">
                <a:ln>
                  <a:noFill/>
                </a:ln>
                <a:solidFill>
                  <a:prstClr val="black"/>
                </a:solidFill>
                <a:effectLst/>
                <a:uLnTx/>
                <a:uFillTx/>
                <a:latin typeface="Arial"/>
                <a:ea typeface="+mn-ea"/>
                <a:cs typeface="Arial"/>
              </a:rPr>
              <a:t>TFE manuals not revised </a:t>
            </a:r>
            <a:r>
              <a:rPr kumimoji="0" lang="en-US" sz="1200" b="0" i="0" u="none" strike="noStrike" kern="1200" cap="none" spc="-10" normalizeH="0" baseline="0" noProof="0" dirty="0">
                <a:ln>
                  <a:noFill/>
                </a:ln>
                <a:solidFill>
                  <a:prstClr val="black"/>
                </a:solidFill>
                <a:effectLst/>
                <a:uLnTx/>
                <a:uFillTx/>
                <a:latin typeface="Arial"/>
                <a:ea typeface="+mn-ea"/>
                <a:cs typeface="Arial"/>
              </a:rPr>
              <a:t>for years (</a:t>
            </a:r>
            <a:r>
              <a:rPr kumimoji="0" lang="en-US" sz="1200" b="1" i="0" u="none" strike="noStrike" kern="1200" cap="none" spc="-10" normalizeH="0" baseline="0" noProof="0" dirty="0">
                <a:ln>
                  <a:noFill/>
                </a:ln>
                <a:solidFill>
                  <a:prstClr val="black"/>
                </a:solidFill>
                <a:effectLst/>
                <a:uLnTx/>
                <a:uFillTx/>
                <a:latin typeface="Arial"/>
                <a:ea typeface="+mn-ea"/>
                <a:cs typeface="Arial"/>
              </a:rPr>
              <a:t>Avg 15 years old</a:t>
            </a:r>
            <a:r>
              <a:rPr kumimoji="0" lang="en-US" sz="1200" b="0" i="0" u="none" strike="noStrike" kern="1200" cap="none" spc="-10" normalizeH="0" baseline="0" noProof="0" dirty="0">
                <a:ln>
                  <a:noFill/>
                </a:ln>
                <a:solidFill>
                  <a:prstClr val="black"/>
                </a:solidFill>
                <a:effectLst/>
                <a:uLnTx/>
                <a:uFillTx/>
                <a:latin typeface="Arial"/>
                <a:ea typeface="+mn-ea"/>
                <a:cs typeface="Arial"/>
              </a:rPr>
              <a:t>) and </a:t>
            </a:r>
            <a:r>
              <a:rPr lang="en-US" sz="1200" spc="-10" dirty="0">
                <a:solidFill>
                  <a:prstClr val="black"/>
                </a:solidFill>
                <a:cs typeface="Arial"/>
              </a:rPr>
              <a:t>in</a:t>
            </a:r>
            <a:r>
              <a:rPr kumimoji="0" lang="en-US" sz="1200" b="1" i="0" u="none" strike="noStrike" kern="1200" cap="none" spc="-10" normalizeH="0" baseline="0" noProof="0" dirty="0">
                <a:ln>
                  <a:noFill/>
                </a:ln>
                <a:solidFill>
                  <a:prstClr val="black"/>
                </a:solidFill>
                <a:effectLst/>
                <a:uLnTx/>
                <a:uFillTx/>
                <a:latin typeface="Arial"/>
                <a:ea typeface="+mn-ea"/>
                <a:cs typeface="Arial"/>
              </a:rPr>
              <a:t>GCC/CPAB </a:t>
            </a:r>
            <a:r>
              <a:rPr kumimoji="0" lang="en-US" sz="1200" b="0" i="0" u="none" strike="noStrike" kern="1200" cap="none" spc="-10" normalizeH="0" baseline="0" noProof="0" dirty="0">
                <a:ln>
                  <a:noFill/>
                </a:ln>
                <a:solidFill>
                  <a:prstClr val="black"/>
                </a:solidFill>
                <a:effectLst/>
                <a:uLnTx/>
                <a:uFillTx/>
                <a:latin typeface="Arial"/>
                <a:ea typeface="+mn-ea"/>
                <a:cs typeface="Arial"/>
              </a:rPr>
              <a:t>meet customers looking manuals with TRs &amp; SBs incorporated </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1" i="0" u="none" strike="noStrike" kern="1200" cap="none" spc="-10" normalizeH="0" baseline="0" noProof="0" dirty="0">
                <a:ln>
                  <a:noFill/>
                </a:ln>
                <a:solidFill>
                  <a:prstClr val="black"/>
                </a:solidFill>
                <a:effectLst/>
                <a:uLnTx/>
                <a:uFillTx/>
                <a:latin typeface="Arial"/>
                <a:ea typeface="+mn-ea"/>
                <a:cs typeface="Arial"/>
              </a:rPr>
              <a:t>247 TFE731 TRs outstanding </a:t>
            </a:r>
            <a:r>
              <a:rPr kumimoji="0" lang="en-US" sz="1200" b="0" i="0" u="none" strike="noStrike" kern="1200" cap="none" spc="-10" normalizeH="0" baseline="0" noProof="0" dirty="0">
                <a:ln>
                  <a:noFill/>
                </a:ln>
                <a:solidFill>
                  <a:prstClr val="black"/>
                </a:solidFill>
                <a:effectLst/>
                <a:uLnTx/>
                <a:uFillTx/>
                <a:latin typeface="Arial"/>
                <a:ea typeface="+mn-ea"/>
                <a:cs typeface="Arial"/>
              </a:rPr>
              <a:t>and end users unable to co-relate with the procedures (outcome of GCC meet &amp; surveys)</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Per industry specification (ATA 100 /  </a:t>
            </a:r>
            <a:r>
              <a:rPr kumimoji="0" lang="en-US" sz="1200" b="0" i="0" u="none" strike="noStrike" kern="1200" cap="none" spc="-10" normalizeH="0" baseline="0" noProof="0" dirty="0" err="1">
                <a:ln>
                  <a:noFill/>
                </a:ln>
                <a:solidFill>
                  <a:prstClr val="black"/>
                </a:solidFill>
                <a:effectLst/>
                <a:uLnTx/>
                <a:uFillTx/>
                <a:latin typeface="Arial"/>
                <a:ea typeface="+mn-ea"/>
                <a:cs typeface="Arial"/>
              </a:rPr>
              <a:t>iSpec</a:t>
            </a:r>
            <a:r>
              <a:rPr kumimoji="0" lang="en-US" sz="1200" b="0" i="0" u="none" strike="noStrike" kern="1200" cap="none" spc="-10" normalizeH="0" baseline="0" noProof="0" dirty="0">
                <a:ln>
                  <a:noFill/>
                </a:ln>
                <a:solidFill>
                  <a:prstClr val="black"/>
                </a:solidFill>
                <a:effectLst/>
                <a:uLnTx/>
                <a:uFillTx/>
                <a:latin typeface="Arial"/>
                <a:ea typeface="+mn-ea"/>
                <a:cs typeface="Arial"/>
              </a:rPr>
              <a:t> 2200/ S1000D) TRs are to be incorporated within 90 days &amp; SBs within 180 days to the respective manual</a:t>
            </a:r>
          </a:p>
        </p:txBody>
      </p:sp>
      <p:sp>
        <p:nvSpPr>
          <p:cNvPr id="3" name="TextBox 2">
            <a:extLst>
              <a:ext uri="{FF2B5EF4-FFF2-40B4-BE49-F238E27FC236}">
                <a16:creationId xmlns:a16="http://schemas.microsoft.com/office/drawing/2014/main" id="{FFD7E4B1-C789-6414-B024-9C491498B78F}"/>
              </a:ext>
            </a:extLst>
          </p:cNvPr>
          <p:cNvSpPr txBox="1"/>
          <p:nvPr/>
        </p:nvSpPr>
        <p:spPr>
          <a:xfrm>
            <a:off x="87740" y="2315147"/>
            <a:ext cx="3696372" cy="969496"/>
          </a:xfrm>
          <a:prstGeom prst="rect">
            <a:avLst/>
          </a:prstGeom>
          <a:noFill/>
        </p:spPr>
        <p:txBody>
          <a:bodyPr wrap="square" lIns="108000" rIns="10800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Arial"/>
                <a:ea typeface="+mn-ea"/>
                <a:cs typeface="Arial"/>
              </a:rPr>
              <a:t>ATA / S1000D Guidelines</a:t>
            </a:r>
          </a:p>
          <a:p>
            <a:pPr marL="0" marR="0" lvl="0" indent="0"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 TRs to be incorporated within 90 days in manual</a:t>
            </a:r>
          </a:p>
          <a:p>
            <a:pPr marL="0" marR="0" lvl="0" indent="0"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 SBs to be incorporated within 180 days in manual</a:t>
            </a:r>
          </a:p>
          <a:p>
            <a:pPr marL="0" marR="0" lvl="0" indent="0" algn="r"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 Enable quick revision in S1000D elements TRs</a:t>
            </a:r>
            <a:endParaRPr kumimoji="0" lang="en-US" sz="1050" b="0" i="0" u="none" strike="noStrike" kern="1200" cap="none" spc="0" normalizeH="0" baseline="0" noProof="0" dirty="0">
              <a:ln>
                <a:noFill/>
              </a:ln>
              <a:solidFill>
                <a:prstClr val="black"/>
              </a:solidFill>
              <a:effectLst/>
              <a:uLnTx/>
              <a:uFillTx/>
              <a:latin typeface="Arial"/>
              <a:ea typeface="+mn-ea"/>
              <a:cs typeface="Arial"/>
            </a:endParaRPr>
          </a:p>
        </p:txBody>
      </p:sp>
      <p:sp>
        <p:nvSpPr>
          <p:cNvPr id="5" name="TextBox 4">
            <a:extLst>
              <a:ext uri="{FF2B5EF4-FFF2-40B4-BE49-F238E27FC236}">
                <a16:creationId xmlns:a16="http://schemas.microsoft.com/office/drawing/2014/main" id="{2C1CAE8C-6803-3F86-41E3-D5A54C65AB6D}"/>
              </a:ext>
            </a:extLst>
          </p:cNvPr>
          <p:cNvSpPr txBox="1"/>
          <p:nvPr/>
        </p:nvSpPr>
        <p:spPr>
          <a:xfrm>
            <a:off x="8060924" y="2442920"/>
            <a:ext cx="3941423" cy="969496"/>
          </a:xfrm>
          <a:prstGeom prst="rect">
            <a:avLst/>
          </a:prstGeom>
          <a:noFill/>
        </p:spPr>
        <p:txBody>
          <a:bodyPr wrap="square" lIns="108000" rIns="10800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Arial"/>
                <a:ea typeface="+mn-ea"/>
                <a:cs typeface="Arial"/>
              </a:rPr>
              <a:t>Engineering Requirements (</a:t>
            </a:r>
            <a:r>
              <a:rPr kumimoji="0" lang="en-US" sz="1600" b="1" i="0" u="none" strike="noStrike" kern="1200" cap="none" spc="-10" normalizeH="0" baseline="0" noProof="0" dirty="0" err="1">
                <a:ln>
                  <a:noFill/>
                </a:ln>
                <a:solidFill>
                  <a:prstClr val="black"/>
                </a:solidFill>
                <a:effectLst/>
                <a:uLnTx/>
                <a:uFillTx/>
                <a:latin typeface="Arial"/>
                <a:ea typeface="+mn-ea"/>
                <a:cs typeface="Arial"/>
              </a:rPr>
              <a:t>Adhoc</a:t>
            </a:r>
            <a:r>
              <a:rPr kumimoji="0" lang="en-US" sz="1600" b="1" i="0" u="none" strike="noStrike" kern="1200" cap="none" spc="-10" normalizeH="0" baseline="0" noProof="0" dirty="0">
                <a:ln>
                  <a:noFill/>
                </a:ln>
                <a:solidFill>
                  <a:prstClr val="black"/>
                </a:solidFill>
                <a:effectLst/>
                <a:uLnTx/>
                <a:uFillTx/>
                <a:latin typeface="Arial"/>
                <a:ea typeface="+mn-ea"/>
                <a:cs typeface="Arial"/>
              </a:rPr>
              <a:t>)</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Incorporate SBs / TRs for issues reported in field</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Software updates for Engine Electronic Control (EEC)</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Incorporate after market requirements</a:t>
            </a:r>
          </a:p>
        </p:txBody>
      </p:sp>
      <p:sp>
        <p:nvSpPr>
          <p:cNvPr id="6" name="TextBox 5">
            <a:extLst>
              <a:ext uri="{FF2B5EF4-FFF2-40B4-BE49-F238E27FC236}">
                <a16:creationId xmlns:a16="http://schemas.microsoft.com/office/drawing/2014/main" id="{AB89E3E3-37AC-7158-E5C2-DF7FCE8C7407}"/>
              </a:ext>
            </a:extLst>
          </p:cNvPr>
          <p:cNvSpPr txBox="1"/>
          <p:nvPr/>
        </p:nvSpPr>
        <p:spPr>
          <a:xfrm>
            <a:off x="8060924" y="4428538"/>
            <a:ext cx="3941423" cy="969496"/>
          </a:xfrm>
          <a:prstGeom prst="rect">
            <a:avLst/>
          </a:prstGeom>
          <a:noFill/>
        </p:spPr>
        <p:txBody>
          <a:bodyPr wrap="square" lIns="108000" rIns="10800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Arial"/>
                <a:ea typeface="+mn-ea"/>
                <a:cs typeface="Arial"/>
              </a:rPr>
              <a:t>GCC / CPAB inputs</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Manuals not revised and latest updates not available</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Many TRs and unable to co-relate the TR content</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SBs outstanding and latest PNs not in manuals</a:t>
            </a:r>
          </a:p>
        </p:txBody>
      </p:sp>
      <p:sp>
        <p:nvSpPr>
          <p:cNvPr id="8" name="TextBox 7">
            <a:extLst>
              <a:ext uri="{FF2B5EF4-FFF2-40B4-BE49-F238E27FC236}">
                <a16:creationId xmlns:a16="http://schemas.microsoft.com/office/drawing/2014/main" id="{342D396C-CB63-37FB-8CF3-7B21FB6CACD2}"/>
              </a:ext>
            </a:extLst>
          </p:cNvPr>
          <p:cNvSpPr txBox="1"/>
          <p:nvPr/>
        </p:nvSpPr>
        <p:spPr>
          <a:xfrm>
            <a:off x="3605048" y="3323388"/>
            <a:ext cx="4813738" cy="1179810"/>
          </a:xfrm>
          <a:prstGeom prst="rect">
            <a:avLst/>
          </a:prstGeom>
          <a:solidFill>
            <a:schemeClr val="bg1">
              <a:lumMod val="95000"/>
            </a:schemeClr>
          </a:solidFill>
        </p:spPr>
        <p:txBody>
          <a:bodyPr wrap="square" lIns="108000" rIns="10800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Arial"/>
                <a:ea typeface="+mn-ea"/>
                <a:cs typeface="Arial"/>
              </a:rPr>
              <a:t>Tech Pubs Strategy and go-forward plan</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Migrate to S1000D to meet Industry standard</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Timely incorporation of DR, TR &amp; SB and provide updated manuals</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Periodic revision of manuals based on requirements</a:t>
            </a:r>
          </a:p>
          <a:p>
            <a:pPr marL="111125" marR="0" lvl="0" indent="-104775" algn="l" defTabSz="914400" rtl="0" eaLnBrk="1" fontAlgn="auto" latinLnBrk="0" hangingPunct="1">
              <a:lnSpc>
                <a:spcPct val="100000"/>
              </a:lnSpc>
              <a:spcBef>
                <a:spcPts val="200"/>
              </a:spcBef>
              <a:spcAft>
                <a:spcPts val="0"/>
              </a:spcAft>
              <a:buClr>
                <a:srgbClr val="DC1F2D"/>
              </a:buClr>
              <a:buSzTx/>
              <a:buFontTx/>
              <a:buChar char="•"/>
              <a:tabLst/>
              <a:defRPr/>
            </a:pPr>
            <a:r>
              <a:rPr kumimoji="0" lang="en-US" sz="1200" b="0" i="0" u="none" strike="noStrike" kern="1200" cap="none" spc="-10" normalizeH="0" baseline="0" noProof="0" dirty="0">
                <a:ln>
                  <a:noFill/>
                </a:ln>
                <a:solidFill>
                  <a:prstClr val="black"/>
                </a:solidFill>
                <a:effectLst/>
                <a:uLnTx/>
                <a:uFillTx/>
                <a:latin typeface="Arial"/>
                <a:ea typeface="+mn-ea"/>
                <a:cs typeface="Arial"/>
              </a:rPr>
              <a:t>Deployment of Interactive Electronic Technical Manual (IETM)</a:t>
            </a:r>
          </a:p>
        </p:txBody>
      </p:sp>
      <p:grpSp>
        <p:nvGrpSpPr>
          <p:cNvPr id="70" name="Group 69">
            <a:extLst>
              <a:ext uri="{FF2B5EF4-FFF2-40B4-BE49-F238E27FC236}">
                <a16:creationId xmlns:a16="http://schemas.microsoft.com/office/drawing/2014/main" id="{162B7282-08E6-AC17-A121-C7E5618D43D3}"/>
              </a:ext>
            </a:extLst>
          </p:cNvPr>
          <p:cNvGrpSpPr/>
          <p:nvPr/>
        </p:nvGrpSpPr>
        <p:grpSpPr>
          <a:xfrm rot="21199460">
            <a:off x="7295544" y="4615309"/>
            <a:ext cx="748946" cy="521622"/>
            <a:chOff x="7872602" y="5113765"/>
            <a:chExt cx="748946" cy="521622"/>
          </a:xfrm>
        </p:grpSpPr>
        <p:cxnSp>
          <p:nvCxnSpPr>
            <p:cNvPr id="44" name="Straight Connector 95">
              <a:extLst>
                <a:ext uri="{FF2B5EF4-FFF2-40B4-BE49-F238E27FC236}">
                  <a16:creationId xmlns:a16="http://schemas.microsoft.com/office/drawing/2014/main" id="{84E4E587-DFB7-B81C-7D34-2F7C9DF36EA1}"/>
                </a:ext>
              </a:extLst>
            </p:cNvPr>
            <p:cNvCxnSpPr>
              <a:cxnSpLocks/>
            </p:cNvCxnSpPr>
            <p:nvPr/>
          </p:nvCxnSpPr>
          <p:spPr>
            <a:xfrm rot="12656319">
              <a:off x="7872602" y="5272380"/>
              <a:ext cx="641714" cy="0"/>
            </a:xfrm>
            <a:prstGeom prst="line">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60" name="Group 59">
              <a:extLst>
                <a:ext uri="{FF2B5EF4-FFF2-40B4-BE49-F238E27FC236}">
                  <a16:creationId xmlns:a16="http://schemas.microsoft.com/office/drawing/2014/main" id="{E57DA11C-5B65-4AE3-CB0F-94627940F3F6}"/>
                </a:ext>
              </a:extLst>
            </p:cNvPr>
            <p:cNvGrpSpPr/>
            <p:nvPr/>
          </p:nvGrpSpPr>
          <p:grpSpPr>
            <a:xfrm>
              <a:off x="8099065" y="5113765"/>
              <a:ext cx="522483" cy="521622"/>
              <a:chOff x="7844682" y="4847161"/>
              <a:chExt cx="572918" cy="572917"/>
            </a:xfrm>
          </p:grpSpPr>
          <p:sp>
            <p:nvSpPr>
              <p:cNvPr id="61" name="Oval 75">
                <a:extLst>
                  <a:ext uri="{FF2B5EF4-FFF2-40B4-BE49-F238E27FC236}">
                    <a16:creationId xmlns:a16="http://schemas.microsoft.com/office/drawing/2014/main" id="{288C83E7-B6AA-0659-1501-3194406FA729}"/>
                  </a:ext>
                </a:extLst>
              </p:cNvPr>
              <p:cNvSpPr/>
              <p:nvPr/>
            </p:nvSpPr>
            <p:spPr>
              <a:xfrm rot="2700000">
                <a:off x="7844682" y="4847161"/>
                <a:ext cx="572917" cy="572918"/>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0" cap="none" spc="0" normalizeH="0" baseline="0" noProof="0">
                  <a:ln>
                    <a:noFill/>
                  </a:ln>
                  <a:solidFill>
                    <a:prstClr val="white"/>
                  </a:solidFill>
                  <a:effectLst/>
                  <a:uLnTx/>
                  <a:uFillTx/>
                  <a:latin typeface="Arial"/>
                  <a:ea typeface="+mn-ea"/>
                  <a:cs typeface="+mn-cs"/>
                </a:endParaRPr>
              </a:p>
            </p:txBody>
          </p:sp>
          <p:pic>
            <p:nvPicPr>
              <p:cNvPr id="62" name="Graphic 61" descr="Gauge">
                <a:extLst>
                  <a:ext uri="{FF2B5EF4-FFF2-40B4-BE49-F238E27FC236}">
                    <a16:creationId xmlns:a16="http://schemas.microsoft.com/office/drawing/2014/main" id="{A151D7DE-DA7D-3093-98D7-FFC061A1A87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25344" y="4876503"/>
                <a:ext cx="411592" cy="411592"/>
              </a:xfrm>
              <a:prstGeom prst="rect">
                <a:avLst/>
              </a:prstGeom>
            </p:spPr>
          </p:pic>
        </p:grpSp>
      </p:grpSp>
      <p:grpSp>
        <p:nvGrpSpPr>
          <p:cNvPr id="71" name="Group 70">
            <a:extLst>
              <a:ext uri="{FF2B5EF4-FFF2-40B4-BE49-F238E27FC236}">
                <a16:creationId xmlns:a16="http://schemas.microsoft.com/office/drawing/2014/main" id="{843E49BF-E29B-4605-E131-A31F09414657}"/>
              </a:ext>
            </a:extLst>
          </p:cNvPr>
          <p:cNvGrpSpPr/>
          <p:nvPr/>
        </p:nvGrpSpPr>
        <p:grpSpPr>
          <a:xfrm>
            <a:off x="7314041" y="2589735"/>
            <a:ext cx="758230" cy="572918"/>
            <a:chOff x="7912626" y="3151134"/>
            <a:chExt cx="758230" cy="572918"/>
          </a:xfrm>
        </p:grpSpPr>
        <p:cxnSp>
          <p:nvCxnSpPr>
            <p:cNvPr id="38" name="Straight Connector 95">
              <a:extLst>
                <a:ext uri="{FF2B5EF4-FFF2-40B4-BE49-F238E27FC236}">
                  <a16:creationId xmlns:a16="http://schemas.microsoft.com/office/drawing/2014/main" id="{5E73F0FF-6FE7-205F-1574-6AED06B97719}"/>
                </a:ext>
              </a:extLst>
            </p:cNvPr>
            <p:cNvCxnSpPr>
              <a:cxnSpLocks/>
            </p:cNvCxnSpPr>
            <p:nvPr/>
          </p:nvCxnSpPr>
          <p:spPr>
            <a:xfrm rot="8101039">
              <a:off x="7912626" y="3630485"/>
              <a:ext cx="641714" cy="0"/>
            </a:xfrm>
            <a:prstGeom prst="line">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4" name="Oval 75">
              <a:extLst>
                <a:ext uri="{FF2B5EF4-FFF2-40B4-BE49-F238E27FC236}">
                  <a16:creationId xmlns:a16="http://schemas.microsoft.com/office/drawing/2014/main" id="{E74F32F7-85DF-4971-9C83-63416BFFEC75}"/>
                </a:ext>
              </a:extLst>
            </p:cNvPr>
            <p:cNvSpPr/>
            <p:nvPr/>
          </p:nvSpPr>
          <p:spPr>
            <a:xfrm rot="18900000" flipH="1">
              <a:off x="8097939" y="3151134"/>
              <a:ext cx="572917" cy="57291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a:ln>
                  <a:noFill/>
                </a:ln>
                <a:solidFill>
                  <a:prstClr val="white"/>
                </a:solidFill>
                <a:effectLst/>
                <a:uLnTx/>
                <a:uFillTx/>
                <a:latin typeface="Arial"/>
                <a:ea typeface="+mn-ea"/>
                <a:cs typeface="+mn-cs"/>
              </a:endParaRPr>
            </a:p>
          </p:txBody>
        </p:sp>
        <p:grpSp>
          <p:nvGrpSpPr>
            <p:cNvPr id="65" name="Group 64">
              <a:extLst>
                <a:ext uri="{FF2B5EF4-FFF2-40B4-BE49-F238E27FC236}">
                  <a16:creationId xmlns:a16="http://schemas.microsoft.com/office/drawing/2014/main" id="{F99AF303-F24F-1B18-BE89-D156EE2B806F}"/>
                </a:ext>
              </a:extLst>
            </p:cNvPr>
            <p:cNvGrpSpPr/>
            <p:nvPr/>
          </p:nvGrpSpPr>
          <p:grpSpPr>
            <a:xfrm>
              <a:off x="8229778" y="3271163"/>
              <a:ext cx="327259" cy="312440"/>
              <a:chOff x="10239375" y="4013201"/>
              <a:chExt cx="420688" cy="401638"/>
            </a:xfrm>
            <a:solidFill>
              <a:schemeClr val="bg1"/>
            </a:solidFill>
          </p:grpSpPr>
          <p:sp>
            <p:nvSpPr>
              <p:cNvPr id="66" name="Freeform 6">
                <a:extLst>
                  <a:ext uri="{FF2B5EF4-FFF2-40B4-BE49-F238E27FC236}">
                    <a16:creationId xmlns:a16="http://schemas.microsoft.com/office/drawing/2014/main" id="{AA3B4B4A-354B-223F-AA8D-46DEAED11D4E}"/>
                  </a:ext>
                </a:extLst>
              </p:cNvPr>
              <p:cNvSpPr>
                <a:spLocks/>
              </p:cNvSpPr>
              <p:nvPr/>
            </p:nvSpPr>
            <p:spPr bwMode="auto">
              <a:xfrm>
                <a:off x="10271125" y="4270376"/>
                <a:ext cx="141288" cy="141288"/>
              </a:xfrm>
              <a:custGeom>
                <a:avLst/>
                <a:gdLst>
                  <a:gd name="T0" fmla="*/ 43 w 52"/>
                  <a:gd name="T1" fmla="*/ 0 h 52"/>
                  <a:gd name="T2" fmla="*/ 21 w 52"/>
                  <a:gd name="T3" fmla="*/ 21 h 52"/>
                  <a:gd name="T4" fmla="*/ 17 w 52"/>
                  <a:gd name="T5" fmla="*/ 17 h 52"/>
                  <a:gd name="T6" fmla="*/ 0 w 52"/>
                  <a:gd name="T7" fmla="*/ 46 h 52"/>
                  <a:gd name="T8" fmla="*/ 7 w 52"/>
                  <a:gd name="T9" fmla="*/ 52 h 52"/>
                  <a:gd name="T10" fmla="*/ 35 w 52"/>
                  <a:gd name="T11" fmla="*/ 35 h 52"/>
                  <a:gd name="T12" fmla="*/ 31 w 52"/>
                  <a:gd name="T13" fmla="*/ 31 h 52"/>
                  <a:gd name="T14" fmla="*/ 52 w 52"/>
                  <a:gd name="T15" fmla="*/ 10 h 52"/>
                  <a:gd name="T16" fmla="*/ 47 w 52"/>
                  <a:gd name="T17" fmla="*/ 5 h 52"/>
                  <a:gd name="T18" fmla="*/ 43 w 52"/>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43" y="0"/>
                    </a:moveTo>
                    <a:cubicBezTo>
                      <a:pt x="21" y="21"/>
                      <a:pt x="21" y="21"/>
                      <a:pt x="21" y="21"/>
                    </a:cubicBezTo>
                    <a:cubicBezTo>
                      <a:pt x="17" y="17"/>
                      <a:pt x="17" y="17"/>
                      <a:pt x="17" y="17"/>
                    </a:cubicBezTo>
                    <a:cubicBezTo>
                      <a:pt x="0" y="46"/>
                      <a:pt x="0" y="46"/>
                      <a:pt x="0" y="46"/>
                    </a:cubicBezTo>
                    <a:cubicBezTo>
                      <a:pt x="7" y="52"/>
                      <a:pt x="7" y="52"/>
                      <a:pt x="7" y="52"/>
                    </a:cubicBezTo>
                    <a:cubicBezTo>
                      <a:pt x="35" y="35"/>
                      <a:pt x="35" y="35"/>
                      <a:pt x="35" y="35"/>
                    </a:cubicBezTo>
                    <a:cubicBezTo>
                      <a:pt x="31" y="31"/>
                      <a:pt x="31" y="31"/>
                      <a:pt x="31" y="31"/>
                    </a:cubicBezTo>
                    <a:cubicBezTo>
                      <a:pt x="52" y="10"/>
                      <a:pt x="52" y="10"/>
                      <a:pt x="52" y="10"/>
                    </a:cubicBezTo>
                    <a:cubicBezTo>
                      <a:pt x="51" y="8"/>
                      <a:pt x="49" y="6"/>
                      <a:pt x="47" y="5"/>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7">
                <a:extLst>
                  <a:ext uri="{FF2B5EF4-FFF2-40B4-BE49-F238E27FC236}">
                    <a16:creationId xmlns:a16="http://schemas.microsoft.com/office/drawing/2014/main" id="{44544C27-AD96-4638-E485-D98F91CAB991}"/>
                  </a:ext>
                </a:extLst>
              </p:cNvPr>
              <p:cNvSpPr>
                <a:spLocks/>
              </p:cNvSpPr>
              <p:nvPr/>
            </p:nvSpPr>
            <p:spPr bwMode="auto">
              <a:xfrm>
                <a:off x="10460038" y="4037013"/>
                <a:ext cx="200025" cy="187325"/>
              </a:xfrm>
              <a:custGeom>
                <a:avLst/>
                <a:gdLst>
                  <a:gd name="T0" fmla="*/ 39 w 74"/>
                  <a:gd name="T1" fmla="*/ 14 h 69"/>
                  <a:gd name="T2" fmla="*/ 49 w 74"/>
                  <a:gd name="T3" fmla="*/ 21 h 69"/>
                  <a:gd name="T4" fmla="*/ 56 w 74"/>
                  <a:gd name="T5" fmla="*/ 31 h 69"/>
                  <a:gd name="T6" fmla="*/ 27 w 74"/>
                  <a:gd name="T7" fmla="*/ 60 h 69"/>
                  <a:gd name="T8" fmla="*/ 37 w 74"/>
                  <a:gd name="T9" fmla="*/ 69 h 69"/>
                  <a:gd name="T10" fmla="*/ 67 w 74"/>
                  <a:gd name="T11" fmla="*/ 39 h 69"/>
                  <a:gd name="T12" fmla="*/ 59 w 74"/>
                  <a:gd name="T13" fmla="*/ 11 h 69"/>
                  <a:gd name="T14" fmla="*/ 38 w 74"/>
                  <a:gd name="T15" fmla="*/ 0 h 69"/>
                  <a:gd name="T16" fmla="*/ 30 w 74"/>
                  <a:gd name="T17" fmla="*/ 3 h 69"/>
                  <a:gd name="T18" fmla="*/ 0 w 74"/>
                  <a:gd name="T19" fmla="*/ 33 h 69"/>
                  <a:gd name="T20" fmla="*/ 10 w 74"/>
                  <a:gd name="T21" fmla="*/ 43 h 69"/>
                  <a:gd name="T22" fmla="*/ 39 w 74"/>
                  <a:gd name="T23"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9">
                    <a:moveTo>
                      <a:pt x="39" y="14"/>
                    </a:moveTo>
                    <a:cubicBezTo>
                      <a:pt x="41" y="14"/>
                      <a:pt x="45" y="17"/>
                      <a:pt x="49" y="21"/>
                    </a:cubicBezTo>
                    <a:cubicBezTo>
                      <a:pt x="53" y="24"/>
                      <a:pt x="55" y="29"/>
                      <a:pt x="56" y="31"/>
                    </a:cubicBezTo>
                    <a:cubicBezTo>
                      <a:pt x="27" y="60"/>
                      <a:pt x="27" y="60"/>
                      <a:pt x="27" y="60"/>
                    </a:cubicBezTo>
                    <a:cubicBezTo>
                      <a:pt x="30" y="63"/>
                      <a:pt x="34" y="66"/>
                      <a:pt x="37" y="69"/>
                    </a:cubicBezTo>
                    <a:cubicBezTo>
                      <a:pt x="67" y="39"/>
                      <a:pt x="67" y="39"/>
                      <a:pt x="67" y="39"/>
                    </a:cubicBezTo>
                    <a:cubicBezTo>
                      <a:pt x="74" y="32"/>
                      <a:pt x="68" y="20"/>
                      <a:pt x="59" y="11"/>
                    </a:cubicBezTo>
                    <a:cubicBezTo>
                      <a:pt x="54" y="6"/>
                      <a:pt x="45" y="0"/>
                      <a:pt x="38" y="0"/>
                    </a:cubicBezTo>
                    <a:cubicBezTo>
                      <a:pt x="34" y="0"/>
                      <a:pt x="31" y="1"/>
                      <a:pt x="30" y="3"/>
                    </a:cubicBezTo>
                    <a:cubicBezTo>
                      <a:pt x="0" y="33"/>
                      <a:pt x="0" y="33"/>
                      <a:pt x="0" y="33"/>
                    </a:cubicBezTo>
                    <a:cubicBezTo>
                      <a:pt x="10" y="43"/>
                      <a:pt x="10" y="43"/>
                      <a:pt x="10" y="43"/>
                    </a:cubicBezTo>
                    <a:lnTo>
                      <a:pt x="3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8">
                <a:extLst>
                  <a:ext uri="{FF2B5EF4-FFF2-40B4-BE49-F238E27FC236}">
                    <a16:creationId xmlns:a16="http://schemas.microsoft.com/office/drawing/2014/main" id="{06FA8635-BB72-9B62-5720-4C1FDC8D120B}"/>
                  </a:ext>
                </a:extLst>
              </p:cNvPr>
              <p:cNvSpPr>
                <a:spLocks noEditPoints="1"/>
              </p:cNvSpPr>
              <p:nvPr/>
            </p:nvSpPr>
            <p:spPr bwMode="auto">
              <a:xfrm>
                <a:off x="10239375" y="4013201"/>
                <a:ext cx="401638" cy="401638"/>
              </a:xfrm>
              <a:custGeom>
                <a:avLst/>
                <a:gdLst>
                  <a:gd name="T0" fmla="*/ 103 w 148"/>
                  <a:gd name="T1" fmla="*/ 74 h 148"/>
                  <a:gd name="T2" fmla="*/ 76 w 148"/>
                  <a:gd name="T3" fmla="*/ 47 h 148"/>
                  <a:gd name="T4" fmla="*/ 74 w 148"/>
                  <a:gd name="T5" fmla="*/ 36 h 148"/>
                  <a:gd name="T6" fmla="*/ 39 w 148"/>
                  <a:gd name="T7" fmla="*/ 1 h 148"/>
                  <a:gd name="T8" fmla="*/ 28 w 148"/>
                  <a:gd name="T9" fmla="*/ 4 h 148"/>
                  <a:gd name="T10" fmla="*/ 26 w 148"/>
                  <a:gd name="T11" fmla="*/ 4 h 148"/>
                  <a:gd name="T12" fmla="*/ 21 w 148"/>
                  <a:gd name="T13" fmla="*/ 7 h 148"/>
                  <a:gd name="T14" fmla="*/ 27 w 148"/>
                  <a:gd name="T15" fmla="*/ 13 h 148"/>
                  <a:gd name="T16" fmla="*/ 39 w 148"/>
                  <a:gd name="T17" fmla="*/ 25 h 148"/>
                  <a:gd name="T18" fmla="*/ 29 w 148"/>
                  <a:gd name="T19" fmla="*/ 40 h 148"/>
                  <a:gd name="T20" fmla="*/ 12 w 148"/>
                  <a:gd name="T21" fmla="*/ 28 h 148"/>
                  <a:gd name="T22" fmla="*/ 12 w 148"/>
                  <a:gd name="T23" fmla="*/ 28 h 148"/>
                  <a:gd name="T24" fmla="*/ 3 w 148"/>
                  <a:gd name="T25" fmla="*/ 27 h 148"/>
                  <a:gd name="T26" fmla="*/ 3 w 148"/>
                  <a:gd name="T27" fmla="*/ 28 h 148"/>
                  <a:gd name="T28" fmla="*/ 3 w 148"/>
                  <a:gd name="T29" fmla="*/ 28 h 148"/>
                  <a:gd name="T30" fmla="*/ 11 w 148"/>
                  <a:gd name="T31" fmla="*/ 66 h 148"/>
                  <a:gd name="T32" fmla="*/ 43 w 148"/>
                  <a:gd name="T33" fmla="*/ 74 h 148"/>
                  <a:gd name="T34" fmla="*/ 60 w 148"/>
                  <a:gd name="T35" fmla="*/ 90 h 148"/>
                  <a:gd name="T36" fmla="*/ 83 w 148"/>
                  <a:gd name="T37" fmla="*/ 113 h 148"/>
                  <a:gd name="T38" fmla="*/ 123 w 148"/>
                  <a:gd name="T39" fmla="*/ 148 h 148"/>
                  <a:gd name="T40" fmla="*/ 148 w 148"/>
                  <a:gd name="T41" fmla="*/ 124 h 148"/>
                  <a:gd name="T42" fmla="*/ 113 w 148"/>
                  <a:gd name="T43" fmla="*/ 83 h 148"/>
                  <a:gd name="T44" fmla="*/ 56 w 148"/>
                  <a:gd name="T45" fmla="*/ 67 h 148"/>
                  <a:gd name="T46" fmla="*/ 43 w 148"/>
                  <a:gd name="T47" fmla="*/ 60 h 148"/>
                  <a:gd name="T48" fmla="*/ 20 w 148"/>
                  <a:gd name="T49" fmla="*/ 57 h 148"/>
                  <a:gd name="T50" fmla="*/ 13 w 148"/>
                  <a:gd name="T51" fmla="*/ 39 h 148"/>
                  <a:gd name="T52" fmla="*/ 26 w 148"/>
                  <a:gd name="T53" fmla="*/ 48 h 148"/>
                  <a:gd name="T54" fmla="*/ 44 w 148"/>
                  <a:gd name="T55" fmla="*/ 34 h 148"/>
                  <a:gd name="T56" fmla="*/ 38 w 148"/>
                  <a:gd name="T57" fmla="*/ 14 h 148"/>
                  <a:gd name="T58" fmla="*/ 56 w 148"/>
                  <a:gd name="T59" fmla="*/ 21 h 148"/>
                  <a:gd name="T60" fmla="*/ 59 w 148"/>
                  <a:gd name="T61" fmla="*/ 43 h 148"/>
                  <a:gd name="T62" fmla="*/ 61 w 148"/>
                  <a:gd name="T63" fmla="*/ 51 h 148"/>
                  <a:gd name="T64" fmla="*/ 80 w 148"/>
                  <a:gd name="T65" fmla="*/ 69 h 148"/>
                  <a:gd name="T66" fmla="*/ 100 w 148"/>
                  <a:gd name="T67" fmla="*/ 90 h 148"/>
                  <a:gd name="T68" fmla="*/ 130 w 148"/>
                  <a:gd name="T69" fmla="*/ 131 h 148"/>
                  <a:gd name="T70" fmla="*/ 106 w 148"/>
                  <a:gd name="T71" fmla="*/ 117 h 148"/>
                  <a:gd name="T72" fmla="*/ 81 w 148"/>
                  <a:gd name="T73" fmla="*/ 93 h 148"/>
                  <a:gd name="T74" fmla="*/ 29 w 148"/>
                  <a:gd name="T75" fmla="*/ 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8">
                    <a:moveTo>
                      <a:pt x="113" y="83"/>
                    </a:moveTo>
                    <a:cubicBezTo>
                      <a:pt x="110" y="80"/>
                      <a:pt x="106" y="77"/>
                      <a:pt x="103" y="74"/>
                    </a:cubicBezTo>
                    <a:cubicBezTo>
                      <a:pt x="97" y="68"/>
                      <a:pt x="91" y="62"/>
                      <a:pt x="86" y="57"/>
                    </a:cubicBezTo>
                    <a:cubicBezTo>
                      <a:pt x="82" y="53"/>
                      <a:pt x="79" y="50"/>
                      <a:pt x="76" y="47"/>
                    </a:cubicBezTo>
                    <a:cubicBezTo>
                      <a:pt x="75" y="46"/>
                      <a:pt x="74" y="45"/>
                      <a:pt x="73" y="44"/>
                    </a:cubicBezTo>
                    <a:cubicBezTo>
                      <a:pt x="74" y="42"/>
                      <a:pt x="74" y="39"/>
                      <a:pt x="74" y="36"/>
                    </a:cubicBezTo>
                    <a:cubicBezTo>
                      <a:pt x="75" y="27"/>
                      <a:pt x="72" y="18"/>
                      <a:pt x="65" y="11"/>
                    </a:cubicBezTo>
                    <a:cubicBezTo>
                      <a:pt x="59" y="4"/>
                      <a:pt x="49" y="0"/>
                      <a:pt x="39" y="1"/>
                    </a:cubicBezTo>
                    <a:cubicBezTo>
                      <a:pt x="34" y="1"/>
                      <a:pt x="30" y="2"/>
                      <a:pt x="28" y="4"/>
                    </a:cubicBezTo>
                    <a:cubicBezTo>
                      <a:pt x="28" y="4"/>
                      <a:pt x="28" y="4"/>
                      <a:pt x="28" y="4"/>
                    </a:cubicBezTo>
                    <a:cubicBezTo>
                      <a:pt x="28" y="4"/>
                      <a:pt x="28" y="4"/>
                      <a:pt x="28" y="4"/>
                    </a:cubicBezTo>
                    <a:cubicBezTo>
                      <a:pt x="27" y="4"/>
                      <a:pt x="26" y="4"/>
                      <a:pt x="26" y="4"/>
                    </a:cubicBezTo>
                    <a:cubicBezTo>
                      <a:pt x="26" y="4"/>
                      <a:pt x="26" y="4"/>
                      <a:pt x="26" y="4"/>
                    </a:cubicBezTo>
                    <a:cubicBezTo>
                      <a:pt x="21" y="7"/>
                      <a:pt x="21" y="7"/>
                      <a:pt x="21" y="7"/>
                    </a:cubicBezTo>
                    <a:cubicBezTo>
                      <a:pt x="27" y="13"/>
                      <a:pt x="27" y="13"/>
                      <a:pt x="27" y="13"/>
                    </a:cubicBezTo>
                    <a:cubicBezTo>
                      <a:pt x="27" y="13"/>
                      <a:pt x="27" y="13"/>
                      <a:pt x="27" y="13"/>
                    </a:cubicBezTo>
                    <a:cubicBezTo>
                      <a:pt x="29" y="15"/>
                      <a:pt x="29" y="15"/>
                      <a:pt x="29" y="15"/>
                    </a:cubicBezTo>
                    <a:cubicBezTo>
                      <a:pt x="39" y="25"/>
                      <a:pt x="39" y="25"/>
                      <a:pt x="39" y="25"/>
                    </a:cubicBezTo>
                    <a:cubicBezTo>
                      <a:pt x="40" y="26"/>
                      <a:pt x="40" y="28"/>
                      <a:pt x="39" y="30"/>
                    </a:cubicBezTo>
                    <a:cubicBezTo>
                      <a:pt x="29" y="40"/>
                      <a:pt x="29" y="40"/>
                      <a:pt x="29" y="40"/>
                    </a:cubicBezTo>
                    <a:cubicBezTo>
                      <a:pt x="27" y="41"/>
                      <a:pt x="25" y="41"/>
                      <a:pt x="24" y="40"/>
                    </a:cubicBezTo>
                    <a:cubicBezTo>
                      <a:pt x="12" y="28"/>
                      <a:pt x="12" y="28"/>
                      <a:pt x="12" y="28"/>
                    </a:cubicBezTo>
                    <a:cubicBezTo>
                      <a:pt x="12" y="28"/>
                      <a:pt x="12" y="28"/>
                      <a:pt x="12" y="28"/>
                    </a:cubicBezTo>
                    <a:cubicBezTo>
                      <a:pt x="12" y="28"/>
                      <a:pt x="12" y="28"/>
                      <a:pt x="12" y="28"/>
                    </a:cubicBezTo>
                    <a:cubicBezTo>
                      <a:pt x="6" y="22"/>
                      <a:pt x="6" y="22"/>
                      <a:pt x="6" y="22"/>
                    </a:cubicBezTo>
                    <a:cubicBezTo>
                      <a:pt x="3" y="27"/>
                      <a:pt x="3" y="27"/>
                      <a:pt x="3" y="27"/>
                    </a:cubicBezTo>
                    <a:cubicBezTo>
                      <a:pt x="3" y="27"/>
                      <a:pt x="3" y="27"/>
                      <a:pt x="3" y="27"/>
                    </a:cubicBezTo>
                    <a:cubicBezTo>
                      <a:pt x="3" y="27"/>
                      <a:pt x="3" y="27"/>
                      <a:pt x="3" y="28"/>
                    </a:cubicBezTo>
                    <a:cubicBezTo>
                      <a:pt x="3" y="28"/>
                      <a:pt x="3" y="28"/>
                      <a:pt x="3" y="28"/>
                    </a:cubicBezTo>
                    <a:cubicBezTo>
                      <a:pt x="3" y="28"/>
                      <a:pt x="3" y="28"/>
                      <a:pt x="3" y="28"/>
                    </a:cubicBezTo>
                    <a:cubicBezTo>
                      <a:pt x="2" y="30"/>
                      <a:pt x="0" y="35"/>
                      <a:pt x="0" y="40"/>
                    </a:cubicBezTo>
                    <a:cubicBezTo>
                      <a:pt x="0" y="50"/>
                      <a:pt x="4" y="60"/>
                      <a:pt x="11" y="66"/>
                    </a:cubicBezTo>
                    <a:cubicBezTo>
                      <a:pt x="17" y="73"/>
                      <a:pt x="26" y="76"/>
                      <a:pt x="36" y="75"/>
                    </a:cubicBezTo>
                    <a:cubicBezTo>
                      <a:pt x="38" y="75"/>
                      <a:pt x="41" y="75"/>
                      <a:pt x="43" y="74"/>
                    </a:cubicBezTo>
                    <a:cubicBezTo>
                      <a:pt x="46" y="77"/>
                      <a:pt x="46" y="77"/>
                      <a:pt x="46" y="77"/>
                    </a:cubicBezTo>
                    <a:cubicBezTo>
                      <a:pt x="60" y="90"/>
                      <a:pt x="60" y="90"/>
                      <a:pt x="60" y="90"/>
                    </a:cubicBezTo>
                    <a:cubicBezTo>
                      <a:pt x="69" y="100"/>
                      <a:pt x="69" y="100"/>
                      <a:pt x="69" y="100"/>
                    </a:cubicBezTo>
                    <a:cubicBezTo>
                      <a:pt x="83" y="113"/>
                      <a:pt x="83" y="113"/>
                      <a:pt x="83" y="113"/>
                    </a:cubicBezTo>
                    <a:cubicBezTo>
                      <a:pt x="115" y="145"/>
                      <a:pt x="115" y="145"/>
                      <a:pt x="115" y="145"/>
                    </a:cubicBezTo>
                    <a:cubicBezTo>
                      <a:pt x="117" y="147"/>
                      <a:pt x="120" y="148"/>
                      <a:pt x="123" y="148"/>
                    </a:cubicBezTo>
                    <a:cubicBezTo>
                      <a:pt x="128" y="148"/>
                      <a:pt x="135" y="145"/>
                      <a:pt x="140" y="140"/>
                    </a:cubicBezTo>
                    <a:cubicBezTo>
                      <a:pt x="145" y="135"/>
                      <a:pt x="148" y="129"/>
                      <a:pt x="148" y="124"/>
                    </a:cubicBezTo>
                    <a:cubicBezTo>
                      <a:pt x="148" y="120"/>
                      <a:pt x="147" y="117"/>
                      <a:pt x="145" y="115"/>
                    </a:cubicBezTo>
                    <a:cubicBezTo>
                      <a:pt x="145" y="115"/>
                      <a:pt x="129" y="100"/>
                      <a:pt x="113" y="83"/>
                    </a:cubicBezTo>
                    <a:close/>
                    <a:moveTo>
                      <a:pt x="67" y="79"/>
                    </a:moveTo>
                    <a:cubicBezTo>
                      <a:pt x="56" y="67"/>
                      <a:pt x="56" y="67"/>
                      <a:pt x="56" y="67"/>
                    </a:cubicBezTo>
                    <a:cubicBezTo>
                      <a:pt x="47" y="58"/>
                      <a:pt x="47" y="58"/>
                      <a:pt x="47" y="58"/>
                    </a:cubicBezTo>
                    <a:cubicBezTo>
                      <a:pt x="43" y="60"/>
                      <a:pt x="43" y="60"/>
                      <a:pt x="43" y="60"/>
                    </a:cubicBezTo>
                    <a:cubicBezTo>
                      <a:pt x="40" y="61"/>
                      <a:pt x="37" y="62"/>
                      <a:pt x="35" y="62"/>
                    </a:cubicBezTo>
                    <a:cubicBezTo>
                      <a:pt x="29" y="62"/>
                      <a:pt x="24" y="60"/>
                      <a:pt x="20" y="57"/>
                    </a:cubicBezTo>
                    <a:cubicBezTo>
                      <a:pt x="16" y="53"/>
                      <a:pt x="13" y="47"/>
                      <a:pt x="13" y="40"/>
                    </a:cubicBezTo>
                    <a:cubicBezTo>
                      <a:pt x="13" y="39"/>
                      <a:pt x="13" y="39"/>
                      <a:pt x="13" y="39"/>
                    </a:cubicBezTo>
                    <a:cubicBezTo>
                      <a:pt x="19" y="45"/>
                      <a:pt x="19" y="45"/>
                      <a:pt x="19" y="45"/>
                    </a:cubicBezTo>
                    <a:cubicBezTo>
                      <a:pt x="21" y="47"/>
                      <a:pt x="24" y="48"/>
                      <a:pt x="26" y="48"/>
                    </a:cubicBezTo>
                    <a:cubicBezTo>
                      <a:pt x="29" y="48"/>
                      <a:pt x="32" y="47"/>
                      <a:pt x="34" y="45"/>
                    </a:cubicBezTo>
                    <a:cubicBezTo>
                      <a:pt x="44" y="34"/>
                      <a:pt x="44" y="34"/>
                      <a:pt x="44" y="34"/>
                    </a:cubicBezTo>
                    <a:cubicBezTo>
                      <a:pt x="48" y="30"/>
                      <a:pt x="48" y="24"/>
                      <a:pt x="44" y="20"/>
                    </a:cubicBezTo>
                    <a:cubicBezTo>
                      <a:pt x="38" y="14"/>
                      <a:pt x="38" y="14"/>
                      <a:pt x="38" y="14"/>
                    </a:cubicBezTo>
                    <a:cubicBezTo>
                      <a:pt x="39" y="14"/>
                      <a:pt x="39" y="14"/>
                      <a:pt x="39" y="14"/>
                    </a:cubicBezTo>
                    <a:cubicBezTo>
                      <a:pt x="46" y="14"/>
                      <a:pt x="52" y="16"/>
                      <a:pt x="56" y="21"/>
                    </a:cubicBezTo>
                    <a:cubicBezTo>
                      <a:pt x="60" y="24"/>
                      <a:pt x="61" y="30"/>
                      <a:pt x="61" y="36"/>
                    </a:cubicBezTo>
                    <a:cubicBezTo>
                      <a:pt x="61" y="38"/>
                      <a:pt x="60" y="41"/>
                      <a:pt x="59" y="43"/>
                    </a:cubicBezTo>
                    <a:cubicBezTo>
                      <a:pt x="58" y="48"/>
                      <a:pt x="58" y="48"/>
                      <a:pt x="58" y="48"/>
                    </a:cubicBezTo>
                    <a:cubicBezTo>
                      <a:pt x="61" y="51"/>
                      <a:pt x="61" y="51"/>
                      <a:pt x="61" y="51"/>
                    </a:cubicBezTo>
                    <a:cubicBezTo>
                      <a:pt x="63" y="52"/>
                      <a:pt x="66" y="56"/>
                      <a:pt x="70" y="59"/>
                    </a:cubicBezTo>
                    <a:cubicBezTo>
                      <a:pt x="73" y="62"/>
                      <a:pt x="76" y="66"/>
                      <a:pt x="80" y="69"/>
                    </a:cubicBezTo>
                    <a:cubicBezTo>
                      <a:pt x="83" y="73"/>
                      <a:pt x="87" y="76"/>
                      <a:pt x="90" y="80"/>
                    </a:cubicBezTo>
                    <a:cubicBezTo>
                      <a:pt x="94" y="83"/>
                      <a:pt x="97" y="87"/>
                      <a:pt x="100" y="90"/>
                    </a:cubicBezTo>
                    <a:cubicBezTo>
                      <a:pt x="116" y="106"/>
                      <a:pt x="131" y="121"/>
                      <a:pt x="134" y="124"/>
                    </a:cubicBezTo>
                    <a:cubicBezTo>
                      <a:pt x="134" y="125"/>
                      <a:pt x="133" y="128"/>
                      <a:pt x="130" y="131"/>
                    </a:cubicBezTo>
                    <a:cubicBezTo>
                      <a:pt x="127" y="134"/>
                      <a:pt x="125" y="135"/>
                      <a:pt x="124" y="135"/>
                    </a:cubicBezTo>
                    <a:cubicBezTo>
                      <a:pt x="121" y="133"/>
                      <a:pt x="115" y="126"/>
                      <a:pt x="106" y="117"/>
                    </a:cubicBezTo>
                    <a:cubicBezTo>
                      <a:pt x="92" y="104"/>
                      <a:pt x="92" y="104"/>
                      <a:pt x="92" y="104"/>
                    </a:cubicBezTo>
                    <a:cubicBezTo>
                      <a:pt x="81" y="93"/>
                      <a:pt x="81" y="93"/>
                      <a:pt x="81" y="93"/>
                    </a:cubicBezTo>
                    <a:lnTo>
                      <a:pt x="67" y="79"/>
                    </a:lnTo>
                    <a:close/>
                    <a:moveTo>
                      <a:pt x="29" y="10"/>
                    </a:moveTo>
                    <a:cubicBezTo>
                      <a:pt x="29" y="10"/>
                      <a:pt x="29" y="10"/>
                      <a:pt x="2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79" name="Group 78">
            <a:extLst>
              <a:ext uri="{FF2B5EF4-FFF2-40B4-BE49-F238E27FC236}">
                <a16:creationId xmlns:a16="http://schemas.microsoft.com/office/drawing/2014/main" id="{8663E811-DCEB-03BB-F4DC-F046FC52191F}"/>
              </a:ext>
            </a:extLst>
          </p:cNvPr>
          <p:cNvGrpSpPr/>
          <p:nvPr/>
        </p:nvGrpSpPr>
        <p:grpSpPr>
          <a:xfrm>
            <a:off x="3835348" y="2602186"/>
            <a:ext cx="881992" cy="615275"/>
            <a:chOff x="4382952" y="2486339"/>
            <a:chExt cx="881992" cy="615275"/>
          </a:xfrm>
        </p:grpSpPr>
        <p:cxnSp>
          <p:nvCxnSpPr>
            <p:cNvPr id="74" name="Straight Connector 95">
              <a:extLst>
                <a:ext uri="{FF2B5EF4-FFF2-40B4-BE49-F238E27FC236}">
                  <a16:creationId xmlns:a16="http://schemas.microsoft.com/office/drawing/2014/main" id="{956A6885-89F6-4C7E-28EB-B299B6DB8490}"/>
                </a:ext>
              </a:extLst>
            </p:cNvPr>
            <p:cNvCxnSpPr>
              <a:cxnSpLocks/>
            </p:cNvCxnSpPr>
            <p:nvPr/>
          </p:nvCxnSpPr>
          <p:spPr>
            <a:xfrm>
              <a:off x="4834642" y="2795911"/>
              <a:ext cx="430302" cy="305703"/>
            </a:xfrm>
            <a:prstGeom prst="line">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050" name="Picture 2" descr="FieldLogs - S1000D, ATA, iSpec 2200 Integration Solutions">
              <a:extLst>
                <a:ext uri="{FF2B5EF4-FFF2-40B4-BE49-F238E27FC236}">
                  <a16:creationId xmlns:a16="http://schemas.microsoft.com/office/drawing/2014/main" id="{10CC14E6-6BD9-E315-FA75-656F2C4620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82952" y="2486339"/>
              <a:ext cx="722898" cy="433739"/>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Box 6">
            <a:extLst>
              <a:ext uri="{FF2B5EF4-FFF2-40B4-BE49-F238E27FC236}">
                <a16:creationId xmlns:a16="http://schemas.microsoft.com/office/drawing/2014/main" id="{5C83A089-DB02-58D4-FB88-48433ABB5C0D}"/>
              </a:ext>
            </a:extLst>
          </p:cNvPr>
          <p:cNvSpPr txBox="1"/>
          <p:nvPr/>
        </p:nvSpPr>
        <p:spPr>
          <a:xfrm>
            <a:off x="3048740" y="1878280"/>
            <a:ext cx="6094520" cy="369332"/>
          </a:xfrm>
          <a:prstGeom prst="rect">
            <a:avLst/>
          </a:prstGeom>
          <a:noFill/>
        </p:spPr>
        <p:txBody>
          <a:bodyPr wrap="square">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10" normalizeH="0" baseline="0" noProof="0" dirty="0">
                <a:ln>
                  <a:noFill/>
                </a:ln>
                <a:solidFill>
                  <a:prstClr val="black"/>
                </a:solidFill>
                <a:effectLst/>
                <a:uLnTx/>
                <a:uFillTx/>
                <a:latin typeface="Arial"/>
                <a:ea typeface="+mn-ea"/>
                <a:cs typeface="Arial"/>
              </a:rPr>
              <a:t>Driving factors and Implementation strategy</a:t>
            </a:r>
          </a:p>
        </p:txBody>
      </p:sp>
      <p:sp>
        <p:nvSpPr>
          <p:cNvPr id="12" name="Text Placeholder 11">
            <a:extLst>
              <a:ext uri="{FF2B5EF4-FFF2-40B4-BE49-F238E27FC236}">
                <a16:creationId xmlns:a16="http://schemas.microsoft.com/office/drawing/2014/main" id="{9E2802A5-6392-8A79-0175-DC27591BC92A}"/>
              </a:ext>
            </a:extLst>
          </p:cNvPr>
          <p:cNvSpPr>
            <a:spLocks noGrp="1"/>
          </p:cNvSpPr>
          <p:nvPr>
            <p:ph type="body" sz="quarter" idx="16"/>
          </p:nvPr>
        </p:nvSpPr>
        <p:spPr>
          <a:xfrm>
            <a:off x="0" y="6598389"/>
            <a:ext cx="12192000" cy="263698"/>
          </a:xfrm>
        </p:spPr>
        <p:txBody>
          <a:bodyPr/>
          <a:lstStyle/>
          <a:p>
            <a:r>
              <a:rPr lang="en-US" sz="1600" dirty="0">
                <a:solidFill>
                  <a:prstClr val="white"/>
                </a:solidFill>
                <a:latin typeface="Arial"/>
              </a:rPr>
              <a:t>Improved revision cycle and </a:t>
            </a:r>
            <a:r>
              <a:rPr kumimoji="0" lang="en-US" sz="1600" b="1" i="0" u="none" strike="noStrike" kern="1200" cap="none" spc="0" normalizeH="0" baseline="0" noProof="0" dirty="0">
                <a:ln>
                  <a:noFill/>
                </a:ln>
                <a:solidFill>
                  <a:prstClr val="white"/>
                </a:solidFill>
                <a:effectLst/>
                <a:uLnTx/>
                <a:uFillTx/>
                <a:latin typeface="Arial"/>
                <a:ea typeface="+mn-ea"/>
                <a:cs typeface="+mn-cs"/>
              </a:rPr>
              <a:t>AIN scores</a:t>
            </a:r>
            <a:endParaRPr kumimoji="0" lang="en-US" sz="1600" b="1" i="0" u="none" strike="noStrike" kern="1200" cap="none" spc="0" normalizeH="0" baseline="0" noProof="0" dirty="0">
              <a:ln>
                <a:noFill/>
              </a:ln>
              <a:solidFill>
                <a:sysClr val="window" lastClr="FFFFFF"/>
              </a:solidFill>
              <a:effectLst/>
              <a:uLnTx/>
              <a:uFillTx/>
              <a:latin typeface="Arial"/>
              <a:ea typeface="+mn-ea"/>
              <a:cs typeface="+mn-cs"/>
            </a:endParaRPr>
          </a:p>
        </p:txBody>
      </p:sp>
      <p:sp>
        <p:nvSpPr>
          <p:cNvPr id="13" name="Title 10">
            <a:extLst>
              <a:ext uri="{FF2B5EF4-FFF2-40B4-BE49-F238E27FC236}">
                <a16:creationId xmlns:a16="http://schemas.microsoft.com/office/drawing/2014/main" id="{F12319AE-89EE-CF99-3AE1-32BC164EE881}"/>
              </a:ext>
            </a:extLst>
          </p:cNvPr>
          <p:cNvSpPr>
            <a:spLocks noGrp="1"/>
          </p:cNvSpPr>
          <p:nvPr>
            <p:ph type="title"/>
          </p:nvPr>
        </p:nvSpPr>
        <p:spPr>
          <a:xfrm>
            <a:off x="495301" y="164636"/>
            <a:ext cx="11201401" cy="411592"/>
          </a:xfrm>
        </p:spPr>
        <p:txBody>
          <a:bodyPr/>
          <a:lstStyle/>
          <a:p>
            <a:r>
              <a:rPr kumimoji="0" lang="en-US" sz="2400" b="0" i="0" u="none" strike="noStrike" kern="1200" cap="all" spc="0" normalizeH="0" baseline="0" noProof="0" dirty="0">
                <a:ln>
                  <a:noFill/>
                </a:ln>
                <a:solidFill>
                  <a:sysClr val="windowText" lastClr="000000"/>
                </a:solidFill>
                <a:effectLst/>
                <a:uLnTx/>
                <a:uFillTx/>
                <a:latin typeface="Arial Black"/>
                <a:ea typeface="+mj-ea"/>
                <a:cs typeface="+mj-cs"/>
              </a:rPr>
              <a:t>Tech Pubs </a:t>
            </a:r>
            <a:r>
              <a:rPr kumimoji="0" lang="en-US" sz="2400" b="0" i="0" u="none" strike="noStrike" kern="1200" cap="all" spc="0" normalizeH="0" baseline="0" noProof="0" dirty="0">
                <a:ln>
                  <a:noFill/>
                </a:ln>
                <a:solidFill>
                  <a:sysClr val="window" lastClr="FFFFFF">
                    <a:lumMod val="65000"/>
                  </a:sysClr>
                </a:solidFill>
                <a:effectLst/>
                <a:uLnTx/>
                <a:uFillTx/>
                <a:latin typeface="Arial Black"/>
                <a:ea typeface="+mj-ea"/>
                <a:cs typeface="+mj-cs"/>
              </a:rPr>
              <a:t>|</a:t>
            </a:r>
            <a:r>
              <a:rPr kumimoji="0" lang="en-US" sz="2400" b="0" i="0" u="none" strike="noStrike" kern="1200" cap="all" spc="0" normalizeH="0" baseline="0" noProof="0" dirty="0">
                <a:ln>
                  <a:noFill/>
                </a:ln>
                <a:solidFill>
                  <a:sysClr val="windowText" lastClr="000000"/>
                </a:solidFill>
                <a:effectLst/>
                <a:uLnTx/>
                <a:uFillTx/>
                <a:latin typeface="Arial Black"/>
                <a:ea typeface="+mj-ea"/>
                <a:cs typeface="+mj-cs"/>
              </a:rPr>
              <a:t> </a:t>
            </a:r>
            <a:r>
              <a:rPr kumimoji="0" lang="en-US" sz="2400" b="0" i="0" u="none" strike="noStrike" kern="1200" cap="all" spc="0" normalizeH="0" baseline="0" noProof="0" dirty="0">
                <a:ln>
                  <a:noFill/>
                </a:ln>
                <a:solidFill>
                  <a:srgbClr val="C00000"/>
                </a:solidFill>
                <a:effectLst/>
                <a:uLnTx/>
                <a:uFillTx/>
                <a:latin typeface="Arial Black"/>
                <a:ea typeface="+mj-ea"/>
                <a:cs typeface="+mj-cs"/>
              </a:rPr>
              <a:t>Engine manuals revision</a:t>
            </a:r>
            <a:br>
              <a:rPr kumimoji="0" lang="en-US" sz="2400" b="0" i="0" u="none" strike="noStrike" kern="1200" cap="all" spc="0" normalizeH="0" baseline="0" noProof="0" dirty="0">
                <a:ln>
                  <a:noFill/>
                </a:ln>
                <a:solidFill>
                  <a:srgbClr val="C00000"/>
                </a:solidFill>
                <a:effectLst/>
                <a:uLnTx/>
                <a:uFillTx/>
                <a:latin typeface="Arial Black"/>
                <a:ea typeface="+mj-ea"/>
                <a:cs typeface="+mj-cs"/>
              </a:rPr>
            </a:br>
            <a:endParaRPr lang="en-US" sz="2400" dirty="0"/>
          </a:p>
        </p:txBody>
      </p:sp>
      <p:graphicFrame>
        <p:nvGraphicFramePr>
          <p:cNvPr id="9" name="Table 8">
            <a:extLst>
              <a:ext uri="{FF2B5EF4-FFF2-40B4-BE49-F238E27FC236}">
                <a16:creationId xmlns:a16="http://schemas.microsoft.com/office/drawing/2014/main" id="{1EF447B4-2BB9-FC20-A558-C7B30C7D49B7}"/>
              </a:ext>
            </a:extLst>
          </p:cNvPr>
          <p:cNvGraphicFramePr>
            <a:graphicFrameLocks noGrp="1"/>
          </p:cNvGraphicFramePr>
          <p:nvPr/>
        </p:nvGraphicFramePr>
        <p:xfrm>
          <a:off x="791593" y="4737709"/>
          <a:ext cx="4242224" cy="1391752"/>
        </p:xfrm>
        <a:graphic>
          <a:graphicData uri="http://schemas.openxmlformats.org/drawingml/2006/table">
            <a:tbl>
              <a:tblPr firstRow="1" firstCol="1" bandRow="1"/>
              <a:tblGrid>
                <a:gridCol w="1358940">
                  <a:extLst>
                    <a:ext uri="{9D8B030D-6E8A-4147-A177-3AD203B41FA5}">
                      <a16:colId xmlns:a16="http://schemas.microsoft.com/office/drawing/2014/main" val="411927440"/>
                    </a:ext>
                  </a:extLst>
                </a:gridCol>
                <a:gridCol w="1337734">
                  <a:extLst>
                    <a:ext uri="{9D8B030D-6E8A-4147-A177-3AD203B41FA5}">
                      <a16:colId xmlns:a16="http://schemas.microsoft.com/office/drawing/2014/main" val="3930076859"/>
                    </a:ext>
                  </a:extLst>
                </a:gridCol>
                <a:gridCol w="1545550">
                  <a:extLst>
                    <a:ext uri="{9D8B030D-6E8A-4147-A177-3AD203B41FA5}">
                      <a16:colId xmlns:a16="http://schemas.microsoft.com/office/drawing/2014/main" val="3895634896"/>
                    </a:ext>
                  </a:extLst>
                </a:gridCol>
              </a:tblGrid>
              <a:tr h="229550">
                <a:tc gridSpan="3">
                  <a:txBody>
                    <a:bodyPr/>
                    <a:lstStyle/>
                    <a:p>
                      <a:pPr marL="128588" indent="0" algn="ctr">
                        <a:buClr>
                          <a:srgbClr val="DC1F2D"/>
                        </a:buClr>
                        <a:buFontTx/>
                        <a:buNone/>
                      </a:pPr>
                      <a:r>
                        <a:rPr lang="en-US" sz="1200" dirty="0">
                          <a:highlight>
                            <a:srgbClr val="E7E6E6"/>
                          </a:highlight>
                          <a:latin typeface="+mn-lt"/>
                          <a:cs typeface="Arial"/>
                        </a:rPr>
                        <a:t>Revision plan of 4 TFE manuals in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extLst>
                  <a:ext uri="{0D108BD9-81ED-4DB2-BD59-A6C34878D82A}">
                    <a16:rowId xmlns:a16="http://schemas.microsoft.com/office/drawing/2014/main" val="275707002"/>
                  </a:ext>
                </a:extLst>
              </a:tr>
              <a:tr h="222334">
                <a:tc>
                  <a:txBody>
                    <a:bodyPr/>
                    <a:lstStyle/>
                    <a:p>
                      <a:pPr algn="ctr" rtl="0" fontAlgn="ctr"/>
                      <a:r>
                        <a:rPr lang="en-US" sz="1200" b="1" i="0" u="none" strike="noStrike" dirty="0">
                          <a:solidFill>
                            <a:srgbClr val="000000"/>
                          </a:solidFill>
                          <a:effectLst/>
                          <a:highlight>
                            <a:srgbClr val="E7E6E6"/>
                          </a:highlight>
                          <a:latin typeface="Calibri" panose="020F0502020204030204" pitchFamily="34" charset="0"/>
                        </a:rPr>
                        <a:t>Manu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US" sz="1200" b="1" i="0" u="none" strike="noStrike" dirty="0">
                          <a:solidFill>
                            <a:srgbClr val="000000"/>
                          </a:solidFill>
                          <a:effectLst/>
                          <a:highlight>
                            <a:srgbClr val="E7E6E6"/>
                          </a:highlight>
                          <a:latin typeface="Calibri" panose="020F0502020204030204" pitchFamily="34" charset="0"/>
                        </a:rPr>
                        <a:t>ATA Nu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US" sz="1200" b="1" i="0" u="none" strike="noStrike" dirty="0">
                          <a:solidFill>
                            <a:srgbClr val="000000"/>
                          </a:solidFill>
                          <a:effectLst/>
                          <a:highlight>
                            <a:srgbClr val="E7E6E6"/>
                          </a:highlight>
                          <a:latin typeface="Calibri" panose="020F0502020204030204" pitchFamily="34" charset="0"/>
                        </a:rPr>
                        <a:t>Release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115024320"/>
                  </a:ext>
                </a:extLst>
              </a:tr>
              <a:tr h="234967">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IPC</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72-03-13</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effectLst/>
                          <a:latin typeface="Aptos" panose="020B0004020202020204" pitchFamily="34" charset="0"/>
                          <a:ea typeface="Aptos" panose="020B0004020202020204" pitchFamily="34" charset="0"/>
                          <a:cs typeface="Aptos" panose="020B0004020202020204" pitchFamily="34" charset="0"/>
                        </a:rPr>
                        <a:t>Sep 2024</a:t>
                      </a: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7201562"/>
                  </a:ext>
                </a:extLst>
              </a:tr>
              <a:tr h="234967">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LMM</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72-03-06</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effectLst/>
                          <a:latin typeface="Aptos" panose="020B0004020202020204" pitchFamily="34" charset="0"/>
                          <a:ea typeface="Aptos" panose="020B0004020202020204" pitchFamily="34" charset="0"/>
                          <a:cs typeface="Aptos" panose="020B0004020202020204" pitchFamily="34" charset="0"/>
                        </a:rPr>
                        <a:t>Nov 2024</a:t>
                      </a: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3183983"/>
                  </a:ext>
                </a:extLst>
              </a:tr>
              <a:tr h="234967">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HMM</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72-03-07</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effectLst/>
                          <a:latin typeface="Aptos" panose="020B0004020202020204" pitchFamily="34" charset="0"/>
                          <a:ea typeface="Aptos" panose="020B0004020202020204" pitchFamily="34" charset="0"/>
                          <a:cs typeface="Aptos" panose="020B0004020202020204" pitchFamily="34" charset="0"/>
                        </a:rPr>
                        <a:t>Q1 2025</a:t>
                      </a: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0904872"/>
                  </a:ext>
                </a:extLst>
              </a:tr>
              <a:tr h="234967">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IR</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Aptos" panose="020B0004020202020204" pitchFamily="34" charset="0"/>
                          <a:cs typeface="Aptos" panose="020B0004020202020204" pitchFamily="34" charset="0"/>
                        </a:rPr>
                        <a:t>72-IR-02</a:t>
                      </a:r>
                      <a:endParaRPr lang="en-US" sz="12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a:spcBef>
                          <a:spcPts val="0"/>
                        </a:spcBef>
                        <a:spcAft>
                          <a:spcPts val="0"/>
                        </a:spcAft>
                      </a:pPr>
                      <a:r>
                        <a:rPr lang="en-US" sz="1200" dirty="0">
                          <a:effectLst/>
                          <a:latin typeface="Aptos" panose="020B0004020202020204" pitchFamily="34" charset="0"/>
                          <a:ea typeface="Aptos" panose="020B0004020202020204" pitchFamily="34" charset="0"/>
                          <a:cs typeface="Aptos" panose="020B0004020202020204" pitchFamily="34" charset="0"/>
                        </a:rPr>
                        <a:t>Q1 2025</a:t>
                      </a:r>
                    </a:p>
                  </a:txBody>
                  <a:tcPr marL="68580" marR="68580"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1930253"/>
                  </a:ext>
                </a:extLst>
              </a:tr>
            </a:tbl>
          </a:graphicData>
        </a:graphic>
      </p:graphicFrame>
    </p:spTree>
    <p:extLst>
      <p:ext uri="{BB962C8B-B14F-4D97-AF65-F5344CB8AC3E}">
        <p14:creationId xmlns:p14="http://schemas.microsoft.com/office/powerpoint/2010/main" val="1011948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6" name="Object 15" hidden="1">
                        <a:extLst>
                          <a:ext uri="{FF2B5EF4-FFF2-40B4-BE49-F238E27FC236}">
                            <a16:creationId xmlns:a16="http://schemas.microsoft.com/office/drawing/2014/main" id="{52BC4C0F-3202-4D0C-ADA0-502662EEFB30}"/>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pic>
        <p:nvPicPr>
          <p:cNvPr id="6" name="Picture 5">
            <a:extLst>
              <a:ext uri="{FF2B5EF4-FFF2-40B4-BE49-F238E27FC236}">
                <a16:creationId xmlns:a16="http://schemas.microsoft.com/office/drawing/2014/main" id="{24BB2337-4A02-41A4-AB6C-28D5CE64246F}"/>
              </a:ext>
            </a:extLst>
          </p:cNvPr>
          <p:cNvPicPr>
            <a:picLocks noChangeAspect="1"/>
          </p:cNvPicPr>
          <p:nvPr/>
        </p:nvPicPr>
        <p:blipFill>
          <a:blip r:embed="rId7"/>
          <a:stretch>
            <a:fillRect/>
          </a:stretch>
        </p:blipFill>
        <p:spPr>
          <a:xfrm>
            <a:off x="2321711" y="2220731"/>
            <a:ext cx="7788460" cy="453437"/>
          </a:xfrm>
          <a:prstGeom prst="rect">
            <a:avLst/>
          </a:prstGeom>
        </p:spPr>
      </p:pic>
      <p:sp>
        <p:nvSpPr>
          <p:cNvPr id="2" name="Rectangle 1">
            <a:extLst>
              <a:ext uri="{FF2B5EF4-FFF2-40B4-BE49-F238E27FC236}">
                <a16:creationId xmlns:a16="http://schemas.microsoft.com/office/drawing/2014/main" id="{688AB8DD-ABA1-4317-8469-48FB364B4CF0}"/>
              </a:ext>
            </a:extLst>
          </p:cNvPr>
          <p:cNvSpPr/>
          <p:nvPr/>
        </p:nvSpPr>
        <p:spPr>
          <a:xfrm>
            <a:off x="965771" y="2958102"/>
            <a:ext cx="10471263" cy="510909"/>
          </a:xfrm>
          <a:prstGeom prst="rect">
            <a:avLst/>
          </a:prstGeom>
        </p:spPr>
        <p:txBody>
          <a:bodyPr wrap="square">
            <a:spAutoFit/>
          </a:bodyPr>
          <a:lstStyle/>
          <a:p>
            <a:pPr marL="0" marR="0" lvl="0" indent="0" algn="ctr" defTabSz="914400" rtl="0" eaLnBrk="0" fontAlgn="base" latinLnBrk="0" hangingPunct="0">
              <a:lnSpc>
                <a:spcPct val="85000"/>
              </a:lnSpc>
              <a:spcBef>
                <a:spcPct val="15000"/>
              </a:spcBef>
              <a:spcAft>
                <a:spcPct val="0"/>
              </a:spcAft>
              <a:buClrTx/>
              <a:buSzTx/>
              <a:buFontTx/>
              <a:buNone/>
              <a:tabLst/>
              <a:defRPr/>
            </a:pPr>
            <a:r>
              <a:rPr kumimoji="0" lang="en-US" sz="3200" b="1" i="0" u="none" strike="noStrike" kern="0" cap="none" spc="0" normalizeH="0" baseline="0" noProof="0">
                <a:ln>
                  <a:noFill/>
                </a:ln>
                <a:solidFill>
                  <a:srgbClr val="000000">
                    <a:lumMod val="65000"/>
                    <a:lumOff val="35000"/>
                  </a:srgbClr>
                </a:solidFill>
                <a:effectLst/>
                <a:uLnTx/>
                <a:uFillTx/>
                <a:latin typeface="Arial"/>
                <a:ea typeface="+mn-ea"/>
                <a:cs typeface="+mn-cs"/>
              </a:rPr>
              <a:t>Introductions</a:t>
            </a:r>
            <a:endParaRPr kumimoji="0" lang="en-US" sz="2800" b="0" i="0" u="none" strike="noStrike" kern="0" cap="none" spc="0" normalizeH="0" baseline="0" noProof="0">
              <a:ln>
                <a:noFill/>
              </a:ln>
              <a:solidFill>
                <a:srgbClr val="000000">
                  <a:lumMod val="65000"/>
                  <a:lumOff val="35000"/>
                </a:srgbClr>
              </a:solidFill>
              <a:effectLst/>
              <a:uLnTx/>
              <a:uFillTx/>
              <a:latin typeface="Arial"/>
              <a:ea typeface="+mn-ea"/>
              <a:cs typeface="+mn-cs"/>
            </a:endParaRPr>
          </a:p>
        </p:txBody>
      </p:sp>
      <p:pic>
        <p:nvPicPr>
          <p:cNvPr id="7" name="Picture 6">
            <a:extLst>
              <a:ext uri="{FF2B5EF4-FFF2-40B4-BE49-F238E27FC236}">
                <a16:creationId xmlns:a16="http://schemas.microsoft.com/office/drawing/2014/main" id="{D248A82B-414D-42F4-8013-F20AE7F960B5}"/>
              </a:ext>
            </a:extLst>
          </p:cNvPr>
          <p:cNvPicPr>
            <a:picLocks noChangeAspect="1"/>
          </p:cNvPicPr>
          <p:nvPr/>
        </p:nvPicPr>
        <p:blipFill>
          <a:blip r:embed="rId7"/>
          <a:stretch>
            <a:fillRect/>
          </a:stretch>
        </p:blipFill>
        <p:spPr>
          <a:xfrm>
            <a:off x="1654799" y="115558"/>
            <a:ext cx="4075433" cy="237268"/>
          </a:xfrm>
          <a:prstGeom prst="rect">
            <a:avLst/>
          </a:prstGeom>
        </p:spPr>
      </p:pic>
    </p:spTree>
    <p:extLst>
      <p:ext uri="{BB962C8B-B14F-4D97-AF65-F5344CB8AC3E}">
        <p14:creationId xmlns:p14="http://schemas.microsoft.com/office/powerpoint/2010/main" val="4945554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A43879-D3E6-08B3-045B-22BD1720817D}"/>
              </a:ext>
            </a:extLst>
          </p:cNvPr>
          <p:cNvSpPr>
            <a:spLocks noGrp="1"/>
          </p:cNvSpPr>
          <p:nvPr>
            <p:ph type="title"/>
          </p:nvPr>
        </p:nvSpPr>
        <p:spPr/>
        <p:txBody>
          <a:bodyPr/>
          <a:lstStyle/>
          <a:p>
            <a:r>
              <a:rPr lang="en-US"/>
              <a:t>Support network</a:t>
            </a:r>
          </a:p>
        </p:txBody>
      </p:sp>
      <p:sp>
        <p:nvSpPr>
          <p:cNvPr id="3" name="Slide Number Placeholder 2">
            <a:extLst>
              <a:ext uri="{FF2B5EF4-FFF2-40B4-BE49-F238E27FC236}">
                <a16:creationId xmlns:a16="http://schemas.microsoft.com/office/drawing/2014/main" id="{F5FC2AEF-BB8F-B8B0-2484-C7579B9DFE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8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1" i="0" u="none" strike="noStrike" kern="1200" cap="none" spc="0" normalizeH="0" baseline="0" noProof="0">
              <a:ln>
                <a:noFill/>
              </a:ln>
              <a:solidFill>
                <a:srgbClr val="707070"/>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FBFA7971-C962-C22A-A53B-A39FBC285D8A}"/>
              </a:ext>
            </a:extLst>
          </p:cNvPr>
          <p:cNvGrpSpPr/>
          <p:nvPr/>
        </p:nvGrpSpPr>
        <p:grpSpPr>
          <a:xfrm>
            <a:off x="1034143" y="764280"/>
            <a:ext cx="10025743" cy="6061062"/>
            <a:chOff x="1524000" y="1105266"/>
            <a:chExt cx="9144000" cy="5207001"/>
          </a:xfrm>
        </p:grpSpPr>
        <p:pic>
          <p:nvPicPr>
            <p:cNvPr id="6" name="Picture 5" descr="csm.jpg">
              <a:extLst>
                <a:ext uri="{FF2B5EF4-FFF2-40B4-BE49-F238E27FC236}">
                  <a16:creationId xmlns:a16="http://schemas.microsoft.com/office/drawing/2014/main" id="{E69B44EB-A796-C7E6-D85A-A2EB274C9A18}"/>
                </a:ext>
              </a:extLst>
            </p:cNvPr>
            <p:cNvPicPr>
              <a:picLocks noChangeAspect="1"/>
            </p:cNvPicPr>
            <p:nvPr/>
          </p:nvPicPr>
          <p:blipFill>
            <a:blip r:embed="rId3" cstate="print">
              <a:lum contrast="-10000"/>
            </a:blip>
            <a:stretch>
              <a:fillRect/>
            </a:stretch>
          </p:blipFill>
          <p:spPr>
            <a:xfrm>
              <a:off x="1524000" y="1105266"/>
              <a:ext cx="9144000" cy="5207001"/>
            </a:xfrm>
            <a:prstGeom prst="rect">
              <a:avLst/>
            </a:prstGeom>
            <a:solidFill>
              <a:schemeClr val="tx1">
                <a:lumMod val="65000"/>
                <a:lumOff val="35000"/>
              </a:schemeClr>
            </a:solidFill>
          </p:spPr>
        </p:pic>
        <p:sp>
          <p:nvSpPr>
            <p:cNvPr id="7" name="Rectangle 6">
              <a:extLst>
                <a:ext uri="{FF2B5EF4-FFF2-40B4-BE49-F238E27FC236}">
                  <a16:creationId xmlns:a16="http://schemas.microsoft.com/office/drawing/2014/main" id="{56A5F6F2-7724-3600-966F-73F702BE3C2A}"/>
                </a:ext>
              </a:extLst>
            </p:cNvPr>
            <p:cNvSpPr/>
            <p:nvPr/>
          </p:nvSpPr>
          <p:spPr>
            <a:xfrm>
              <a:off x="2472262" y="2575915"/>
              <a:ext cx="2243668"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mn-ea"/>
                  <a:cs typeface="+mn-cs"/>
                </a:rPr>
                <a:t>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20000"/>
                  </a:solidFill>
                  <a:effectLst/>
                  <a:uLnTx/>
                  <a:uFillTx/>
                  <a:latin typeface="Arial Black"/>
                  <a:ea typeface="+mn-ea"/>
                  <a:cs typeface="+mn-cs"/>
                </a:rPr>
                <a:t>(AERO TECH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EXPERT TECHNICAL SUP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OF HONEYWELL PRODUCTS</a:t>
              </a:r>
            </a:p>
          </p:txBody>
        </p:sp>
        <p:sp>
          <p:nvSpPr>
            <p:cNvPr id="8" name="Rectangle 7">
              <a:extLst>
                <a:ext uri="{FF2B5EF4-FFF2-40B4-BE49-F238E27FC236}">
                  <a16:creationId xmlns:a16="http://schemas.microsoft.com/office/drawing/2014/main" id="{7EF1069E-6725-010E-1F3A-65983D1DA84E}"/>
                </a:ext>
              </a:extLst>
            </p:cNvPr>
            <p:cNvSpPr/>
            <p:nvPr/>
          </p:nvSpPr>
          <p:spPr>
            <a:xfrm>
              <a:off x="4692501" y="2567448"/>
              <a:ext cx="2131625"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mn-ea"/>
                  <a:cs typeface="+mn-cs"/>
                </a:rPr>
                <a:t>C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20000"/>
                  </a:solidFill>
                  <a:effectLst/>
                  <a:uLnTx/>
                  <a:uFillTx/>
                  <a:latin typeface="Arial Black"/>
                  <a:ea typeface="+mn-ea"/>
                  <a:cs typeface="+mn-cs"/>
                </a:rPr>
                <a:t>(CUSTOMER SUPPOR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ESCALATION OF CUSTOMER SUPPORT RELATED ISSUES</a:t>
              </a:r>
            </a:p>
          </p:txBody>
        </p:sp>
        <p:sp>
          <p:nvSpPr>
            <p:cNvPr id="9" name="Rectangle 8">
              <a:extLst>
                <a:ext uri="{FF2B5EF4-FFF2-40B4-BE49-F238E27FC236}">
                  <a16:creationId xmlns:a16="http://schemas.microsoft.com/office/drawing/2014/main" id="{D9AA232E-8DE7-DCC6-2E0B-FAA288CFFCD4}"/>
                </a:ext>
              </a:extLst>
            </p:cNvPr>
            <p:cNvSpPr/>
            <p:nvPr/>
          </p:nvSpPr>
          <p:spPr>
            <a:xfrm>
              <a:off x="4714554" y="3930184"/>
              <a:ext cx="2243668"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mn-ea"/>
                  <a:cs typeface="+mn-cs"/>
                </a:rPr>
                <a:t>MS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20000"/>
                  </a:solidFill>
                  <a:effectLst/>
                  <a:uLnTx/>
                  <a:uFillTx/>
                  <a:latin typeface="Arial Black"/>
                  <a:ea typeface="+mn-ea"/>
                  <a:cs typeface="+mn-cs"/>
                </a:rPr>
                <a:t>(MAINTENANCE SERVICE PLA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EXPERT ADVISE AND SUPPORT ON AFTERMARKET PROGRAMS</a:t>
              </a:r>
            </a:p>
          </p:txBody>
        </p:sp>
        <p:sp>
          <p:nvSpPr>
            <p:cNvPr id="10" name="Rectangle 9">
              <a:extLst>
                <a:ext uri="{FF2B5EF4-FFF2-40B4-BE49-F238E27FC236}">
                  <a16:creationId xmlns:a16="http://schemas.microsoft.com/office/drawing/2014/main" id="{4D27F63E-31CF-5351-9690-3F827D9FBF0D}"/>
                </a:ext>
              </a:extLst>
            </p:cNvPr>
            <p:cNvSpPr/>
            <p:nvPr/>
          </p:nvSpPr>
          <p:spPr>
            <a:xfrm>
              <a:off x="2549453" y="3919551"/>
              <a:ext cx="2047358"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Black"/>
                  <a:ea typeface="+mn-ea"/>
                  <a:cs typeface="+mn-cs"/>
                </a:rPr>
                <a:t>AS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20000"/>
                  </a:solidFill>
                  <a:effectLst/>
                  <a:uLnTx/>
                  <a:uFillTx/>
                  <a:latin typeface="Arial Black"/>
                  <a:ea typeface="+mn-ea"/>
                  <a:cs typeface="+mn-cs"/>
                </a:rPr>
                <a:t>(AREA SALES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PROVIDE EXPERT ADVICE 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Black"/>
                  <a:ea typeface="+mn-ea"/>
                  <a:cs typeface="+mn-cs"/>
                </a:rPr>
                <a:t>HONEYWELL PRODUCTS, RETROFITS, SERVICES, ETC.</a:t>
              </a:r>
              <a:br>
                <a:rPr kumimoji="0" lang="en-US" sz="800" b="0" i="0" u="none" strike="noStrike" kern="1200" cap="none" spc="0" normalizeH="0" baseline="0" noProof="0">
                  <a:ln>
                    <a:noFill/>
                  </a:ln>
                  <a:solidFill>
                    <a:prstClr val="black"/>
                  </a:solidFill>
                  <a:effectLst/>
                  <a:uLnTx/>
                  <a:uFillTx/>
                  <a:latin typeface="Arial Black"/>
                  <a:ea typeface="+mn-ea"/>
                  <a:cs typeface="+mn-cs"/>
                </a:rPr>
              </a:br>
              <a:endParaRPr kumimoji="0" lang="en-US" sz="800" b="0" i="0" u="none" strike="noStrike" kern="1200" cap="none" spc="0" normalizeH="0" baseline="0" noProof="0">
                <a:ln>
                  <a:noFill/>
                </a:ln>
                <a:solidFill>
                  <a:prstClr val="black"/>
                </a:solidFill>
                <a:effectLst/>
                <a:uLnTx/>
                <a:uFillTx/>
                <a:latin typeface="Arial Black"/>
                <a:ea typeface="+mn-ea"/>
                <a:cs typeface="+mn-cs"/>
              </a:endParaRPr>
            </a:p>
          </p:txBody>
        </p:sp>
      </p:grpSp>
    </p:spTree>
    <p:extLst>
      <p:ext uri="{BB962C8B-B14F-4D97-AF65-F5344CB8AC3E}">
        <p14:creationId xmlns:p14="http://schemas.microsoft.com/office/powerpoint/2010/main" val="3941594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3B4965-6C83-7B73-DA2B-07114E4C0C15}"/>
              </a:ext>
            </a:extLst>
          </p:cNvPr>
          <p:cNvPicPr>
            <a:picLocks noChangeAspect="1"/>
          </p:cNvPicPr>
          <p:nvPr/>
        </p:nvPicPr>
        <p:blipFill rotWithShape="1">
          <a:blip r:embed="rId3"/>
          <a:srcRect b="12330"/>
          <a:stretch/>
        </p:blipFill>
        <p:spPr>
          <a:xfrm>
            <a:off x="8169686" y="4111785"/>
            <a:ext cx="1519216" cy="1576664"/>
          </a:xfrm>
          <a:prstGeom prst="rect">
            <a:avLst/>
          </a:prstGeom>
        </p:spPr>
      </p:pic>
      <p:pic>
        <p:nvPicPr>
          <p:cNvPr id="13" name="Picture 12">
            <a:extLst>
              <a:ext uri="{FF2B5EF4-FFF2-40B4-BE49-F238E27FC236}">
                <a16:creationId xmlns:a16="http://schemas.microsoft.com/office/drawing/2014/main" id="{FD8457A5-1F78-9E34-10FF-A4A08BBCB836}"/>
              </a:ext>
            </a:extLst>
          </p:cNvPr>
          <p:cNvPicPr>
            <a:picLocks noChangeAspect="1"/>
          </p:cNvPicPr>
          <p:nvPr/>
        </p:nvPicPr>
        <p:blipFill>
          <a:blip r:embed="rId4"/>
          <a:stretch>
            <a:fillRect/>
          </a:stretch>
        </p:blipFill>
        <p:spPr>
          <a:xfrm>
            <a:off x="4966984" y="1440334"/>
            <a:ext cx="1700511" cy="1700511"/>
          </a:xfrm>
          <a:prstGeom prst="rect">
            <a:avLst/>
          </a:prstGeom>
        </p:spPr>
      </p:pic>
      <p:sp>
        <p:nvSpPr>
          <p:cNvPr id="2" name="Title 1"/>
          <p:cNvSpPr txBox="1">
            <a:spLocks/>
          </p:cNvSpPr>
          <p:nvPr/>
        </p:nvSpPr>
        <p:spPr>
          <a:xfrm>
            <a:off x="1834390" y="432847"/>
            <a:ext cx="8658225" cy="50482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Arial"/>
                <a:ea typeface="+mn-ea"/>
                <a:cs typeface="+mn-cs"/>
              </a:rPr>
              <a:t>Leadership Welcome</a:t>
            </a:r>
          </a:p>
        </p:txBody>
      </p:sp>
      <p:sp>
        <p:nvSpPr>
          <p:cNvPr id="5" name="Rectangle 4"/>
          <p:cNvSpPr/>
          <p:nvPr/>
        </p:nvSpPr>
        <p:spPr>
          <a:xfrm>
            <a:off x="1816393" y="876117"/>
            <a:ext cx="8559213" cy="523220"/>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Welcome GCC Members</a:t>
            </a:r>
          </a:p>
        </p:txBody>
      </p:sp>
      <p:pic>
        <p:nvPicPr>
          <p:cNvPr id="9" name="Picture 8">
            <a:extLst>
              <a:ext uri="{FF2B5EF4-FFF2-40B4-BE49-F238E27FC236}">
                <a16:creationId xmlns:a16="http://schemas.microsoft.com/office/drawing/2014/main" id="{067BF149-FDA1-41D7-886B-AA1007C02CCC}"/>
              </a:ext>
            </a:extLst>
          </p:cNvPr>
          <p:cNvPicPr>
            <a:picLocks noChangeAspect="1"/>
          </p:cNvPicPr>
          <p:nvPr/>
        </p:nvPicPr>
        <p:blipFill>
          <a:blip r:embed="rId5"/>
          <a:stretch>
            <a:fillRect/>
          </a:stretch>
        </p:blipFill>
        <p:spPr>
          <a:xfrm>
            <a:off x="1654799" y="115558"/>
            <a:ext cx="4075433" cy="237268"/>
          </a:xfrm>
          <a:prstGeom prst="rect">
            <a:avLst/>
          </a:prstGeom>
        </p:spPr>
      </p:pic>
      <p:sp>
        <p:nvSpPr>
          <p:cNvPr id="7" name="Rectangle 6">
            <a:extLst>
              <a:ext uri="{FF2B5EF4-FFF2-40B4-BE49-F238E27FC236}">
                <a16:creationId xmlns:a16="http://schemas.microsoft.com/office/drawing/2014/main" id="{CBAFFCA1-6F23-46B2-860C-11B91CD1E022}"/>
              </a:ext>
            </a:extLst>
          </p:cNvPr>
          <p:cNvSpPr/>
          <p:nvPr/>
        </p:nvSpPr>
        <p:spPr>
          <a:xfrm>
            <a:off x="4607492" y="3139719"/>
            <a:ext cx="2653547" cy="738664"/>
          </a:xfrm>
          <a:prstGeom prst="rect">
            <a:avLst/>
          </a:prstGeom>
        </p:spPr>
        <p:txBody>
          <a:bodyPr wrap="square" lIns="91440" tIns="45720" rIns="91440" bIns="4572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oby Price</a:t>
            </a:r>
          </a:p>
          <a:p>
            <a:pPr algn="ctr">
              <a:defRPr/>
            </a:pPr>
            <a:r>
              <a:rPr lang="en-US" sz="1400" dirty="0">
                <a:solidFill>
                  <a:srgbClr val="000000"/>
                </a:solidFill>
                <a:latin typeface="Arial"/>
              </a:rPr>
              <a:t>Vice</a:t>
            </a:r>
            <a:r>
              <a:rPr kumimoji="0" lang="en-US" sz="1400" b="0" i="0" u="none" strike="noStrike" kern="1200" cap="none" spc="0" normalizeH="0" baseline="0" noProof="0">
                <a:ln>
                  <a:noFill/>
                </a:ln>
                <a:solidFill>
                  <a:srgbClr val="000000"/>
                </a:solidFill>
                <a:effectLst/>
                <a:uLnTx/>
                <a:uFillTx/>
                <a:latin typeface="Arial"/>
                <a:ea typeface="+mn-ea"/>
                <a:cs typeface="+mn-cs"/>
              </a:rPr>
              <a:t> President, C&amp;PS</a:t>
            </a:r>
            <a:endParaRPr lang="en-US" sz="1400" b="0" i="0" u="none" strike="noStrike" kern="1200" cap="none" spc="0" normalizeH="0" baseline="0" noProof="0" dirty="0">
              <a:ln>
                <a:noFill/>
              </a:ln>
              <a:solidFill>
                <a:srgbClr val="000000"/>
              </a:solidFill>
              <a:effectLst/>
              <a:uLnTx/>
              <a:uFillTx/>
              <a:latin typeface="Arial"/>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neywell Aerospace</a:t>
            </a:r>
            <a:endParaRPr lang="en-US" sz="1400" b="0" i="0" u="none" strike="noStrike" kern="1200" cap="none" spc="0" normalizeH="0" baseline="0" noProof="0" dirty="0">
              <a:ln>
                <a:noFill/>
              </a:ln>
              <a:solidFill>
                <a:srgbClr val="000000"/>
              </a:solidFill>
              <a:effectLst/>
              <a:uLnTx/>
              <a:uFillTx/>
              <a:latin typeface="Arial"/>
              <a:cs typeface="Arial"/>
            </a:endParaRPr>
          </a:p>
        </p:txBody>
      </p:sp>
      <p:pic>
        <p:nvPicPr>
          <p:cNvPr id="8" name="Picture 7">
            <a:extLst>
              <a:ext uri="{FF2B5EF4-FFF2-40B4-BE49-F238E27FC236}">
                <a16:creationId xmlns:a16="http://schemas.microsoft.com/office/drawing/2014/main" id="{92AAE7C7-F7B2-49D3-BD07-6C6C9F30E600}"/>
              </a:ext>
            </a:extLst>
          </p:cNvPr>
          <p:cNvPicPr>
            <a:picLocks noChangeAspect="1"/>
          </p:cNvPicPr>
          <p:nvPr/>
        </p:nvPicPr>
        <p:blipFill>
          <a:blip r:embed="rId6"/>
          <a:stretch>
            <a:fillRect/>
          </a:stretch>
        </p:blipFill>
        <p:spPr>
          <a:xfrm>
            <a:off x="1447620" y="1586433"/>
            <a:ext cx="1668114" cy="1437687"/>
          </a:xfrm>
          <a:prstGeom prst="rect">
            <a:avLst/>
          </a:prstGeom>
        </p:spPr>
      </p:pic>
      <p:sp>
        <p:nvSpPr>
          <p:cNvPr id="10" name="TextBox 9">
            <a:extLst>
              <a:ext uri="{FF2B5EF4-FFF2-40B4-BE49-F238E27FC236}">
                <a16:creationId xmlns:a16="http://schemas.microsoft.com/office/drawing/2014/main" id="{2B82AB11-7060-4128-885D-33E289A0D081}"/>
              </a:ext>
            </a:extLst>
          </p:cNvPr>
          <p:cNvSpPr txBox="1"/>
          <p:nvPr/>
        </p:nvSpPr>
        <p:spPr>
          <a:xfrm>
            <a:off x="1233177" y="3072230"/>
            <a:ext cx="2338017" cy="116955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odd Owen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Vice President, C&amp;P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mericas Aftermarke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neywell Aerospac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11" name="TextBox 10">
            <a:extLst>
              <a:ext uri="{FF2B5EF4-FFF2-40B4-BE49-F238E27FC236}">
                <a16:creationId xmlns:a16="http://schemas.microsoft.com/office/drawing/2014/main" id="{3DB33C5B-2485-4B1C-8C2D-8F23CA74AA81}"/>
              </a:ext>
            </a:extLst>
          </p:cNvPr>
          <p:cNvSpPr txBox="1"/>
          <p:nvPr/>
        </p:nvSpPr>
        <p:spPr>
          <a:xfrm>
            <a:off x="7767947" y="3136768"/>
            <a:ext cx="2420150" cy="1169551"/>
          </a:xfrm>
          <a:prstGeom prst="rect">
            <a:avLst/>
          </a:prstGeom>
          <a:noFill/>
        </p:spPr>
        <p:txBody>
          <a:bodyPr wrap="non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Malcolm Fleming</a:t>
            </a:r>
            <a:endParaRPr kumimoji="0" lang="en-US" sz="1400" b="1" i="0" u="none" strike="noStrike" kern="1200" cap="none" spc="0" normalizeH="0" baseline="0" noProof="0">
              <a:ln>
                <a:noFill/>
              </a:ln>
              <a:solidFill>
                <a:srgbClr val="000000"/>
              </a:solidFill>
              <a:effectLst/>
              <a:uLnTx/>
              <a:uFillTx/>
              <a:latin typeface="Times New Roman" pitchFamily="18" charset="0"/>
              <a:ea typeface="+mn-ea"/>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Vice President, C&amp;PS </a:t>
            </a:r>
            <a:endParaRPr kumimoji="0" lang="en-US" sz="1400" b="0" i="0" u="none" strike="noStrike" kern="1200" cap="none" spc="0" normalizeH="0" baseline="0" noProof="0">
              <a:ln>
                <a:noFill/>
              </a:ln>
              <a:solidFill>
                <a:srgbClr val="000000"/>
              </a:solidFill>
              <a:effectLst/>
              <a:uLnTx/>
              <a:uFillTx/>
              <a:latin typeface="Times New Roman" pitchFamily="18" charset="0"/>
              <a:ea typeface="+mn-ea"/>
              <a:cs typeface="Times New Roman"/>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Global Technical Operation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neywell Aerospace</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TextBox 11">
            <a:extLst>
              <a:ext uri="{FF2B5EF4-FFF2-40B4-BE49-F238E27FC236}">
                <a16:creationId xmlns:a16="http://schemas.microsoft.com/office/drawing/2014/main" id="{4881412F-F45C-4064-B0DF-4EDD1E8871DB}"/>
              </a:ext>
            </a:extLst>
          </p:cNvPr>
          <p:cNvSpPr txBox="1"/>
          <p:nvPr/>
        </p:nvSpPr>
        <p:spPr>
          <a:xfrm>
            <a:off x="7719219" y="5788335"/>
            <a:ext cx="2517606" cy="116955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Rod Kenna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r Director, C&amp;P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mericas Aftermarket BGA</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neywell Aerospac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pic>
        <p:nvPicPr>
          <p:cNvPr id="630786" name="Picture 2" descr="image">
            <a:extLst>
              <a:ext uri="{FF2B5EF4-FFF2-40B4-BE49-F238E27FC236}">
                <a16:creationId xmlns:a16="http://schemas.microsoft.com/office/drawing/2014/main" id="{3098F97C-59FE-443A-899D-CE8BED2345A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55223" y="1479107"/>
            <a:ext cx="1245598" cy="16157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E4F9196-AC09-304F-D559-6002FB18E9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47619" y="4070385"/>
            <a:ext cx="1717949" cy="1717949"/>
          </a:xfrm>
          <a:prstGeom prst="rect">
            <a:avLst/>
          </a:prstGeom>
        </p:spPr>
      </p:pic>
      <p:sp>
        <p:nvSpPr>
          <p:cNvPr id="14" name="TextBox 13">
            <a:extLst>
              <a:ext uri="{FF2B5EF4-FFF2-40B4-BE49-F238E27FC236}">
                <a16:creationId xmlns:a16="http://schemas.microsoft.com/office/drawing/2014/main" id="{45ACA8CA-DB38-68AD-8C79-4F8FF62177F8}"/>
              </a:ext>
            </a:extLst>
          </p:cNvPr>
          <p:cNvSpPr txBox="1"/>
          <p:nvPr/>
        </p:nvSpPr>
        <p:spPr>
          <a:xfrm>
            <a:off x="1076412" y="5788335"/>
            <a:ext cx="2517606" cy="116955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Jeremy Baic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Vice President, C&amp;P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Global Customer Ca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neywell Aerospac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 name="Rectangle 2">
            <a:extLst>
              <a:ext uri="{FF2B5EF4-FFF2-40B4-BE49-F238E27FC236}">
                <a16:creationId xmlns:a16="http://schemas.microsoft.com/office/drawing/2014/main" id="{B2710E61-EA71-1064-426F-370CA4F856C2}"/>
              </a:ext>
            </a:extLst>
          </p:cNvPr>
          <p:cNvSpPr/>
          <p:nvPr/>
        </p:nvSpPr>
        <p:spPr>
          <a:xfrm>
            <a:off x="4607492" y="5788335"/>
            <a:ext cx="2653547" cy="954107"/>
          </a:xfrm>
          <a:prstGeom prst="rect">
            <a:avLst/>
          </a:prstGeom>
        </p:spPr>
        <p:txBody>
          <a:bodyPr wrap="square" lIns="91440" tIns="45720" rIns="91440" bIns="45720" anchor="t">
            <a:spAutoFit/>
          </a:bodyPr>
          <a:lstStyle/>
          <a:p>
            <a:pPr algn="ctr">
              <a:defRPr/>
            </a:pPr>
            <a:r>
              <a:rPr lang="en-US" sz="1400" b="1" dirty="0">
                <a:solidFill>
                  <a:srgbClr val="000000"/>
                </a:solidFill>
                <a:latin typeface="Arial"/>
                <a:cs typeface="Arial"/>
              </a:rPr>
              <a:t>Brian Howell</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algn="ctr">
              <a:defRPr/>
            </a:pPr>
            <a:r>
              <a:rPr lang="en-US" sz="1400" dirty="0">
                <a:solidFill>
                  <a:srgbClr val="000000"/>
                </a:solidFill>
                <a:latin typeface="Arial"/>
              </a:rPr>
              <a:t>Vice</a:t>
            </a:r>
            <a:r>
              <a:rPr kumimoji="0" lang="en-US" sz="1400" b="0" i="0" u="none" strike="noStrike" kern="1200" cap="none" spc="0" normalizeH="0" baseline="0" noProof="0" dirty="0">
                <a:ln>
                  <a:noFill/>
                </a:ln>
                <a:solidFill>
                  <a:srgbClr val="000000"/>
                </a:solidFill>
                <a:effectLst/>
                <a:uLnTx/>
                <a:uFillTx/>
                <a:latin typeface="Arial"/>
                <a:ea typeface="+mn-ea"/>
                <a:cs typeface="+mn-cs"/>
              </a:rPr>
              <a:t> President, </a:t>
            </a:r>
            <a:r>
              <a:rPr lang="en-US" sz="1400" dirty="0">
                <a:solidFill>
                  <a:srgbClr val="000000"/>
                </a:solidFill>
                <a:latin typeface="Arial"/>
              </a:rPr>
              <a:t> BGA Aftermarket</a:t>
            </a:r>
            <a:endParaRPr lang="en-US" sz="1400" b="0" i="0" u="none" strike="noStrike" kern="1200" cap="none" spc="0" normalizeH="0" baseline="0" noProof="0" dirty="0" err="1">
              <a:ln>
                <a:noFill/>
              </a:ln>
              <a:solidFill>
                <a:srgbClr val="000000"/>
              </a:solidFill>
              <a:effectLst/>
              <a:uLnTx/>
              <a:uFillTx/>
              <a:latin typeface="Arial"/>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neywell Aerospace</a:t>
            </a:r>
            <a:endParaRPr lang="en-US" sz="1400" b="0" i="0" u="none" strike="noStrike" kern="1200" cap="none" spc="0" normalizeH="0" baseline="0" noProof="0" dirty="0">
              <a:ln>
                <a:noFill/>
              </a:ln>
              <a:solidFill>
                <a:srgbClr val="000000"/>
              </a:solidFill>
              <a:effectLst/>
              <a:uLnTx/>
              <a:uFillTx/>
              <a:latin typeface="Arial"/>
              <a:cs typeface="Arial"/>
            </a:endParaRPr>
          </a:p>
        </p:txBody>
      </p:sp>
      <p:pic>
        <p:nvPicPr>
          <p:cNvPr id="15" name="Picture 14" descr="A person in a suit and tie&#10;&#10;Description automatically generated">
            <a:extLst>
              <a:ext uri="{FF2B5EF4-FFF2-40B4-BE49-F238E27FC236}">
                <a16:creationId xmlns:a16="http://schemas.microsoft.com/office/drawing/2014/main" id="{7E045220-290B-CD44-2C11-4AD8BC8F08C5}"/>
              </a:ext>
            </a:extLst>
          </p:cNvPr>
          <p:cNvPicPr>
            <a:picLocks noChangeAspect="1"/>
          </p:cNvPicPr>
          <p:nvPr/>
        </p:nvPicPr>
        <p:blipFill>
          <a:blip r:embed="rId9"/>
          <a:srcRect l="4095" r="578" b="25578"/>
          <a:stretch/>
        </p:blipFill>
        <p:spPr>
          <a:xfrm>
            <a:off x="5017403" y="4003589"/>
            <a:ext cx="1650091" cy="1822706"/>
          </a:xfrm>
          <a:prstGeom prst="rect">
            <a:avLst/>
          </a:prstGeom>
        </p:spPr>
      </p:pic>
    </p:spTree>
    <p:extLst>
      <p:ext uri="{BB962C8B-B14F-4D97-AF65-F5344CB8AC3E}">
        <p14:creationId xmlns:p14="http://schemas.microsoft.com/office/powerpoint/2010/main" val="30641894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F090F3BE-F84F-588C-3570-77677CFD48DB}"/>
              </a:ext>
            </a:extLst>
          </p:cNvPr>
          <p:cNvSpPr>
            <a:spLocks noGrp="1"/>
          </p:cNvSpPr>
          <p:nvPr>
            <p:ph type="title"/>
          </p:nvPr>
        </p:nvSpPr>
        <p:spPr>
          <a:xfrm>
            <a:off x="495300" y="1349826"/>
            <a:ext cx="5372101" cy="4321629"/>
          </a:xfrm>
        </p:spPr>
        <p:txBody>
          <a:bodyPr/>
          <a:lstStyle/>
          <a:p>
            <a:r>
              <a:rPr lang="en-US" dirty="0"/>
              <a:t>Peter Zeeb</a:t>
            </a:r>
            <a:br>
              <a:rPr lang="en-US" dirty="0"/>
            </a:br>
            <a:br>
              <a:rPr lang="en-US" dirty="0"/>
            </a:br>
            <a:r>
              <a:rPr lang="en-US" sz="2000" dirty="0"/>
              <a:t>In recognition of your 15 years of service to the committee, 11 of which as chairman.</a:t>
            </a:r>
            <a:br>
              <a:rPr lang="en-US" sz="2000" dirty="0"/>
            </a:br>
            <a:br>
              <a:rPr lang="en-US" sz="2000" dirty="0"/>
            </a:br>
            <a:r>
              <a:rPr lang="en-US" sz="2000" dirty="0"/>
              <a:t>Thank you for being and exemplary source of passion and inspiration for all of us.</a:t>
            </a:r>
            <a:br>
              <a:rPr lang="en-US" sz="2000" dirty="0"/>
            </a:br>
            <a:br>
              <a:rPr lang="en-US" sz="2000" dirty="0"/>
            </a:br>
            <a:r>
              <a:rPr lang="en-US" sz="2000" dirty="0"/>
              <a:t>Your contributions have made a lasting impact.</a:t>
            </a:r>
            <a:endParaRPr lang="en-US" dirty="0"/>
          </a:p>
        </p:txBody>
      </p:sp>
      <p:pic>
        <p:nvPicPr>
          <p:cNvPr id="7" name="Picture 6">
            <a:extLst>
              <a:ext uri="{FF2B5EF4-FFF2-40B4-BE49-F238E27FC236}">
                <a16:creationId xmlns:a16="http://schemas.microsoft.com/office/drawing/2014/main" id="{BAFD4FB9-35F7-D175-B43D-463C07688DFC}"/>
              </a:ext>
            </a:extLst>
          </p:cNvPr>
          <p:cNvPicPr>
            <a:picLocks noChangeAspect="1"/>
          </p:cNvPicPr>
          <p:nvPr/>
        </p:nvPicPr>
        <p:blipFill>
          <a:blip r:embed="rId3">
            <a:extLst>
              <a:ext uri="{28A0092B-C50C-407E-A947-70E740481C1C}">
                <a14:useLocalDpi xmlns:a14="http://schemas.microsoft.com/office/drawing/2010/main" val="0"/>
              </a:ext>
            </a:extLst>
          </a:blip>
          <a:srcRect t="2346" r="2" b="8824"/>
          <a:stretch/>
        </p:blipFill>
        <p:spPr>
          <a:xfrm>
            <a:off x="6324600" y="10"/>
            <a:ext cx="5867400" cy="6857990"/>
          </a:xfrm>
          <a:prstGeom prst="rect">
            <a:avLst/>
          </a:prstGeom>
          <a:noFill/>
        </p:spPr>
      </p:pic>
    </p:spTree>
    <p:extLst>
      <p:ext uri="{BB962C8B-B14F-4D97-AF65-F5344CB8AC3E}">
        <p14:creationId xmlns:p14="http://schemas.microsoft.com/office/powerpoint/2010/main" val="2711064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766887" y="470980"/>
            <a:ext cx="8658225" cy="504825"/>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a:ln>
                  <a:noFill/>
                </a:ln>
                <a:solidFill>
                  <a:srgbClr val="000000"/>
                </a:solidFill>
                <a:effectLst/>
                <a:uLnTx/>
                <a:uFillTx/>
                <a:latin typeface="Arial"/>
                <a:ea typeface="Verdana" panose="020B0604030504040204" pitchFamily="34" charset="0"/>
                <a:cs typeface="Verdana" panose="020B0604030504040204" pitchFamily="34" charset="0"/>
              </a:rPr>
              <a:t>Leadership Welcome</a:t>
            </a:r>
          </a:p>
        </p:txBody>
      </p:sp>
      <p:pic>
        <p:nvPicPr>
          <p:cNvPr id="11" name="Picture 10">
            <a:extLst>
              <a:ext uri="{FF2B5EF4-FFF2-40B4-BE49-F238E27FC236}">
                <a16:creationId xmlns:a16="http://schemas.microsoft.com/office/drawing/2014/main" id="{4DAFDCD3-3B8F-4786-8C58-281E86F57E88}"/>
              </a:ext>
            </a:extLst>
          </p:cNvPr>
          <p:cNvPicPr>
            <a:picLocks noChangeAspect="1"/>
          </p:cNvPicPr>
          <p:nvPr/>
        </p:nvPicPr>
        <p:blipFill>
          <a:blip r:embed="rId3"/>
          <a:stretch>
            <a:fillRect/>
          </a:stretch>
        </p:blipFill>
        <p:spPr>
          <a:xfrm>
            <a:off x="1654799" y="115558"/>
            <a:ext cx="4075433" cy="237268"/>
          </a:xfrm>
          <a:prstGeom prst="rect">
            <a:avLst/>
          </a:prstGeom>
        </p:spPr>
      </p:pic>
      <p:sp>
        <p:nvSpPr>
          <p:cNvPr id="14" name="Rectangle 13">
            <a:extLst>
              <a:ext uri="{FF2B5EF4-FFF2-40B4-BE49-F238E27FC236}">
                <a16:creationId xmlns:a16="http://schemas.microsoft.com/office/drawing/2014/main" id="{CA3D05F1-A696-4226-8365-7CF6E31436C1}"/>
              </a:ext>
            </a:extLst>
          </p:cNvPr>
          <p:cNvSpPr/>
          <p:nvPr/>
        </p:nvSpPr>
        <p:spPr>
          <a:xfrm>
            <a:off x="2152306" y="1042892"/>
            <a:ext cx="7868337" cy="52322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n-ea"/>
                <a:cs typeface="+mn-cs"/>
              </a:rPr>
              <a:t>Welcome GCC Members</a:t>
            </a:r>
          </a:p>
        </p:txBody>
      </p:sp>
      <p:sp>
        <p:nvSpPr>
          <p:cNvPr id="7" name="Rectangle 6">
            <a:extLst>
              <a:ext uri="{FF2B5EF4-FFF2-40B4-BE49-F238E27FC236}">
                <a16:creationId xmlns:a16="http://schemas.microsoft.com/office/drawing/2014/main" id="{E8CFFFB6-456B-4976-9587-A3BACDC412A3}"/>
              </a:ext>
            </a:extLst>
          </p:cNvPr>
          <p:cNvSpPr/>
          <p:nvPr/>
        </p:nvSpPr>
        <p:spPr>
          <a:xfrm>
            <a:off x="9444215" y="1941491"/>
            <a:ext cx="3141703" cy="1015663"/>
          </a:xfrm>
          <a:prstGeom prst="rect">
            <a:avLst/>
          </a:prstGeom>
          <a:noFill/>
        </p:spPr>
        <p:txBody>
          <a:bodyPr wrap="square" lIns="91440" tIns="45720" rIns="91440" bIns="45720" anchor="t">
            <a:spAutoFit/>
          </a:bodyPr>
          <a:lstStyle/>
          <a:p>
            <a:pPr>
              <a:defRPr/>
            </a:pPr>
            <a:r>
              <a:rPr lang="en-US" sz="2000" b="1" dirty="0">
                <a:solidFill>
                  <a:srgbClr val="000000"/>
                </a:solidFill>
                <a:latin typeface="Arial"/>
              </a:rPr>
              <a:t>Elliott</a:t>
            </a:r>
            <a:r>
              <a:rPr kumimoji="0" lang="en-US" sz="2000" b="1" i="0" u="none" strike="noStrike" kern="1200" cap="none" spc="0" normalizeH="0" baseline="0" noProof="0" dirty="0">
                <a:ln>
                  <a:noFill/>
                </a:ln>
                <a:solidFill>
                  <a:srgbClr val="000000"/>
                </a:solidFill>
                <a:effectLst/>
                <a:uLnTx/>
                <a:uFillTx/>
                <a:latin typeface="Arial"/>
                <a:ea typeface="+mn-ea"/>
                <a:cs typeface="+mn-cs"/>
              </a:rPr>
              <a:t> </a:t>
            </a:r>
            <a:r>
              <a:rPr lang="en-US" sz="2000" b="1" dirty="0">
                <a:solidFill>
                  <a:srgbClr val="000000"/>
                </a:solidFill>
                <a:latin typeface="Arial"/>
              </a:rPr>
              <a:t>Taub </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a:p>
            <a:pPr>
              <a:defRPr/>
            </a:pPr>
            <a:r>
              <a:rPr lang="en-US" sz="2000" dirty="0">
                <a:solidFill>
                  <a:srgbClr val="000000"/>
                </a:solidFill>
                <a:latin typeface="Arial"/>
              </a:rPr>
              <a:t>Director of Aviation</a:t>
            </a:r>
            <a:endParaRPr lang="en-US" sz="2000" b="0" i="0" u="none" strike="noStrike" kern="1200" cap="none" spc="0" normalizeH="0" baseline="0" noProof="0" dirty="0">
              <a:ln>
                <a:noFill/>
              </a:ln>
              <a:solidFill>
                <a:srgbClr val="000000"/>
              </a:solidFill>
              <a:effectLst/>
              <a:uLnTx/>
              <a:uFillTx/>
              <a:latin typeface="Arial"/>
              <a:cs typeface="Arial"/>
            </a:endParaRPr>
          </a:p>
          <a:p>
            <a:pPr>
              <a:defRPr/>
            </a:pPr>
            <a:r>
              <a:rPr lang="en-US" sz="2000" dirty="0">
                <a:solidFill>
                  <a:srgbClr val="000000"/>
                </a:solidFill>
                <a:latin typeface="Arial"/>
              </a:rPr>
              <a:t>Cardinal Health</a:t>
            </a:r>
            <a:endParaRPr lang="en-US" sz="2000" b="0" i="0" u="none" strike="noStrike" kern="1200" cap="none" spc="0" normalizeH="0" baseline="0" noProof="0" dirty="0">
              <a:ln>
                <a:noFill/>
              </a:ln>
              <a:solidFill>
                <a:srgbClr val="000000"/>
              </a:solidFill>
              <a:effectLst/>
              <a:uLnTx/>
              <a:uFillTx/>
              <a:latin typeface="Arial"/>
              <a:cs typeface="Arial"/>
            </a:endParaRPr>
          </a:p>
        </p:txBody>
      </p:sp>
      <p:sp>
        <p:nvSpPr>
          <p:cNvPr id="4" name="Rectangle 3">
            <a:extLst>
              <a:ext uri="{FF2B5EF4-FFF2-40B4-BE49-F238E27FC236}">
                <a16:creationId xmlns:a16="http://schemas.microsoft.com/office/drawing/2014/main" id="{6701620A-6DE3-2C73-C5C7-848A5F7D946E}"/>
              </a:ext>
            </a:extLst>
          </p:cNvPr>
          <p:cNvSpPr/>
          <p:nvPr/>
        </p:nvSpPr>
        <p:spPr>
          <a:xfrm>
            <a:off x="2261623" y="5532829"/>
            <a:ext cx="2473887" cy="1015663"/>
          </a:xfrm>
          <a:prstGeom prst="rect">
            <a:avLst/>
          </a:prstGeom>
          <a:noFill/>
        </p:spPr>
        <p:txBody>
          <a:bodyPr wrap="square" lIns="91440" tIns="45720" rIns="91440" bIns="45720" anchor="t">
            <a:spAutoFit/>
          </a:bodyPr>
          <a:lstStyle/>
          <a:p>
            <a:pPr>
              <a:defRPr/>
            </a:pPr>
            <a:r>
              <a:rPr lang="en-US" sz="2000" b="1" dirty="0">
                <a:solidFill>
                  <a:schemeClr val="tx2"/>
                </a:solidFill>
                <a:latin typeface="Arial"/>
                <a:cs typeface="Arial"/>
              </a:rPr>
              <a:t>Gerald Ferriss</a:t>
            </a:r>
            <a:endParaRPr kumimoji="0" lang="en-US" sz="2000" b="1" i="0" u="none" strike="noStrike" kern="1200" cap="none" spc="0" normalizeH="0" baseline="0" noProof="0" dirty="0">
              <a:ln>
                <a:noFill/>
              </a:ln>
              <a:solidFill>
                <a:schemeClr val="tx2"/>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GC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Electrical Chair</a:t>
            </a:r>
            <a:endParaRPr lang="en-US" sz="2000" b="0" i="0" u="none" strike="noStrike" kern="1200" cap="none" spc="0" normalizeH="0" baseline="0" noProof="0" dirty="0">
              <a:ln>
                <a:noFill/>
              </a:ln>
              <a:solidFill>
                <a:srgbClr val="000000"/>
              </a:solidFill>
              <a:effectLst/>
              <a:uLnTx/>
              <a:uFillTx/>
              <a:latin typeface="Arial"/>
              <a:cs typeface="Arial"/>
            </a:endParaRPr>
          </a:p>
        </p:txBody>
      </p:sp>
      <p:sp>
        <p:nvSpPr>
          <p:cNvPr id="6" name="Rectangle 5">
            <a:extLst>
              <a:ext uri="{FF2B5EF4-FFF2-40B4-BE49-F238E27FC236}">
                <a16:creationId xmlns:a16="http://schemas.microsoft.com/office/drawing/2014/main" id="{C86F4A04-25A3-0385-A8B7-8565F409EA1E}"/>
              </a:ext>
            </a:extLst>
          </p:cNvPr>
          <p:cNvSpPr/>
          <p:nvPr/>
        </p:nvSpPr>
        <p:spPr>
          <a:xfrm>
            <a:off x="10090515" y="5539164"/>
            <a:ext cx="2473887"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on McKun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GC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Operations Chair</a:t>
            </a:r>
          </a:p>
        </p:txBody>
      </p:sp>
      <p:sp>
        <p:nvSpPr>
          <p:cNvPr id="13" name="Rectangle 12">
            <a:extLst>
              <a:ext uri="{FF2B5EF4-FFF2-40B4-BE49-F238E27FC236}">
                <a16:creationId xmlns:a16="http://schemas.microsoft.com/office/drawing/2014/main" id="{77DF78A7-9B89-40C9-8EA8-D177050523E3}"/>
              </a:ext>
            </a:extLst>
          </p:cNvPr>
          <p:cNvSpPr/>
          <p:nvPr/>
        </p:nvSpPr>
        <p:spPr>
          <a:xfrm>
            <a:off x="9107631" y="1376704"/>
            <a:ext cx="3816721" cy="461665"/>
          </a:xfrm>
          <a:prstGeom prst="rect">
            <a:avLst/>
          </a:prstGeom>
          <a:noFill/>
        </p:spPr>
        <p:txBody>
          <a:bodyPr wrap="square" lIns="91440" tIns="45720" rIns="91440" bIns="4572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n-ea"/>
                <a:cs typeface="+mn-cs"/>
              </a:rPr>
              <a:t>Welcome </a:t>
            </a:r>
            <a:r>
              <a:rPr lang="en-US" b="1" dirty="0">
                <a:solidFill>
                  <a:srgbClr val="000000"/>
                </a:solidFill>
                <a:latin typeface="Arial"/>
              </a:rPr>
              <a:t>Guest</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15"/>
          <p:cNvSpPr/>
          <p:nvPr/>
        </p:nvSpPr>
        <p:spPr>
          <a:xfrm>
            <a:off x="2452227" y="3579805"/>
            <a:ext cx="2473887" cy="132343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mn-cs"/>
              </a:rPr>
              <a:t>Peter Zee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GC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Americas Chairman </a:t>
            </a:r>
            <a:r>
              <a:rPr kumimoji="0" lang="en-US" sz="2000" b="0" i="0" u="none" strike="noStrike" kern="1200" cap="none" spc="0" normalizeH="0" baseline="0" noProof="0" err="1">
                <a:ln>
                  <a:noFill/>
                </a:ln>
                <a:solidFill>
                  <a:srgbClr val="000000"/>
                </a:solidFill>
                <a:effectLst/>
                <a:uLnTx/>
                <a:uFillTx/>
                <a:latin typeface="Arial"/>
                <a:ea typeface="+mn-ea"/>
                <a:cs typeface="+mn-cs"/>
              </a:rPr>
              <a:t>Emeritas</a:t>
            </a:r>
            <a:endParaRPr kumimoji="0" lang="en-US" sz="2000" b="0" i="0" u="none" strike="noStrike" kern="1200" cap="none" spc="0" normalizeH="0" baseline="0" noProof="0">
              <a:ln>
                <a:noFill/>
              </a:ln>
              <a:solidFill>
                <a:srgbClr val="000000"/>
              </a:solidFill>
              <a:effectLst/>
              <a:uLnTx/>
              <a:uFillTx/>
              <a:latin typeface="Arial"/>
              <a:ea typeface="+mn-ea"/>
              <a:cs typeface="+mn-cs"/>
            </a:endParaRPr>
          </a:p>
        </p:txBody>
      </p:sp>
      <p:pic>
        <p:nvPicPr>
          <p:cNvPr id="17" name="Picture 16"/>
          <p:cNvPicPr>
            <a:picLocks/>
          </p:cNvPicPr>
          <p:nvPr/>
        </p:nvPicPr>
        <p:blipFill>
          <a:blip r:embed="rId4">
            <a:extLst>
              <a:ext uri="{28A0092B-C50C-407E-A947-70E740481C1C}">
                <a14:useLocalDpi xmlns:a14="http://schemas.microsoft.com/office/drawing/2010/main" val="0"/>
              </a:ext>
            </a:extLst>
          </a:blip>
          <a:stretch>
            <a:fillRect/>
          </a:stretch>
        </p:blipFill>
        <p:spPr>
          <a:xfrm>
            <a:off x="2452227" y="1606218"/>
            <a:ext cx="1728347" cy="1931218"/>
          </a:xfrm>
          <a:prstGeom prst="rect">
            <a:avLst/>
          </a:prstGeom>
        </p:spPr>
      </p:pic>
      <p:sp>
        <p:nvSpPr>
          <p:cNvPr id="18" name="Rectangle 17">
            <a:extLst>
              <a:ext uri="{FF2B5EF4-FFF2-40B4-BE49-F238E27FC236}">
                <a16:creationId xmlns:a16="http://schemas.microsoft.com/office/drawing/2014/main" id="{E7F06831-61AA-DA05-3310-83B0D418705A}"/>
              </a:ext>
            </a:extLst>
          </p:cNvPr>
          <p:cNvSpPr/>
          <p:nvPr/>
        </p:nvSpPr>
        <p:spPr>
          <a:xfrm>
            <a:off x="6269520" y="3579805"/>
            <a:ext cx="2473887"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mn-cs"/>
              </a:rPr>
              <a:t>Chris Christianso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GC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Americas Chairman</a:t>
            </a:r>
          </a:p>
        </p:txBody>
      </p:sp>
      <p:pic>
        <p:nvPicPr>
          <p:cNvPr id="5" name="Picture 4" descr="A person smiling at the camera&#10;&#10;Description automatically generated">
            <a:extLst>
              <a:ext uri="{FF2B5EF4-FFF2-40B4-BE49-F238E27FC236}">
                <a16:creationId xmlns:a16="http://schemas.microsoft.com/office/drawing/2014/main" id="{AA0C8C4C-C47D-7927-ADBF-9E121A4D6889}"/>
              </a:ext>
            </a:extLst>
          </p:cNvPr>
          <p:cNvPicPr>
            <a:picLocks noChangeAspect="1"/>
          </p:cNvPicPr>
          <p:nvPr/>
        </p:nvPicPr>
        <p:blipFill>
          <a:blip r:embed="rId5"/>
          <a:srcRect l="3185" t="11825" r="-679" b="-713"/>
          <a:stretch/>
        </p:blipFill>
        <p:spPr>
          <a:xfrm>
            <a:off x="8286931" y="4901171"/>
            <a:ext cx="1721320" cy="1707990"/>
          </a:xfrm>
          <a:prstGeom prst="rect">
            <a:avLst/>
          </a:prstGeom>
        </p:spPr>
      </p:pic>
      <p:pic>
        <p:nvPicPr>
          <p:cNvPr id="9" name="Picture 8" descr="A person in a suit and tie&#10;&#10;Description automatically generated">
            <a:extLst>
              <a:ext uri="{FF2B5EF4-FFF2-40B4-BE49-F238E27FC236}">
                <a16:creationId xmlns:a16="http://schemas.microsoft.com/office/drawing/2014/main" id="{9FF0F861-918A-64C4-F0E4-EFB894510ECD}"/>
              </a:ext>
            </a:extLst>
          </p:cNvPr>
          <p:cNvPicPr>
            <a:picLocks noChangeAspect="1"/>
          </p:cNvPicPr>
          <p:nvPr/>
        </p:nvPicPr>
        <p:blipFill>
          <a:blip r:embed="rId6"/>
          <a:srcRect l="11962" t="16901" r="9806" b="-469"/>
          <a:stretch/>
        </p:blipFill>
        <p:spPr>
          <a:xfrm>
            <a:off x="379992" y="4901171"/>
            <a:ext cx="1799367" cy="1787199"/>
          </a:xfrm>
          <a:prstGeom prst="rect">
            <a:avLst/>
          </a:prstGeom>
        </p:spPr>
      </p:pic>
      <p:pic>
        <p:nvPicPr>
          <p:cNvPr id="20" name="Picture 19" descr="A person in a black shirt&#10;&#10;Description automatically generated">
            <a:extLst>
              <a:ext uri="{FF2B5EF4-FFF2-40B4-BE49-F238E27FC236}">
                <a16:creationId xmlns:a16="http://schemas.microsoft.com/office/drawing/2014/main" id="{E632BEAA-C718-3659-0636-C7E2D9D95D8E}"/>
              </a:ext>
            </a:extLst>
          </p:cNvPr>
          <p:cNvPicPr>
            <a:picLocks noChangeAspect="1"/>
          </p:cNvPicPr>
          <p:nvPr/>
        </p:nvPicPr>
        <p:blipFill>
          <a:blip r:embed="rId7"/>
          <a:srcRect l="5966" t="10538" r="17575" b="40331"/>
          <a:stretch/>
        </p:blipFill>
        <p:spPr>
          <a:xfrm>
            <a:off x="6271711" y="1573874"/>
            <a:ext cx="1948352" cy="2005855"/>
          </a:xfrm>
          <a:prstGeom prst="rect">
            <a:avLst/>
          </a:prstGeom>
        </p:spPr>
      </p:pic>
      <p:sp>
        <p:nvSpPr>
          <p:cNvPr id="21" name="Rectangle 20">
            <a:extLst>
              <a:ext uri="{FF2B5EF4-FFF2-40B4-BE49-F238E27FC236}">
                <a16:creationId xmlns:a16="http://schemas.microsoft.com/office/drawing/2014/main" id="{F1E43BBD-BD62-6FB9-4C17-0187273A422C}"/>
              </a:ext>
            </a:extLst>
          </p:cNvPr>
          <p:cNvSpPr/>
          <p:nvPr/>
        </p:nvSpPr>
        <p:spPr>
          <a:xfrm>
            <a:off x="6095460" y="5532830"/>
            <a:ext cx="2473887" cy="1015663"/>
          </a:xfrm>
          <a:prstGeom prst="rect">
            <a:avLst/>
          </a:prstGeom>
          <a:noFill/>
        </p:spPr>
        <p:txBody>
          <a:bodyPr wrap="square">
            <a:spAutoFit/>
          </a:bodyPr>
          <a:lstStyle>
            <a:defPPr>
              <a:defRPr lang="en-US"/>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Brian Ree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GC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Mechanical Chair</a:t>
            </a:r>
          </a:p>
        </p:txBody>
      </p:sp>
      <p:pic>
        <p:nvPicPr>
          <p:cNvPr id="22" name="Picture 21" descr="A person smiling in front of a jet&#10;&#10;Description automatically generated">
            <a:extLst>
              <a:ext uri="{FF2B5EF4-FFF2-40B4-BE49-F238E27FC236}">
                <a16:creationId xmlns:a16="http://schemas.microsoft.com/office/drawing/2014/main" id="{3BF161C1-4FD2-8421-9C4D-EFA36C965AC1}"/>
              </a:ext>
            </a:extLst>
          </p:cNvPr>
          <p:cNvPicPr>
            <a:picLocks noChangeAspect="1"/>
          </p:cNvPicPr>
          <p:nvPr/>
        </p:nvPicPr>
        <p:blipFill>
          <a:blip r:embed="rId8"/>
          <a:srcRect l="27711" t="27969" r="11914" b="-945"/>
          <a:stretch/>
        </p:blipFill>
        <p:spPr>
          <a:xfrm>
            <a:off x="4277725" y="4901171"/>
            <a:ext cx="1732745" cy="1792665"/>
          </a:xfrm>
          <a:prstGeom prst="rect">
            <a:avLst/>
          </a:prstGeom>
        </p:spPr>
      </p:pic>
    </p:spTree>
    <p:extLst>
      <p:ext uri="{BB962C8B-B14F-4D97-AF65-F5344CB8AC3E}">
        <p14:creationId xmlns:p14="http://schemas.microsoft.com/office/powerpoint/2010/main" val="37495490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3ADBD1FA-67B1-4AFE-B454-1D875DDF4F95}"/>
              </a:ext>
            </a:extLst>
          </p:cNvPr>
          <p:cNvSpPr txBox="1">
            <a:spLocks/>
          </p:cNvSpPr>
          <p:nvPr/>
        </p:nvSpPr>
        <p:spPr>
          <a:xfrm>
            <a:off x="495299" y="234192"/>
            <a:ext cx="11201401" cy="411592"/>
          </a:xfrm>
          <a:prstGeom prst="rect">
            <a:avLst/>
          </a:prstGeom>
        </p:spPr>
        <p:txBody>
          <a:bodyPr/>
          <a:lst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charset="0"/>
              </a:defRPr>
            </a:lvl2pPr>
            <a:lvl3pPr algn="ctr" rtl="0" eaLnBrk="0" fontAlgn="base" hangingPunct="0">
              <a:spcBef>
                <a:spcPct val="0"/>
              </a:spcBef>
              <a:spcAft>
                <a:spcPct val="0"/>
              </a:spcAft>
              <a:defRPr sz="3200">
                <a:solidFill>
                  <a:schemeClr val="tx2"/>
                </a:solidFill>
                <a:latin typeface="Arial" charset="0"/>
              </a:defRPr>
            </a:lvl3pPr>
            <a:lvl4pPr algn="ctr" rtl="0" eaLnBrk="0" fontAlgn="base" hangingPunct="0">
              <a:spcBef>
                <a:spcPct val="0"/>
              </a:spcBef>
              <a:spcAft>
                <a:spcPct val="0"/>
              </a:spcAft>
              <a:defRPr sz="3200">
                <a:solidFill>
                  <a:schemeClr val="tx2"/>
                </a:solidFill>
                <a:latin typeface="Arial" charset="0"/>
              </a:defRPr>
            </a:lvl4pPr>
            <a:lvl5pPr algn="ctr" rtl="0" eaLnBrk="0" fontAlgn="base" hangingPunct="0">
              <a:spcBef>
                <a:spcPct val="0"/>
              </a:spcBef>
              <a:spcAft>
                <a:spcPct val="0"/>
              </a:spcAft>
              <a:defRPr sz="3200">
                <a:solidFill>
                  <a:schemeClr val="tx2"/>
                </a:solidFill>
                <a:latin typeface="Arial" charset="0"/>
              </a:defRPr>
            </a:lvl5pPr>
            <a:lvl6pPr marL="457189" algn="ctr" rtl="0" eaLnBrk="0" fontAlgn="base" hangingPunct="0">
              <a:spcBef>
                <a:spcPct val="0"/>
              </a:spcBef>
              <a:spcAft>
                <a:spcPct val="0"/>
              </a:spcAft>
              <a:defRPr sz="3200">
                <a:solidFill>
                  <a:schemeClr val="tx2"/>
                </a:solidFill>
                <a:latin typeface="Arial" charset="0"/>
              </a:defRPr>
            </a:lvl6pPr>
            <a:lvl7pPr marL="914377" algn="ctr" rtl="0" eaLnBrk="0" fontAlgn="base" hangingPunct="0">
              <a:spcBef>
                <a:spcPct val="0"/>
              </a:spcBef>
              <a:spcAft>
                <a:spcPct val="0"/>
              </a:spcAft>
              <a:defRPr sz="3200">
                <a:solidFill>
                  <a:schemeClr val="tx2"/>
                </a:solidFill>
                <a:latin typeface="Arial" charset="0"/>
              </a:defRPr>
            </a:lvl7pPr>
            <a:lvl8pPr marL="1371566" algn="ctr" rtl="0" eaLnBrk="0" fontAlgn="base" hangingPunct="0">
              <a:spcBef>
                <a:spcPct val="0"/>
              </a:spcBef>
              <a:spcAft>
                <a:spcPct val="0"/>
              </a:spcAft>
              <a:defRPr sz="3200">
                <a:solidFill>
                  <a:schemeClr val="tx2"/>
                </a:solidFill>
                <a:latin typeface="Arial" charset="0"/>
              </a:defRPr>
            </a:lvl8pPr>
            <a:lvl9pPr marL="1828754" algn="ctr" rtl="0" eaLnBrk="0" fontAlgn="base" hangingPunct="0">
              <a:spcBef>
                <a:spcPct val="0"/>
              </a:spcBef>
              <a:spcAft>
                <a:spcPct val="0"/>
              </a:spcAft>
              <a:defRPr sz="3200">
                <a:solidFill>
                  <a:schemeClr val="tx2"/>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Arial"/>
                <a:ea typeface="+mj-ea"/>
                <a:cs typeface="+mj-cs"/>
              </a:rPr>
              <a:t>General Sess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Arial"/>
                <a:ea typeface="+mj-ea"/>
                <a:cs typeface="+mj-cs"/>
              </a:rPr>
              <a:t>Tuesday, November 12</a:t>
            </a:r>
            <a:r>
              <a:rPr kumimoji="0" lang="en-US" sz="2400" b="1" i="0" u="none" strike="noStrike" kern="0" cap="none" spc="0" normalizeH="0" baseline="30000" noProof="0">
                <a:ln>
                  <a:noFill/>
                </a:ln>
                <a:solidFill>
                  <a:srgbClr val="000000"/>
                </a:solidFill>
                <a:effectLst/>
                <a:uLnTx/>
                <a:uFillTx/>
                <a:latin typeface="Arial"/>
                <a:ea typeface="+mj-ea"/>
                <a:cs typeface="+mj-cs"/>
              </a:rPr>
              <a:t>th</a:t>
            </a:r>
            <a:endParaRPr kumimoji="0" lang="en-US" sz="2400" b="1" i="0" u="none" strike="noStrike" kern="0" cap="none" spc="0" normalizeH="0" baseline="0" noProof="0">
              <a:ln>
                <a:noFill/>
              </a:ln>
              <a:solidFill>
                <a:srgbClr val="000000"/>
              </a:solidFill>
              <a:effectLst/>
              <a:uLnTx/>
              <a:uFillTx/>
              <a:latin typeface="Arial"/>
              <a:ea typeface="+mj-ea"/>
              <a:cs typeface="+mj-cs"/>
            </a:endParaRPr>
          </a:p>
        </p:txBody>
      </p:sp>
      <p:pic>
        <p:nvPicPr>
          <p:cNvPr id="8" name="Picture 7">
            <a:extLst>
              <a:ext uri="{FF2B5EF4-FFF2-40B4-BE49-F238E27FC236}">
                <a16:creationId xmlns:a16="http://schemas.microsoft.com/office/drawing/2014/main" id="{04979D09-763F-44E6-A5D3-E5B84752B304}"/>
              </a:ext>
            </a:extLst>
          </p:cNvPr>
          <p:cNvPicPr>
            <a:picLocks noChangeAspect="1"/>
          </p:cNvPicPr>
          <p:nvPr/>
        </p:nvPicPr>
        <p:blipFill>
          <a:blip r:embed="rId3"/>
          <a:stretch>
            <a:fillRect/>
          </a:stretch>
        </p:blipFill>
        <p:spPr>
          <a:xfrm>
            <a:off x="1626663" y="115558"/>
            <a:ext cx="4075433" cy="237268"/>
          </a:xfrm>
          <a:prstGeom prst="rect">
            <a:avLst/>
          </a:prstGeom>
        </p:spPr>
      </p:pic>
      <p:sp>
        <p:nvSpPr>
          <p:cNvPr id="6" name="Rectangle 2">
            <a:extLst>
              <a:ext uri="{FF2B5EF4-FFF2-40B4-BE49-F238E27FC236}">
                <a16:creationId xmlns:a16="http://schemas.microsoft.com/office/drawing/2014/main" id="{12EC20E9-A813-C332-B4F6-C93C11BD81B9}"/>
              </a:ext>
            </a:extLst>
          </p:cNvPr>
          <p:cNvSpPr>
            <a:spLocks noChangeArrowheads="1"/>
          </p:cNvSpPr>
          <p:nvPr/>
        </p:nvSpPr>
        <p:spPr bwMode="auto">
          <a:xfrm>
            <a:off x="5403795" y="1624693"/>
            <a:ext cx="65" cy="539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870" rIns="0" bIns="0" numCol="1" anchor="ctr" anchorCtr="0" compatLnSpc="1">
            <a:prstTxWarp prst="textNoShape">
              <a:avLst/>
            </a:prstTxWarp>
            <a:spAutoFit/>
          </a:bodyPr>
          <a:lstStyle>
            <a:lvl1pPr>
              <a:tabLst>
                <a:tab pos="541338" algn="l"/>
              </a:tabLst>
              <a:defRPr>
                <a:solidFill>
                  <a:schemeClr val="tx1"/>
                </a:solidFill>
                <a:latin typeface="Arial" panose="020B0604020202020204" pitchFamily="34" charset="0"/>
              </a:defRPr>
            </a:lvl1pPr>
            <a:lvl2pPr>
              <a:tabLst>
                <a:tab pos="541338" algn="l"/>
              </a:tabLst>
              <a:defRPr>
                <a:solidFill>
                  <a:schemeClr val="tx1"/>
                </a:solidFill>
                <a:latin typeface="Arial" panose="020B0604020202020204" pitchFamily="34" charset="0"/>
              </a:defRPr>
            </a:lvl2pPr>
            <a:lvl3pPr>
              <a:tabLst>
                <a:tab pos="541338" algn="l"/>
              </a:tabLst>
              <a:defRPr>
                <a:solidFill>
                  <a:schemeClr val="tx1"/>
                </a:solidFill>
                <a:latin typeface="Arial" panose="020B0604020202020204" pitchFamily="34" charset="0"/>
              </a:defRPr>
            </a:lvl3pPr>
            <a:lvl4pPr>
              <a:tabLst>
                <a:tab pos="541338" algn="l"/>
              </a:tabLst>
              <a:defRPr>
                <a:solidFill>
                  <a:schemeClr val="tx1"/>
                </a:solidFill>
                <a:latin typeface="Arial" panose="020B0604020202020204" pitchFamily="34" charset="0"/>
              </a:defRPr>
            </a:lvl4pPr>
            <a:lvl5pPr>
              <a:tabLst>
                <a:tab pos="541338" algn="l"/>
              </a:tabLst>
              <a:defRPr>
                <a:solidFill>
                  <a:schemeClr val="tx1"/>
                </a:solidFill>
                <a:latin typeface="Arial" panose="020B0604020202020204" pitchFamily="34" charset="0"/>
              </a:defRPr>
            </a:lvl5pPr>
            <a:lvl6pPr eaLnBrk="0" fontAlgn="base" hangingPunct="0">
              <a:spcBef>
                <a:spcPct val="0"/>
              </a:spcBef>
              <a:spcAft>
                <a:spcPct val="0"/>
              </a:spcAft>
              <a:tabLst>
                <a:tab pos="541338" algn="l"/>
              </a:tabLst>
              <a:defRPr>
                <a:solidFill>
                  <a:schemeClr val="tx1"/>
                </a:solidFill>
                <a:latin typeface="Arial" panose="020B0604020202020204" pitchFamily="34" charset="0"/>
              </a:defRPr>
            </a:lvl6pPr>
            <a:lvl7pPr eaLnBrk="0" fontAlgn="base" hangingPunct="0">
              <a:spcBef>
                <a:spcPct val="0"/>
              </a:spcBef>
              <a:spcAft>
                <a:spcPct val="0"/>
              </a:spcAft>
              <a:tabLst>
                <a:tab pos="541338" algn="l"/>
              </a:tabLst>
              <a:defRPr>
                <a:solidFill>
                  <a:schemeClr val="tx1"/>
                </a:solidFill>
                <a:latin typeface="Arial" panose="020B0604020202020204" pitchFamily="34" charset="0"/>
              </a:defRPr>
            </a:lvl7pPr>
            <a:lvl8pPr eaLnBrk="0" fontAlgn="base" hangingPunct="0">
              <a:spcBef>
                <a:spcPct val="0"/>
              </a:spcBef>
              <a:spcAft>
                <a:spcPct val="0"/>
              </a:spcAft>
              <a:tabLst>
                <a:tab pos="541338" algn="l"/>
              </a:tabLst>
              <a:defRPr>
                <a:solidFill>
                  <a:schemeClr val="tx1"/>
                </a:solidFill>
                <a:latin typeface="Arial" panose="020B0604020202020204" pitchFamily="34" charset="0"/>
              </a:defRPr>
            </a:lvl8pPr>
            <a:lvl9pPr eaLnBrk="0" fontAlgn="base" hangingPunct="0">
              <a:spcBef>
                <a:spcPct val="0"/>
              </a:spcBef>
              <a:spcAft>
                <a:spcPct val="0"/>
              </a:spcAft>
              <a:tabLst>
                <a:tab pos="541338"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541338" algn="l"/>
              </a:tabLst>
              <a:defRPr/>
            </a:pPr>
            <a:endPar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Arial Black" panose="020B0A04020102020204" pitchFamily="34"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tab pos="541338" algn="l"/>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 name="TextBox 4">
            <a:extLst>
              <a:ext uri="{FF2B5EF4-FFF2-40B4-BE49-F238E27FC236}">
                <a16:creationId xmlns:a16="http://schemas.microsoft.com/office/drawing/2014/main" id="{8CE0C36B-2B1D-7308-A2D4-DA93E35F9DE4}"/>
              </a:ext>
            </a:extLst>
          </p:cNvPr>
          <p:cNvSpPr txBox="1"/>
          <p:nvPr/>
        </p:nvSpPr>
        <p:spPr>
          <a:xfrm>
            <a:off x="10738855" y="1314528"/>
            <a:ext cx="1453146" cy="52322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Surve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End of day 2</a:t>
            </a:r>
          </a:p>
        </p:txBody>
      </p:sp>
      <p:graphicFrame>
        <p:nvGraphicFramePr>
          <p:cNvPr id="2" name="Table 1">
            <a:extLst>
              <a:ext uri="{FF2B5EF4-FFF2-40B4-BE49-F238E27FC236}">
                <a16:creationId xmlns:a16="http://schemas.microsoft.com/office/drawing/2014/main" id="{7D4C07B9-151A-5FA1-2928-83089B03F8F4}"/>
              </a:ext>
            </a:extLst>
          </p:cNvPr>
          <p:cNvGraphicFramePr>
            <a:graphicFrameLocks noGrp="1"/>
          </p:cNvGraphicFramePr>
          <p:nvPr>
            <p:extLst>
              <p:ext uri="{D42A27DB-BD31-4B8C-83A1-F6EECF244321}">
                <p14:modId xmlns:p14="http://schemas.microsoft.com/office/powerpoint/2010/main" val="365720323"/>
              </p:ext>
            </p:extLst>
          </p:nvPr>
        </p:nvGraphicFramePr>
        <p:xfrm>
          <a:off x="1626663" y="1168893"/>
          <a:ext cx="8841164" cy="4698810"/>
        </p:xfrm>
        <a:graphic>
          <a:graphicData uri="http://schemas.openxmlformats.org/drawingml/2006/table">
            <a:tbl>
              <a:tblPr/>
              <a:tblGrid>
                <a:gridCol w="1470025">
                  <a:extLst>
                    <a:ext uri="{9D8B030D-6E8A-4147-A177-3AD203B41FA5}">
                      <a16:colId xmlns:a16="http://schemas.microsoft.com/office/drawing/2014/main" val="1404372610"/>
                    </a:ext>
                  </a:extLst>
                </a:gridCol>
                <a:gridCol w="7371139">
                  <a:extLst>
                    <a:ext uri="{9D8B030D-6E8A-4147-A177-3AD203B41FA5}">
                      <a16:colId xmlns:a16="http://schemas.microsoft.com/office/drawing/2014/main" val="1729819737"/>
                    </a:ext>
                  </a:extLst>
                </a:gridCol>
              </a:tblGrid>
              <a:tr h="230125">
                <a:tc gridSpan="2">
                  <a:txBody>
                    <a:bodyPr/>
                    <a:lstStyle/>
                    <a:p>
                      <a:pPr algn="ctr" fontAlgn="b"/>
                      <a:r>
                        <a:rPr lang="en-US" sz="1800" b="1" i="0" u="none" strike="noStrike" dirty="0">
                          <a:solidFill>
                            <a:srgbClr val="000000"/>
                          </a:solidFill>
                          <a:effectLst/>
                          <a:latin typeface="Arial" panose="020B0604020202020204" pitchFamily="34" charset="0"/>
                        </a:rPr>
                        <a:t>DAY 1 AGENDA</a:t>
                      </a:r>
                    </a:p>
                  </a:txBody>
                  <a:tcPr marL="6350" marR="6350" marT="63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54024699"/>
                  </a:ext>
                </a:extLst>
              </a:tr>
              <a:tr h="236800">
                <a:tc>
                  <a:txBody>
                    <a:bodyPr/>
                    <a:lstStyle/>
                    <a:p>
                      <a:pPr algn="l" fontAlgn="b"/>
                      <a:r>
                        <a:rPr lang="en-US" sz="1200" b="1" i="0" u="none" strike="noStrike" dirty="0">
                          <a:solidFill>
                            <a:srgbClr val="000000"/>
                          </a:solidFill>
                          <a:effectLst/>
                          <a:latin typeface="Arial Black" panose="020B0A04020102020204" pitchFamily="34" charset="0"/>
                        </a:rPr>
                        <a:t>8:15 – 08:25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en-US" sz="1400" b="1" i="0" u="none" strike="noStrike">
                          <a:solidFill>
                            <a:srgbClr val="000000"/>
                          </a:solidFill>
                          <a:effectLst/>
                          <a:latin typeface="Arial" panose="020B0604020202020204" pitchFamily="34" charset="0"/>
                        </a:rPr>
                        <a:t>Honeywell Leadership Welcome - </a:t>
                      </a:r>
                      <a:r>
                        <a:rPr lang="en-US" sz="1400" b="0" i="0" u="none" strike="noStrike">
                          <a:solidFill>
                            <a:srgbClr val="000000"/>
                          </a:solidFill>
                          <a:effectLst/>
                          <a:latin typeface="Arial" panose="020B0604020202020204" pitchFamily="34" charset="0"/>
                        </a:rPr>
                        <a:t>Todd Owens, Malcolm Fleming, Toby Price &amp; Rod Kennan (10 min) </a:t>
                      </a:r>
                      <a:endParaRPr lang="en-US" sz="1400" b="1" i="0" u="none" strike="noStrike">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853591412"/>
                  </a:ext>
                </a:extLst>
              </a:tr>
              <a:tr h="236800">
                <a:tc>
                  <a:txBody>
                    <a:bodyPr/>
                    <a:lstStyle/>
                    <a:p>
                      <a:pPr algn="l" fontAlgn="b"/>
                      <a:r>
                        <a:rPr lang="en-US" sz="1200" b="1" i="0" u="none" strike="noStrike">
                          <a:solidFill>
                            <a:srgbClr val="000000"/>
                          </a:solidFill>
                          <a:effectLst/>
                          <a:latin typeface="Arial Black" panose="020B0A04020102020204" pitchFamily="34" charset="0"/>
                        </a:rPr>
                        <a:t>8:25 – 08:35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dirty="0">
                          <a:solidFill>
                            <a:srgbClr val="000000"/>
                          </a:solidFill>
                          <a:effectLst/>
                          <a:latin typeface="Arial" panose="020B0604020202020204" pitchFamily="34" charset="0"/>
                        </a:rPr>
                        <a:t>GCC Leadership Welcome -</a:t>
                      </a:r>
                      <a:r>
                        <a:rPr lang="en-US" sz="1400" b="0" i="0" u="none" strike="noStrike" dirty="0">
                          <a:solidFill>
                            <a:srgbClr val="000000"/>
                          </a:solidFill>
                          <a:effectLst/>
                          <a:latin typeface="Arial" panose="020B0604020202020204" pitchFamily="34" charset="0"/>
                        </a:rPr>
                        <a:t> Peter Zeeb, Chris Christianson, Brian Reed &amp; Ron McKune (10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1714658891"/>
                  </a:ext>
                </a:extLst>
              </a:tr>
              <a:tr h="236800">
                <a:tc>
                  <a:txBody>
                    <a:bodyPr/>
                    <a:lstStyle/>
                    <a:p>
                      <a:pPr algn="l" fontAlgn="b"/>
                      <a:r>
                        <a:rPr lang="en-US" sz="1200" b="1" i="0" u="none" strike="noStrike" dirty="0">
                          <a:solidFill>
                            <a:srgbClr val="000000"/>
                          </a:solidFill>
                          <a:effectLst/>
                          <a:latin typeface="Arial Black" panose="020B0A04020102020204" pitchFamily="34" charset="0"/>
                        </a:rPr>
                        <a:t>8:35 – 08:45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en-US" sz="1400" b="1" i="0" u="none" strike="noStrike">
                          <a:solidFill>
                            <a:srgbClr val="000000"/>
                          </a:solidFill>
                          <a:effectLst/>
                          <a:latin typeface="Arial" panose="020B0604020202020204" pitchFamily="34" charset="0"/>
                        </a:rPr>
                        <a:t>General Introductions </a:t>
                      </a:r>
                      <a:r>
                        <a:rPr lang="en-US" sz="1400" b="0" i="0" u="none" strike="noStrike">
                          <a:solidFill>
                            <a:srgbClr val="000000"/>
                          </a:solidFill>
                          <a:effectLst/>
                          <a:latin typeface="Arial" panose="020B0604020202020204" pitchFamily="34" charset="0"/>
                        </a:rPr>
                        <a:t>(10 min)</a:t>
                      </a:r>
                      <a:endParaRPr lang="en-US" sz="1400" b="1" i="0" u="none" strike="noStrike">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250050809"/>
                  </a:ext>
                </a:extLst>
              </a:tr>
              <a:tr h="236800">
                <a:tc>
                  <a:txBody>
                    <a:bodyPr/>
                    <a:lstStyle/>
                    <a:p>
                      <a:pPr algn="l" fontAlgn="b"/>
                      <a:r>
                        <a:rPr lang="en-US" sz="1200" b="1" i="0" u="none" strike="noStrike" dirty="0">
                          <a:solidFill>
                            <a:srgbClr val="000000"/>
                          </a:solidFill>
                          <a:effectLst/>
                          <a:latin typeface="Arial Black" panose="020B0A04020102020204" pitchFamily="34" charset="0"/>
                        </a:rPr>
                        <a:t>8:45 – 9:30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dirty="0">
                          <a:solidFill>
                            <a:srgbClr val="000000"/>
                          </a:solidFill>
                          <a:effectLst/>
                          <a:latin typeface="Arial" panose="020B0604020202020204" pitchFamily="34" charset="0"/>
                        </a:rPr>
                        <a:t>Support Updates –</a:t>
                      </a:r>
                      <a:r>
                        <a:rPr lang="en-US" sz="1400" b="0" i="0" u="none" strike="noStrike" dirty="0">
                          <a:solidFill>
                            <a:srgbClr val="000000"/>
                          </a:solidFill>
                          <a:effectLst/>
                          <a:latin typeface="Arial" panose="020B0604020202020204" pitchFamily="34" charset="0"/>
                        </a:rPr>
                        <a:t> Todd Owens, Malcolm Fleming, Rod Kennan (4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306796356"/>
                  </a:ext>
                </a:extLst>
              </a:tr>
              <a:tr h="236800">
                <a:tc>
                  <a:txBody>
                    <a:bodyPr/>
                    <a:lstStyle/>
                    <a:p>
                      <a:pPr algn="l" fontAlgn="b"/>
                      <a:r>
                        <a:rPr lang="en-US" sz="1200" b="1" i="0" u="none" strike="noStrike">
                          <a:solidFill>
                            <a:srgbClr val="000000"/>
                          </a:solidFill>
                          <a:effectLst/>
                          <a:latin typeface="Arial Black" panose="020B0A04020102020204" pitchFamily="34" charset="0"/>
                        </a:rPr>
                        <a:t>9:30 – 10:15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a:solidFill>
                            <a:srgbClr val="000000"/>
                          </a:solidFill>
                          <a:effectLst/>
                          <a:latin typeface="Arial" panose="020B0604020202020204" pitchFamily="34" charset="0"/>
                        </a:rPr>
                        <a:t>SPEX &amp; ERB – </a:t>
                      </a:r>
                      <a:r>
                        <a:rPr lang="en-US" sz="1400" b="0" i="0" u="none" strike="noStrike">
                          <a:solidFill>
                            <a:srgbClr val="000000"/>
                          </a:solidFill>
                          <a:effectLst/>
                          <a:latin typeface="Arial" panose="020B0604020202020204" pitchFamily="34" charset="0"/>
                        </a:rPr>
                        <a:t>Riley Shelton (45 min)  </a:t>
                      </a:r>
                      <a:endParaRPr lang="en-US" sz="1400" b="1" i="0" u="none" strike="noStrike">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617921310"/>
                  </a:ext>
                </a:extLst>
              </a:tr>
              <a:tr h="236800">
                <a:tc>
                  <a:txBody>
                    <a:bodyPr/>
                    <a:lstStyle/>
                    <a:p>
                      <a:pPr algn="l" fontAlgn="b"/>
                      <a:r>
                        <a:rPr lang="en-US" sz="1200" b="1" i="0" u="none" strike="noStrike">
                          <a:solidFill>
                            <a:srgbClr val="000000"/>
                          </a:solidFill>
                          <a:effectLst/>
                          <a:latin typeface="Arial Black" panose="020B0A04020102020204" pitchFamily="34" charset="0"/>
                        </a:rPr>
                        <a:t>10:15 – 10:30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en-US" sz="1400" b="1" i="0" u="none" strike="noStrike" dirty="0">
                          <a:solidFill>
                            <a:srgbClr val="000000"/>
                          </a:solidFill>
                          <a:effectLst/>
                          <a:latin typeface="Arial" panose="020B0604020202020204" pitchFamily="34" charset="0"/>
                        </a:rPr>
                        <a:t>Break </a:t>
                      </a:r>
                      <a:r>
                        <a:rPr lang="en-US" sz="1400" b="0" i="0" u="none" strike="noStrike" dirty="0">
                          <a:solidFill>
                            <a:srgbClr val="000000"/>
                          </a:solidFill>
                          <a:effectLst/>
                          <a:latin typeface="Arial" panose="020B0604020202020204" pitchFamily="34" charset="0"/>
                        </a:rPr>
                        <a:t>(1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350610489"/>
                  </a:ext>
                </a:extLst>
              </a:tr>
              <a:tr h="236800">
                <a:tc>
                  <a:txBody>
                    <a:bodyPr/>
                    <a:lstStyle/>
                    <a:p>
                      <a:pPr algn="l" fontAlgn="b"/>
                      <a:r>
                        <a:rPr lang="en-US" sz="1200" b="1" i="0" u="none" strike="noStrike">
                          <a:solidFill>
                            <a:srgbClr val="000000"/>
                          </a:solidFill>
                          <a:effectLst/>
                          <a:latin typeface="Arial Black" panose="020B0A04020102020204" pitchFamily="34" charset="0"/>
                        </a:rPr>
                        <a:t>10:30 - 11:00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nn-NO" sz="1400" b="1" i="0" u="none" strike="noStrike">
                          <a:solidFill>
                            <a:srgbClr val="000000"/>
                          </a:solidFill>
                          <a:effectLst/>
                          <a:latin typeface="Arial" panose="020B0604020202020204" pitchFamily="34" charset="0"/>
                        </a:rPr>
                        <a:t>R&amp;O Update -</a:t>
                      </a:r>
                      <a:r>
                        <a:rPr lang="nn-NO" sz="1400" b="0" i="0" u="none" strike="noStrike">
                          <a:solidFill>
                            <a:srgbClr val="000000"/>
                          </a:solidFill>
                          <a:effectLst/>
                          <a:latin typeface="Arial" panose="020B0604020202020204" pitchFamily="34" charset="0"/>
                        </a:rPr>
                        <a:t> Lesley King (30 min)</a:t>
                      </a:r>
                      <a:endParaRPr lang="nn-NO" sz="1400" b="1" i="0" u="none" strike="noStrike">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3557083954"/>
                  </a:ext>
                </a:extLst>
              </a:tr>
              <a:tr h="236800">
                <a:tc>
                  <a:txBody>
                    <a:bodyPr/>
                    <a:lstStyle/>
                    <a:p>
                      <a:pPr algn="l" fontAlgn="b"/>
                      <a:r>
                        <a:rPr lang="en-US" sz="1200" b="1" i="0" u="none" strike="noStrike">
                          <a:solidFill>
                            <a:srgbClr val="000000"/>
                          </a:solidFill>
                          <a:effectLst/>
                          <a:latin typeface="Arial Black" panose="020B0A04020102020204" pitchFamily="34" charset="0"/>
                        </a:rPr>
                        <a:t>11:00 – 11:45 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en-US" sz="1400" b="1" i="0" u="none" strike="noStrike" dirty="0">
                          <a:solidFill>
                            <a:srgbClr val="000000"/>
                          </a:solidFill>
                          <a:effectLst/>
                          <a:latin typeface="Arial" panose="020B0604020202020204" pitchFamily="34" charset="0"/>
                        </a:rPr>
                        <a:t>ISC Parts Delivery &amp; Support MOS – </a:t>
                      </a:r>
                      <a:r>
                        <a:rPr lang="en-US" sz="1400" b="0" i="0" u="none" strike="noStrike" dirty="0">
                          <a:solidFill>
                            <a:srgbClr val="000000"/>
                          </a:solidFill>
                          <a:effectLst/>
                          <a:latin typeface="Arial" panose="020B0604020202020204" pitchFamily="34" charset="0"/>
                        </a:rPr>
                        <a:t>Graham Davies, Edwin Leon, &amp; Nick Jarrett (4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169023058"/>
                  </a:ext>
                </a:extLst>
              </a:tr>
              <a:tr h="236800">
                <a:tc>
                  <a:txBody>
                    <a:bodyPr/>
                    <a:lstStyle/>
                    <a:p>
                      <a:pPr algn="l" fontAlgn="b"/>
                      <a:r>
                        <a:rPr lang="en-US" sz="1200" b="1" i="0" u="none" strike="noStrike">
                          <a:solidFill>
                            <a:srgbClr val="000000"/>
                          </a:solidFill>
                          <a:effectLst/>
                          <a:latin typeface="Arial Black" panose="020B0A04020102020204" pitchFamily="34" charset="0"/>
                        </a:rPr>
                        <a:t>11:45 – 12:1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E8E8E8"/>
                    </a:solidFill>
                  </a:tcPr>
                </a:tc>
                <a:tc>
                  <a:txBody>
                    <a:bodyPr/>
                    <a:lstStyle/>
                    <a:p>
                      <a:pPr algn="l" fontAlgn="b"/>
                      <a:r>
                        <a:rPr lang="en-US" sz="1400" b="1" i="0" u="none" strike="noStrike" dirty="0">
                          <a:solidFill>
                            <a:srgbClr val="000000"/>
                          </a:solidFill>
                          <a:effectLst/>
                          <a:latin typeface="Arial" panose="020B0604020202020204" pitchFamily="34" charset="0"/>
                        </a:rPr>
                        <a:t>Lunch – </a:t>
                      </a:r>
                      <a:r>
                        <a:rPr lang="en-US" sz="1400" b="0" i="0" u="none" strike="noStrike" dirty="0">
                          <a:solidFill>
                            <a:srgbClr val="000000"/>
                          </a:solidFill>
                          <a:effectLst/>
                          <a:latin typeface="Arial" panose="020B0604020202020204" pitchFamily="34" charset="0"/>
                        </a:rPr>
                        <a:t>(30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1274051918"/>
                  </a:ext>
                </a:extLst>
              </a:tr>
              <a:tr h="236800">
                <a:tc>
                  <a:txBody>
                    <a:bodyPr/>
                    <a:lstStyle/>
                    <a:p>
                      <a:pPr algn="l" fontAlgn="b"/>
                      <a:r>
                        <a:rPr lang="en-US" sz="1200" b="1" i="0" u="none" strike="noStrike">
                          <a:solidFill>
                            <a:srgbClr val="000000"/>
                          </a:solidFill>
                          <a:effectLst/>
                          <a:latin typeface="Arial Black" panose="020B0A04020102020204" pitchFamily="34" charset="0"/>
                        </a:rPr>
                        <a:t>12:15 – 1:00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b"/>
                      <a:r>
                        <a:rPr lang="en-US" sz="1400" b="1" i="0" u="none" strike="noStrike" dirty="0">
                          <a:solidFill>
                            <a:srgbClr val="000000"/>
                          </a:solidFill>
                          <a:effectLst/>
                          <a:latin typeface="Arial" panose="020B0604020202020204" pitchFamily="34" charset="0"/>
                        </a:rPr>
                        <a:t>Product Licensing &amp; Ontic Update – </a:t>
                      </a:r>
                      <a:r>
                        <a:rPr lang="en-US" sz="1400" b="0" i="0" u="none" strike="noStrike" dirty="0">
                          <a:solidFill>
                            <a:srgbClr val="000000"/>
                          </a:solidFill>
                          <a:effectLst/>
                          <a:latin typeface="Arial" panose="020B0604020202020204" pitchFamily="34" charset="0"/>
                        </a:rPr>
                        <a:t>Todd Owens,  Jason Locklar, Vanessa </a:t>
                      </a:r>
                      <a:r>
                        <a:rPr lang="en-US" sz="1400" b="0" i="0" u="none" strike="noStrike" dirty="0" err="1">
                          <a:solidFill>
                            <a:srgbClr val="000000"/>
                          </a:solidFill>
                          <a:effectLst/>
                          <a:latin typeface="Arial" panose="020B0604020202020204" pitchFamily="34" charset="0"/>
                        </a:rPr>
                        <a:t>Pleitez</a:t>
                      </a:r>
                      <a:r>
                        <a:rPr lang="en-US" sz="1400" b="0" i="0" u="none" strike="noStrike" dirty="0">
                          <a:solidFill>
                            <a:srgbClr val="000000"/>
                          </a:solidFill>
                          <a:effectLst/>
                          <a:latin typeface="Arial" panose="020B0604020202020204" pitchFamily="34" charset="0"/>
                        </a:rPr>
                        <a:t> (4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2543492372"/>
                  </a:ext>
                </a:extLst>
              </a:tr>
              <a:tr h="236800">
                <a:tc>
                  <a:txBody>
                    <a:bodyPr/>
                    <a:lstStyle/>
                    <a:p>
                      <a:pPr algn="l" fontAlgn="b"/>
                      <a:r>
                        <a:rPr lang="en-US" sz="1200" b="1" i="0" u="none" strike="noStrike">
                          <a:solidFill>
                            <a:srgbClr val="000000"/>
                          </a:solidFill>
                          <a:effectLst/>
                          <a:latin typeface="Arial Black" panose="020B0A04020102020204" pitchFamily="34" charset="0"/>
                        </a:rPr>
                        <a:t>1:00 – 1:30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E8E8E8"/>
                    </a:solidFill>
                  </a:tcPr>
                </a:tc>
                <a:tc>
                  <a:txBody>
                    <a:bodyPr/>
                    <a:lstStyle/>
                    <a:p>
                      <a:pPr algn="l" fontAlgn="b"/>
                      <a:r>
                        <a:rPr lang="en-US" sz="1400" b="1" i="0" u="none" strike="noStrike" dirty="0">
                          <a:solidFill>
                            <a:srgbClr val="000000"/>
                          </a:solidFill>
                          <a:effectLst/>
                          <a:latin typeface="Arial" panose="020B0604020202020204" pitchFamily="34" charset="0"/>
                        </a:rPr>
                        <a:t>AOG Update – </a:t>
                      </a:r>
                      <a:r>
                        <a:rPr lang="en-US" sz="1400" b="0" i="0" u="none" strike="noStrike" dirty="0">
                          <a:solidFill>
                            <a:srgbClr val="000000"/>
                          </a:solidFill>
                          <a:effectLst/>
                          <a:latin typeface="Arial" panose="020B0604020202020204" pitchFamily="34" charset="0"/>
                        </a:rPr>
                        <a:t>Ryan Soethe (30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2308356401"/>
                  </a:ext>
                </a:extLst>
              </a:tr>
              <a:tr h="236800">
                <a:tc>
                  <a:txBody>
                    <a:bodyPr/>
                    <a:lstStyle/>
                    <a:p>
                      <a:pPr algn="l" fontAlgn="b"/>
                      <a:r>
                        <a:rPr lang="en-US" sz="1200" b="1" i="0" u="none" strike="noStrike">
                          <a:solidFill>
                            <a:srgbClr val="000000"/>
                          </a:solidFill>
                          <a:effectLst/>
                          <a:latin typeface="Arial Black" panose="020B0A04020102020204" pitchFamily="34" charset="0"/>
                        </a:rPr>
                        <a:t>1:30 – 2:1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tc>
                  <a:txBody>
                    <a:bodyPr/>
                    <a:lstStyle/>
                    <a:p>
                      <a:pPr algn="l" fontAlgn="b"/>
                      <a:r>
                        <a:rPr lang="en-US" sz="1400" b="1" i="0" u="none" strike="noStrike" dirty="0" err="1">
                          <a:solidFill>
                            <a:srgbClr val="000000"/>
                          </a:solidFill>
                          <a:effectLst/>
                          <a:latin typeface="Arial" panose="020B0604020202020204" pitchFamily="34" charset="0"/>
                        </a:rPr>
                        <a:t>MyAerospace</a:t>
                      </a:r>
                      <a:r>
                        <a:rPr lang="en-US" sz="1400" b="1" i="0" u="none" strike="noStrike" dirty="0">
                          <a:solidFill>
                            <a:srgbClr val="000000"/>
                          </a:solidFill>
                          <a:effectLst/>
                          <a:latin typeface="Arial" panose="020B0604020202020204" pitchFamily="34" charset="0"/>
                        </a:rPr>
                        <a:t> Portal Updates</a:t>
                      </a:r>
                      <a:r>
                        <a:rPr lang="en-US" sz="1400" b="0" i="0" u="none" strike="noStrike" dirty="0">
                          <a:solidFill>
                            <a:srgbClr val="000000"/>
                          </a:solidFill>
                          <a:effectLst/>
                          <a:latin typeface="Arial" panose="020B0604020202020204" pitchFamily="34" charset="0"/>
                        </a:rPr>
                        <a:t>– Keith Doty (4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413399157"/>
                  </a:ext>
                </a:extLst>
              </a:tr>
              <a:tr h="236800">
                <a:tc>
                  <a:txBody>
                    <a:bodyPr/>
                    <a:lstStyle/>
                    <a:p>
                      <a:pPr algn="l" fontAlgn="b"/>
                      <a:r>
                        <a:rPr lang="en-US" sz="1200" b="1" i="0" u="none" strike="noStrike">
                          <a:solidFill>
                            <a:srgbClr val="000000"/>
                          </a:solidFill>
                          <a:effectLst/>
                          <a:latin typeface="Arial Black" panose="020B0A04020102020204" pitchFamily="34" charset="0"/>
                        </a:rPr>
                        <a:t>2:15 – 2:30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dirty="0">
                          <a:solidFill>
                            <a:srgbClr val="000000"/>
                          </a:solidFill>
                          <a:effectLst/>
                          <a:latin typeface="Arial" panose="020B0604020202020204" pitchFamily="34" charset="0"/>
                        </a:rPr>
                        <a:t>Break</a:t>
                      </a:r>
                      <a:r>
                        <a:rPr lang="en-US" sz="1400" b="0" i="0" u="none" strike="noStrike" dirty="0">
                          <a:solidFill>
                            <a:srgbClr val="000000"/>
                          </a:solidFill>
                          <a:effectLst/>
                          <a:latin typeface="Arial" panose="020B0604020202020204" pitchFamily="34" charset="0"/>
                        </a:rPr>
                        <a:t> (1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1740094643"/>
                  </a:ext>
                </a:extLst>
              </a:tr>
              <a:tr h="236800">
                <a:tc>
                  <a:txBody>
                    <a:bodyPr/>
                    <a:lstStyle/>
                    <a:p>
                      <a:pPr algn="l" fontAlgn="b"/>
                      <a:r>
                        <a:rPr lang="en-US" sz="1200" b="1" i="0" u="none" strike="noStrike">
                          <a:solidFill>
                            <a:srgbClr val="000000"/>
                          </a:solidFill>
                          <a:effectLst/>
                          <a:latin typeface="Arial Black" panose="020B0A04020102020204" pitchFamily="34" charset="0"/>
                        </a:rPr>
                        <a:t>2:30 - 2:4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dirty="0">
                          <a:solidFill>
                            <a:srgbClr val="000000"/>
                          </a:solidFill>
                          <a:effectLst/>
                          <a:latin typeface="Arial" panose="020B0604020202020204" pitchFamily="34" charset="0"/>
                        </a:rPr>
                        <a:t>Cabin Management</a:t>
                      </a: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3595679035"/>
                  </a:ext>
                </a:extLst>
              </a:tr>
              <a:tr h="236800">
                <a:tc>
                  <a:txBody>
                    <a:bodyPr/>
                    <a:lstStyle/>
                    <a:p>
                      <a:pPr algn="l" fontAlgn="b"/>
                      <a:r>
                        <a:rPr lang="en-US" sz="1200" b="1" i="0" u="none" strike="noStrike">
                          <a:solidFill>
                            <a:srgbClr val="000000"/>
                          </a:solidFill>
                          <a:effectLst/>
                          <a:latin typeface="Arial Black" panose="020B0A04020102020204" pitchFamily="34" charset="0"/>
                        </a:rPr>
                        <a:t>2:45 – 3:1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tc>
                  <a:txBody>
                    <a:bodyPr/>
                    <a:lstStyle/>
                    <a:p>
                      <a:pPr algn="l" fontAlgn="b"/>
                      <a:r>
                        <a:rPr lang="en-US" sz="1400" b="1" i="0" u="none" strike="noStrike" dirty="0">
                          <a:solidFill>
                            <a:srgbClr val="000000"/>
                          </a:solidFill>
                          <a:effectLst/>
                          <a:latin typeface="Arial" panose="020B0604020202020204" pitchFamily="34" charset="0"/>
                        </a:rPr>
                        <a:t>Advisory Input - Discuss Pre event questions </a:t>
                      </a:r>
                      <a:r>
                        <a:rPr lang="en-US" sz="1400" b="0" i="0" u="none" strike="noStrike" dirty="0">
                          <a:solidFill>
                            <a:srgbClr val="000000"/>
                          </a:solidFill>
                          <a:effectLst/>
                          <a:latin typeface="Arial" panose="020B0604020202020204" pitchFamily="34" charset="0"/>
                        </a:rPr>
                        <a:t>(30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3623865692"/>
                  </a:ext>
                </a:extLst>
              </a:tr>
              <a:tr h="236800">
                <a:tc>
                  <a:txBody>
                    <a:bodyPr/>
                    <a:lstStyle/>
                    <a:p>
                      <a:pPr algn="l" fontAlgn="b"/>
                      <a:r>
                        <a:rPr lang="en-US" sz="1200" b="1" i="0" u="none" strike="noStrike" dirty="0">
                          <a:solidFill>
                            <a:srgbClr val="000000"/>
                          </a:solidFill>
                          <a:effectLst/>
                          <a:latin typeface="Arial Black" panose="020B0A04020102020204" pitchFamily="34" charset="0"/>
                        </a:rPr>
                        <a:t>3:15 - 3:4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tc>
                  <a:txBody>
                    <a:bodyPr/>
                    <a:lstStyle/>
                    <a:p>
                      <a:pPr algn="l" fontAlgn="b"/>
                      <a:r>
                        <a:rPr lang="en-US" sz="1400" b="1" i="0" u="none" strike="noStrike" dirty="0">
                          <a:solidFill>
                            <a:srgbClr val="000000"/>
                          </a:solidFill>
                          <a:effectLst/>
                          <a:latin typeface="Arial" panose="020B0604020202020204" pitchFamily="34" charset="0"/>
                        </a:rPr>
                        <a:t>Wrap up / Key Action Capture</a:t>
                      </a:r>
                      <a:r>
                        <a:rPr lang="en-US" sz="1400" b="0" i="0" u="none" strike="noStrike" dirty="0">
                          <a:solidFill>
                            <a:srgbClr val="000000"/>
                          </a:solidFill>
                          <a:effectLst/>
                          <a:latin typeface="Arial" panose="020B0604020202020204" pitchFamily="34" charset="0"/>
                        </a:rPr>
                        <a:t> (45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46616356"/>
                  </a:ext>
                </a:extLst>
              </a:tr>
              <a:tr h="236800">
                <a:tc>
                  <a:txBody>
                    <a:bodyPr/>
                    <a:lstStyle/>
                    <a:p>
                      <a:pPr algn="l" fontAlgn="b"/>
                      <a:r>
                        <a:rPr lang="en-US" sz="1200" b="1" i="0" u="none" strike="noStrike">
                          <a:solidFill>
                            <a:srgbClr val="000000"/>
                          </a:solidFill>
                          <a:effectLst/>
                          <a:latin typeface="Arial Black" panose="020B0A04020102020204" pitchFamily="34" charset="0"/>
                        </a:rPr>
                        <a:t>3:45 - 4:15 P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1" i="0" u="none" strike="noStrike" dirty="0">
                          <a:solidFill>
                            <a:srgbClr val="000000"/>
                          </a:solidFill>
                          <a:effectLst/>
                          <a:latin typeface="Arial" panose="020B0604020202020204" pitchFamily="34" charset="0"/>
                        </a:rPr>
                        <a:t>All GCC Chairs – Meet on GCC go forward </a:t>
                      </a:r>
                      <a:r>
                        <a:rPr lang="en-US" sz="1400" b="0" i="0" u="none" strike="noStrike" dirty="0">
                          <a:solidFill>
                            <a:srgbClr val="000000"/>
                          </a:solidFill>
                          <a:effectLst/>
                          <a:latin typeface="Arial" panose="020B0604020202020204" pitchFamily="34" charset="0"/>
                        </a:rPr>
                        <a:t>(30 min)</a:t>
                      </a:r>
                      <a:endParaRPr lang="en-US" sz="1400" b="1" i="0" u="none" strike="noStrike" dirty="0">
                        <a:solidFill>
                          <a:srgbClr val="000000"/>
                        </a:solidFill>
                        <a:effectLst/>
                        <a:latin typeface="Arial" panose="020B0604020202020204" pitchFamily="34" charset="0"/>
                      </a:endParaRPr>
                    </a:p>
                  </a:txBody>
                  <a:tcPr marL="6350" marR="6350" marT="6350" marB="0" anchor="b">
                    <a:lnL w="635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873016"/>
                  </a:ext>
                </a:extLst>
              </a:tr>
            </a:tbl>
          </a:graphicData>
        </a:graphic>
      </p:graphicFrame>
      <p:pic>
        <p:nvPicPr>
          <p:cNvPr id="1025" name="Picture 1">
            <a:extLst>
              <a:ext uri="{FF2B5EF4-FFF2-40B4-BE49-F238E27FC236}">
                <a16:creationId xmlns:a16="http://schemas.microsoft.com/office/drawing/2014/main" id="{E7BCD83C-39CE-8E8E-2790-E52B59D9BE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11067" y="0"/>
            <a:ext cx="1249128" cy="1271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Table 8">
            <a:extLst>
              <a:ext uri="{FF2B5EF4-FFF2-40B4-BE49-F238E27FC236}">
                <a16:creationId xmlns:a16="http://schemas.microsoft.com/office/drawing/2014/main" id="{DF02A8BB-C0C8-091E-DF80-9F347ED1FE92}"/>
              </a:ext>
            </a:extLst>
          </p:cNvPr>
          <p:cNvGraphicFramePr>
            <a:graphicFrameLocks noGrp="1"/>
          </p:cNvGraphicFramePr>
          <p:nvPr>
            <p:extLst>
              <p:ext uri="{D42A27DB-BD31-4B8C-83A1-F6EECF244321}">
                <p14:modId xmlns:p14="http://schemas.microsoft.com/office/powerpoint/2010/main" val="1770478483"/>
              </p:ext>
            </p:extLst>
          </p:nvPr>
        </p:nvGraphicFramePr>
        <p:xfrm>
          <a:off x="1626663" y="5948853"/>
          <a:ext cx="8948220" cy="625528"/>
        </p:xfrm>
        <a:graphic>
          <a:graphicData uri="http://schemas.openxmlformats.org/drawingml/2006/table">
            <a:tbl>
              <a:tblPr>
                <a:tableStyleId>{5940675A-B579-460E-94D1-54222C63F5DA}</a:tableStyleId>
              </a:tblPr>
              <a:tblGrid>
                <a:gridCol w="1583594">
                  <a:extLst>
                    <a:ext uri="{9D8B030D-6E8A-4147-A177-3AD203B41FA5}">
                      <a16:colId xmlns:a16="http://schemas.microsoft.com/office/drawing/2014/main" val="257450983"/>
                    </a:ext>
                  </a:extLst>
                </a:gridCol>
                <a:gridCol w="7364626">
                  <a:extLst>
                    <a:ext uri="{9D8B030D-6E8A-4147-A177-3AD203B41FA5}">
                      <a16:colId xmlns:a16="http://schemas.microsoft.com/office/drawing/2014/main" val="267693244"/>
                    </a:ext>
                  </a:extLst>
                </a:gridCol>
              </a:tblGrid>
              <a:tr h="318065">
                <a:tc>
                  <a:txBody>
                    <a:bodyPr/>
                    <a:lstStyle/>
                    <a:p>
                      <a:pPr marL="0" algn="l" defTabSz="914377" rtl="0" eaLnBrk="1" fontAlgn="b" latinLnBrk="0" hangingPunct="1"/>
                      <a:r>
                        <a:rPr lang="en-US" sz="1400" b="1" u="none" strike="noStrike" kern="1200" dirty="0">
                          <a:solidFill>
                            <a:srgbClr val="000000"/>
                          </a:solidFill>
                          <a:effectLst/>
                          <a:highlight>
                            <a:srgbClr val="E6E6E6"/>
                          </a:highlight>
                        </a:rPr>
                        <a:t>Pilot breakout</a:t>
                      </a:r>
                      <a:endParaRPr lang="en-US" sz="1400" b="1" i="0" u="none" strike="noStrike" kern="1200" dirty="0">
                        <a:solidFill>
                          <a:srgbClr val="000000"/>
                        </a:solidFill>
                        <a:effectLst/>
                        <a:highlight>
                          <a:srgbClr val="E6E6E6"/>
                        </a:highlight>
                        <a:latin typeface="Arial Black" panose="020B0A04020102020204" pitchFamily="34" charset="0"/>
                        <a:ea typeface="+mn-ea"/>
                        <a:cs typeface="+mn-cs"/>
                      </a:endParaRPr>
                    </a:p>
                  </a:txBody>
                  <a:tcPr marL="6350" marR="6350" marT="6350" marB="0" anchor="ctr">
                    <a:solidFill>
                      <a:srgbClr val="E6E6E6"/>
                    </a:solidFill>
                  </a:tcPr>
                </a:tc>
                <a:tc>
                  <a:txBody>
                    <a:bodyPr/>
                    <a:lstStyle/>
                    <a:p>
                      <a:pPr marL="0" algn="l" defTabSz="914377" rtl="0" eaLnBrk="1" fontAlgn="b" latinLnBrk="0" hangingPunct="1"/>
                      <a:r>
                        <a:rPr lang="en-US" sz="1400" b="1" u="none" strike="noStrike" kern="1200" dirty="0">
                          <a:solidFill>
                            <a:srgbClr val="000000"/>
                          </a:solidFill>
                          <a:effectLst/>
                          <a:highlight>
                            <a:srgbClr val="E6E6E6"/>
                          </a:highlight>
                        </a:rPr>
                        <a:t>FMS Guided Visuals, Chart VOC </a:t>
                      </a:r>
                      <a:r>
                        <a:rPr lang="en-US" sz="1400" b="0" u="none" strike="noStrike" kern="1200" dirty="0">
                          <a:solidFill>
                            <a:srgbClr val="000000"/>
                          </a:solidFill>
                          <a:effectLst/>
                          <a:highlight>
                            <a:srgbClr val="E6E6E6"/>
                          </a:highlight>
                        </a:rPr>
                        <a:t>- Erik Tobler (45 min) </a:t>
                      </a:r>
                      <a:endParaRPr lang="en-US" sz="1400" b="0" i="0" u="none" strike="noStrike" kern="1200" dirty="0">
                        <a:solidFill>
                          <a:srgbClr val="000000"/>
                        </a:solidFill>
                        <a:effectLst/>
                        <a:highlight>
                          <a:srgbClr val="E6E6E6"/>
                        </a:highlight>
                        <a:latin typeface="Arial Black" panose="020B0A04020102020204" pitchFamily="34" charset="0"/>
                        <a:ea typeface="+mn-ea"/>
                        <a:cs typeface="+mn-cs"/>
                      </a:endParaRPr>
                    </a:p>
                  </a:txBody>
                  <a:tcPr marL="6350" marR="6350" marT="6350" marB="0" anchor="ctr">
                    <a:solidFill>
                      <a:srgbClr val="E6E6E6"/>
                    </a:solidFill>
                  </a:tcPr>
                </a:tc>
                <a:extLst>
                  <a:ext uri="{0D108BD9-81ED-4DB2-BD59-A6C34878D82A}">
                    <a16:rowId xmlns:a16="http://schemas.microsoft.com/office/drawing/2014/main" val="4149640917"/>
                  </a:ext>
                </a:extLst>
              </a:tr>
              <a:tr h="307463">
                <a:tc>
                  <a:txBody>
                    <a:bodyPr/>
                    <a:lstStyle/>
                    <a:p>
                      <a:pPr marL="0" algn="l" defTabSz="914377" rtl="0" eaLnBrk="1" fontAlgn="b" latinLnBrk="0" hangingPunct="1"/>
                      <a:r>
                        <a:rPr lang="en-US" sz="1400" b="1" u="none" strike="noStrike" kern="1200" dirty="0">
                          <a:solidFill>
                            <a:srgbClr val="000000"/>
                          </a:solidFill>
                          <a:effectLst/>
                        </a:rPr>
                        <a:t>Pilot breakout</a:t>
                      </a:r>
                      <a:endParaRPr lang="en-US" sz="1400" b="1" i="0" u="none" strike="noStrike" kern="1200" dirty="0">
                        <a:solidFill>
                          <a:srgbClr val="000000"/>
                        </a:solidFill>
                        <a:effectLst/>
                        <a:latin typeface="Arial Black" panose="020B0A04020102020204" pitchFamily="34" charset="0"/>
                        <a:ea typeface="+mn-ea"/>
                        <a:cs typeface="+mn-cs"/>
                      </a:endParaRPr>
                    </a:p>
                  </a:txBody>
                  <a:tcPr marL="6350" marR="6350" marT="6350" marB="0" anchor="ctr"/>
                </a:tc>
                <a:tc>
                  <a:txBody>
                    <a:bodyPr/>
                    <a:lstStyle/>
                    <a:p>
                      <a:pPr marL="0" algn="l" defTabSz="914377" rtl="0" eaLnBrk="1" fontAlgn="b" latinLnBrk="0" hangingPunct="1"/>
                      <a:r>
                        <a:rPr lang="en-US" sz="1400" b="1" u="none" strike="noStrike" kern="1200" dirty="0">
                          <a:solidFill>
                            <a:srgbClr val="000000"/>
                          </a:solidFill>
                          <a:effectLst/>
                        </a:rPr>
                        <a:t>FMS Users Forum </a:t>
                      </a:r>
                      <a:r>
                        <a:rPr lang="en-US" sz="1400" b="0" u="none" strike="noStrike" kern="1200" dirty="0">
                          <a:solidFill>
                            <a:srgbClr val="000000"/>
                          </a:solidFill>
                          <a:effectLst/>
                        </a:rPr>
                        <a:t>- Yasutaka Miyazaki and Robert Son (90 min)  </a:t>
                      </a:r>
                      <a:endParaRPr lang="en-US" sz="1400" b="0" i="0" u="none" strike="noStrike" kern="1200" dirty="0">
                        <a:solidFill>
                          <a:srgbClr val="000000"/>
                        </a:solidFill>
                        <a:effectLst/>
                        <a:latin typeface="Arial Black" panose="020B0A04020102020204" pitchFamily="34" charset="0"/>
                        <a:ea typeface="+mn-ea"/>
                        <a:cs typeface="+mn-cs"/>
                      </a:endParaRPr>
                    </a:p>
                  </a:txBody>
                  <a:tcPr marL="6350" marR="6350" marT="6350" marB="0" anchor="ctr"/>
                </a:tc>
                <a:extLst>
                  <a:ext uri="{0D108BD9-81ED-4DB2-BD59-A6C34878D82A}">
                    <a16:rowId xmlns:a16="http://schemas.microsoft.com/office/drawing/2014/main" val="2558018315"/>
                  </a:ext>
                </a:extLst>
              </a:tr>
            </a:tbl>
          </a:graphicData>
        </a:graphic>
      </p:graphicFrame>
    </p:spTree>
    <p:extLst>
      <p:ext uri="{BB962C8B-B14F-4D97-AF65-F5344CB8AC3E}">
        <p14:creationId xmlns:p14="http://schemas.microsoft.com/office/powerpoint/2010/main" val="89597394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4979D09-763F-44E6-A5D3-E5B84752B304}"/>
              </a:ext>
            </a:extLst>
          </p:cNvPr>
          <p:cNvPicPr>
            <a:picLocks noChangeAspect="1"/>
          </p:cNvPicPr>
          <p:nvPr/>
        </p:nvPicPr>
        <p:blipFill>
          <a:blip r:embed="rId3"/>
          <a:stretch>
            <a:fillRect/>
          </a:stretch>
        </p:blipFill>
        <p:spPr>
          <a:xfrm>
            <a:off x="1654799" y="115558"/>
            <a:ext cx="4075433" cy="237268"/>
          </a:xfrm>
          <a:prstGeom prst="rect">
            <a:avLst/>
          </a:prstGeom>
        </p:spPr>
      </p:pic>
      <p:sp>
        <p:nvSpPr>
          <p:cNvPr id="7" name="Title 3">
            <a:extLst>
              <a:ext uri="{FF2B5EF4-FFF2-40B4-BE49-F238E27FC236}">
                <a16:creationId xmlns:a16="http://schemas.microsoft.com/office/drawing/2014/main" id="{3ADBD1FA-67B1-4AFE-B454-1D875DDF4F95}"/>
              </a:ext>
            </a:extLst>
          </p:cNvPr>
          <p:cNvSpPr txBox="1">
            <a:spLocks/>
          </p:cNvSpPr>
          <p:nvPr/>
        </p:nvSpPr>
        <p:spPr>
          <a:xfrm>
            <a:off x="495299" y="387982"/>
            <a:ext cx="11201401" cy="411592"/>
          </a:xfrm>
          <a:prstGeom prst="rect">
            <a:avLst/>
          </a:prstGeom>
        </p:spPr>
        <p:txBody>
          <a:bodyPr/>
          <a:lst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charset="0"/>
              </a:defRPr>
            </a:lvl2pPr>
            <a:lvl3pPr algn="ctr" rtl="0" eaLnBrk="0" fontAlgn="base" hangingPunct="0">
              <a:spcBef>
                <a:spcPct val="0"/>
              </a:spcBef>
              <a:spcAft>
                <a:spcPct val="0"/>
              </a:spcAft>
              <a:defRPr sz="3200">
                <a:solidFill>
                  <a:schemeClr val="tx2"/>
                </a:solidFill>
                <a:latin typeface="Arial" charset="0"/>
              </a:defRPr>
            </a:lvl3pPr>
            <a:lvl4pPr algn="ctr" rtl="0" eaLnBrk="0" fontAlgn="base" hangingPunct="0">
              <a:spcBef>
                <a:spcPct val="0"/>
              </a:spcBef>
              <a:spcAft>
                <a:spcPct val="0"/>
              </a:spcAft>
              <a:defRPr sz="3200">
                <a:solidFill>
                  <a:schemeClr val="tx2"/>
                </a:solidFill>
                <a:latin typeface="Arial" charset="0"/>
              </a:defRPr>
            </a:lvl4pPr>
            <a:lvl5pPr algn="ctr" rtl="0" eaLnBrk="0" fontAlgn="base" hangingPunct="0">
              <a:spcBef>
                <a:spcPct val="0"/>
              </a:spcBef>
              <a:spcAft>
                <a:spcPct val="0"/>
              </a:spcAft>
              <a:defRPr sz="3200">
                <a:solidFill>
                  <a:schemeClr val="tx2"/>
                </a:solidFill>
                <a:latin typeface="Arial" charset="0"/>
              </a:defRPr>
            </a:lvl5pPr>
            <a:lvl6pPr marL="457189" algn="ctr" rtl="0" eaLnBrk="0" fontAlgn="base" hangingPunct="0">
              <a:spcBef>
                <a:spcPct val="0"/>
              </a:spcBef>
              <a:spcAft>
                <a:spcPct val="0"/>
              </a:spcAft>
              <a:defRPr sz="3200">
                <a:solidFill>
                  <a:schemeClr val="tx2"/>
                </a:solidFill>
                <a:latin typeface="Arial" charset="0"/>
              </a:defRPr>
            </a:lvl6pPr>
            <a:lvl7pPr marL="914377" algn="ctr" rtl="0" eaLnBrk="0" fontAlgn="base" hangingPunct="0">
              <a:spcBef>
                <a:spcPct val="0"/>
              </a:spcBef>
              <a:spcAft>
                <a:spcPct val="0"/>
              </a:spcAft>
              <a:defRPr sz="3200">
                <a:solidFill>
                  <a:schemeClr val="tx2"/>
                </a:solidFill>
                <a:latin typeface="Arial" charset="0"/>
              </a:defRPr>
            </a:lvl7pPr>
            <a:lvl8pPr marL="1371566" algn="ctr" rtl="0" eaLnBrk="0" fontAlgn="base" hangingPunct="0">
              <a:spcBef>
                <a:spcPct val="0"/>
              </a:spcBef>
              <a:spcAft>
                <a:spcPct val="0"/>
              </a:spcAft>
              <a:defRPr sz="3200">
                <a:solidFill>
                  <a:schemeClr val="tx2"/>
                </a:solidFill>
                <a:latin typeface="Arial" charset="0"/>
              </a:defRPr>
            </a:lvl8pPr>
            <a:lvl9pPr marL="1828754" algn="ctr" rtl="0" eaLnBrk="0" fontAlgn="base" hangingPunct="0">
              <a:spcBef>
                <a:spcPct val="0"/>
              </a:spcBef>
              <a:spcAft>
                <a:spcPct val="0"/>
              </a:spcAft>
              <a:defRPr sz="3200">
                <a:solidFill>
                  <a:schemeClr val="tx2"/>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Arial"/>
                <a:ea typeface="+mj-ea"/>
                <a:cs typeface="+mj-cs"/>
              </a:rPr>
              <a:t>Break Out Sessions - Wednesday, November 13</a:t>
            </a:r>
            <a:r>
              <a:rPr kumimoji="0" lang="en-US" sz="2400" b="1" i="0" u="none" strike="noStrike" kern="0" cap="none" spc="0" normalizeH="0" baseline="30000" noProof="0" dirty="0">
                <a:ln>
                  <a:noFill/>
                </a:ln>
                <a:solidFill>
                  <a:srgbClr val="000000"/>
                </a:solidFill>
                <a:effectLst/>
                <a:uLnTx/>
                <a:uFillTx/>
                <a:latin typeface="Arial"/>
                <a:ea typeface="+mj-ea"/>
                <a:cs typeface="+mj-cs"/>
              </a:rPr>
              <a:t>th</a:t>
            </a:r>
            <a:endParaRPr kumimoji="0" lang="en-US" sz="2400" b="1" i="0" u="none" strike="noStrike" kern="0" cap="none" spc="0" normalizeH="0" baseline="0" noProof="0" dirty="0">
              <a:ln>
                <a:noFill/>
              </a:ln>
              <a:solidFill>
                <a:srgbClr val="000000"/>
              </a:solidFill>
              <a:effectLst/>
              <a:uLnTx/>
              <a:uFillTx/>
              <a:latin typeface="Arial"/>
              <a:ea typeface="+mj-ea"/>
              <a:cs typeface="+mj-cs"/>
            </a:endParaRPr>
          </a:p>
        </p:txBody>
      </p:sp>
      <p:graphicFrame>
        <p:nvGraphicFramePr>
          <p:cNvPr id="9" name="Table 8">
            <a:extLst>
              <a:ext uri="{FF2B5EF4-FFF2-40B4-BE49-F238E27FC236}">
                <a16:creationId xmlns:a16="http://schemas.microsoft.com/office/drawing/2014/main" id="{D07211D8-F799-7BA8-AFED-B7C337FC5A5A}"/>
              </a:ext>
            </a:extLst>
          </p:cNvPr>
          <p:cNvGraphicFramePr>
            <a:graphicFrameLocks noGrp="1"/>
          </p:cNvGraphicFramePr>
          <p:nvPr>
            <p:extLst>
              <p:ext uri="{D42A27DB-BD31-4B8C-83A1-F6EECF244321}">
                <p14:modId xmlns:p14="http://schemas.microsoft.com/office/powerpoint/2010/main" val="3087468024"/>
              </p:ext>
            </p:extLst>
          </p:nvPr>
        </p:nvGraphicFramePr>
        <p:xfrm>
          <a:off x="756649" y="906723"/>
          <a:ext cx="10290292" cy="5580579"/>
        </p:xfrm>
        <a:graphic>
          <a:graphicData uri="http://schemas.openxmlformats.org/drawingml/2006/table">
            <a:tbl>
              <a:tblPr/>
              <a:tblGrid>
                <a:gridCol w="2686832">
                  <a:extLst>
                    <a:ext uri="{9D8B030D-6E8A-4147-A177-3AD203B41FA5}">
                      <a16:colId xmlns:a16="http://schemas.microsoft.com/office/drawing/2014/main" val="3078383548"/>
                    </a:ext>
                  </a:extLst>
                </a:gridCol>
                <a:gridCol w="7603460">
                  <a:extLst>
                    <a:ext uri="{9D8B030D-6E8A-4147-A177-3AD203B41FA5}">
                      <a16:colId xmlns:a16="http://schemas.microsoft.com/office/drawing/2014/main" val="2923343016"/>
                    </a:ext>
                  </a:extLst>
                </a:gridCol>
              </a:tblGrid>
              <a:tr h="249621">
                <a:tc gridSpan="2">
                  <a:txBody>
                    <a:bodyPr/>
                    <a:lstStyle/>
                    <a:p>
                      <a:pPr algn="ctr" fontAlgn="b"/>
                      <a:r>
                        <a:rPr lang="en-US" sz="1600" b="1" i="0" u="none" strike="noStrike" dirty="0">
                          <a:solidFill>
                            <a:srgbClr val="000000"/>
                          </a:solidFill>
                          <a:effectLst/>
                          <a:latin typeface="Aptos Narrow" panose="020B0004020202020204" pitchFamily="34" charset="0"/>
                        </a:rPr>
                        <a:t>DAY 2 Electrical Breakout</a:t>
                      </a:r>
                    </a:p>
                  </a:txBody>
                  <a:tcPr marL="5755" marR="5755" marT="57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407781686"/>
                  </a:ext>
                </a:extLst>
              </a:tr>
              <a:tr h="296964">
                <a:tc>
                  <a:txBody>
                    <a:bodyPr/>
                    <a:lstStyle/>
                    <a:p>
                      <a:pPr algn="just" fontAlgn="ctr"/>
                      <a:r>
                        <a:rPr lang="en-US" sz="1200" b="1" i="0" u="none" strike="noStrike">
                          <a:solidFill>
                            <a:srgbClr val="000000"/>
                          </a:solidFill>
                          <a:effectLst/>
                          <a:latin typeface="Arial Black" panose="020B0A04020102020204" pitchFamily="34" charset="0"/>
                        </a:rPr>
                        <a:t>8:00 - 8:15 A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algn="l" fontAlgn="ctr"/>
                      <a:r>
                        <a:rPr lang="sv-SE" sz="1400" b="1" i="0" u="none" strike="noStrike" dirty="0">
                          <a:solidFill>
                            <a:srgbClr val="000000"/>
                          </a:solidFill>
                          <a:effectLst/>
                          <a:latin typeface="Arial" panose="020B0604020202020204" pitchFamily="34" charset="0"/>
                        </a:rPr>
                        <a:t>Intro/Agenda - </a:t>
                      </a:r>
                      <a:r>
                        <a:rPr lang="sv-SE" sz="1400" b="0" i="0" u="none" strike="noStrike" dirty="0">
                          <a:solidFill>
                            <a:srgbClr val="000000"/>
                          </a:solidFill>
                          <a:effectLst/>
                          <a:latin typeface="Arial" panose="020B0604020202020204" pitchFamily="34" charset="0"/>
                        </a:rPr>
                        <a:t>Eric Anderson (15 min)</a:t>
                      </a:r>
                      <a:endParaRPr lang="sv-SE"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2284104819"/>
                  </a:ext>
                </a:extLst>
              </a:tr>
              <a:tr h="407386">
                <a:tc>
                  <a:txBody>
                    <a:bodyPr/>
                    <a:lstStyle/>
                    <a:p>
                      <a:pPr algn="l" fontAlgn="ctr"/>
                      <a:r>
                        <a:rPr lang="en-US" sz="1200" b="1" i="0" u="none" strike="noStrike">
                          <a:solidFill>
                            <a:srgbClr val="000000"/>
                          </a:solidFill>
                          <a:effectLst/>
                          <a:latin typeface="Arial Black" panose="020B0A04020102020204" pitchFamily="34" charset="0"/>
                        </a:rPr>
                        <a:t>8:15 - 9:00 A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1" i="0" u="none" strike="noStrike" dirty="0">
                          <a:solidFill>
                            <a:srgbClr val="000000"/>
                          </a:solidFill>
                          <a:effectLst/>
                          <a:latin typeface="Arial" panose="020B0604020202020204" pitchFamily="34" charset="0"/>
                        </a:rPr>
                        <a:t>RDR 4K/7K -</a:t>
                      </a:r>
                      <a:r>
                        <a:rPr lang="en-US" sz="1400" b="0" i="0" u="none" strike="noStrike" dirty="0">
                          <a:solidFill>
                            <a:srgbClr val="000000"/>
                          </a:solidFill>
                          <a:effectLst/>
                          <a:latin typeface="Arial" panose="020B0604020202020204" pitchFamily="34" charset="0"/>
                        </a:rPr>
                        <a:t> Bob Miller/Ben Miles (45 min)</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4029275"/>
                  </a:ext>
                </a:extLst>
              </a:tr>
              <a:tr h="296964">
                <a:tc>
                  <a:txBody>
                    <a:bodyPr/>
                    <a:lstStyle/>
                    <a:p>
                      <a:pPr algn="just" fontAlgn="ctr"/>
                      <a:r>
                        <a:rPr lang="en-US" sz="1200" b="1" i="0" u="none" strike="noStrike">
                          <a:solidFill>
                            <a:srgbClr val="000000"/>
                          </a:solidFill>
                          <a:effectLst/>
                          <a:latin typeface="Arial Black" panose="020B0A04020102020204" pitchFamily="34" charset="0"/>
                        </a:rPr>
                        <a:t>9:00 - 9:30 A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ctr"/>
                      <a:r>
                        <a:rPr lang="en-US" sz="1400" b="1" i="0" u="none" strike="noStrike" dirty="0">
                          <a:solidFill>
                            <a:srgbClr val="000000"/>
                          </a:solidFill>
                          <a:effectLst/>
                          <a:latin typeface="Arial" panose="020B0604020202020204" pitchFamily="34" charset="0"/>
                        </a:rPr>
                        <a:t>Jamming/Spoofing update -</a:t>
                      </a:r>
                      <a:r>
                        <a:rPr lang="en-US" sz="1400" b="0" i="0" u="none" strike="noStrike" dirty="0">
                          <a:solidFill>
                            <a:srgbClr val="000000"/>
                          </a:solidFill>
                          <a:effectLst/>
                          <a:latin typeface="Arial" panose="020B0604020202020204" pitchFamily="34" charset="0"/>
                        </a:rPr>
                        <a:t> David Woodcock (30 min)</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extLst>
                  <a:ext uri="{0D108BD9-81ED-4DB2-BD59-A6C34878D82A}">
                    <a16:rowId xmlns:a16="http://schemas.microsoft.com/office/drawing/2014/main" val="1240358903"/>
                  </a:ext>
                </a:extLst>
              </a:tr>
              <a:tr h="421773">
                <a:tc>
                  <a:txBody>
                    <a:bodyPr/>
                    <a:lstStyle/>
                    <a:p>
                      <a:pPr algn="just" fontAlgn="ctr"/>
                      <a:r>
                        <a:rPr lang="en-US" sz="1200" b="1" i="0" u="none" strike="noStrike">
                          <a:solidFill>
                            <a:srgbClr val="000000"/>
                          </a:solidFill>
                          <a:effectLst/>
                          <a:latin typeface="Arial Black" panose="020B0A04020102020204" pitchFamily="34" charset="0"/>
                        </a:rPr>
                        <a:t>9:30 - 10:30 A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Connectivity -  </a:t>
                      </a:r>
                      <a:r>
                        <a:rPr lang="en-US" sz="1400" b="0" i="0" u="none" strike="noStrike" dirty="0">
                          <a:solidFill>
                            <a:srgbClr val="000000"/>
                          </a:solidFill>
                          <a:effectLst/>
                          <a:latin typeface="Arial" panose="020B0604020202020204" pitchFamily="34" charset="0"/>
                        </a:rPr>
                        <a:t>Adam Sheppard</a:t>
                      </a:r>
                      <a:r>
                        <a:rPr lang="en-US" sz="1400" b="1" i="0" u="none" strike="noStrike" dirty="0">
                          <a:solidFill>
                            <a:srgbClr val="000000"/>
                          </a:solidFill>
                          <a:effectLst/>
                          <a:latin typeface="Arial" panose="020B0604020202020204" pitchFamily="34" charset="0"/>
                        </a:rPr>
                        <a:t>  &amp; JetWave X Update -  </a:t>
                      </a:r>
                      <a:r>
                        <a:rPr lang="en-US" sz="1400" b="0" i="0" u="none" strike="noStrike" dirty="0">
                          <a:solidFill>
                            <a:srgbClr val="000000"/>
                          </a:solidFill>
                          <a:effectLst/>
                          <a:latin typeface="Arial" panose="020B0604020202020204" pitchFamily="34" charset="0"/>
                        </a:rPr>
                        <a:t>Tamara Roberts –  (60 min) </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479400864"/>
                  </a:ext>
                </a:extLst>
              </a:tr>
              <a:tr h="296964">
                <a:tc>
                  <a:txBody>
                    <a:bodyPr/>
                    <a:lstStyle/>
                    <a:p>
                      <a:pPr algn="just" fontAlgn="ctr"/>
                      <a:r>
                        <a:rPr lang="en-US" sz="1200" b="1" i="0" u="none" strike="noStrike">
                          <a:solidFill>
                            <a:srgbClr val="000000"/>
                          </a:solidFill>
                          <a:effectLst/>
                          <a:latin typeface="Arial Black" panose="020B0A04020102020204" pitchFamily="34" charset="0"/>
                        </a:rPr>
                        <a:t>10:30- 10:45 A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Break (15 min) </a:t>
                      </a: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1845519970"/>
                  </a:ext>
                </a:extLst>
              </a:tr>
              <a:tr h="296964">
                <a:tc>
                  <a:txBody>
                    <a:bodyPr/>
                    <a:lstStyle/>
                    <a:p>
                      <a:pPr algn="just" fontAlgn="ctr"/>
                      <a:r>
                        <a:rPr lang="en-US" sz="1200" b="1" i="0" u="none" strike="noStrike">
                          <a:solidFill>
                            <a:srgbClr val="000000"/>
                          </a:solidFill>
                          <a:effectLst/>
                          <a:latin typeface="Arial Black" panose="020B0A04020102020204" pitchFamily="34" charset="0"/>
                        </a:rPr>
                        <a:t>10:45 - 11:15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sv-SE" sz="1400" b="1" i="0" u="none" strike="noStrike" dirty="0">
                          <a:solidFill>
                            <a:srgbClr val="000000"/>
                          </a:solidFill>
                          <a:effectLst/>
                          <a:latin typeface="Arial" panose="020B0604020202020204" pitchFamily="34" charset="0"/>
                        </a:rPr>
                        <a:t>Navigation &amp; Terrain Data Svcs/INDS - </a:t>
                      </a:r>
                      <a:r>
                        <a:rPr lang="sv-SE" sz="1400" b="0" i="0" u="none" strike="noStrike" dirty="0">
                          <a:solidFill>
                            <a:srgbClr val="000000"/>
                          </a:solidFill>
                          <a:effectLst/>
                          <a:latin typeface="Arial" panose="020B0604020202020204" pitchFamily="34" charset="0"/>
                        </a:rPr>
                        <a:t>Abilene Gonzaga (30 min)  </a:t>
                      </a:r>
                      <a:endParaRPr lang="sv-SE"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1838265336"/>
                  </a:ext>
                </a:extLst>
              </a:tr>
              <a:tr h="296964">
                <a:tc>
                  <a:txBody>
                    <a:bodyPr/>
                    <a:lstStyle/>
                    <a:p>
                      <a:pPr algn="just" fontAlgn="ctr"/>
                      <a:r>
                        <a:rPr lang="en-US" sz="1200" b="1" i="0" u="none" strike="noStrike">
                          <a:solidFill>
                            <a:srgbClr val="000000"/>
                          </a:solidFill>
                          <a:effectLst/>
                          <a:latin typeface="Arial Black" panose="020B0A04020102020204" pitchFamily="34" charset="0"/>
                        </a:rPr>
                        <a:t>11:15 - 11:45 PM</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Primus EPIC Overview - </a:t>
                      </a:r>
                      <a:r>
                        <a:rPr lang="en-US" sz="1400" b="0" i="0" u="none" strike="noStrike" dirty="0">
                          <a:solidFill>
                            <a:srgbClr val="000000"/>
                          </a:solidFill>
                          <a:effectLst/>
                          <a:latin typeface="Arial" panose="020B0604020202020204" pitchFamily="34" charset="0"/>
                        </a:rPr>
                        <a:t>Jorge Verduzco (30 Min)</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438328638"/>
                  </a:ext>
                </a:extLst>
              </a:tr>
              <a:tr h="296964">
                <a:tc>
                  <a:txBody>
                    <a:bodyPr/>
                    <a:lstStyle/>
                    <a:p>
                      <a:pPr algn="just" fontAlgn="ctr"/>
                      <a:r>
                        <a:rPr lang="en-US" sz="1200" b="1" i="0" u="none" strike="noStrike">
                          <a:solidFill>
                            <a:srgbClr val="000000"/>
                          </a:solidFill>
                          <a:effectLst/>
                          <a:latin typeface="Arial Black" panose="020B0A04020102020204" pitchFamily="34" charset="0"/>
                        </a:rPr>
                        <a:t>11:45- 12:15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Lunch (30 min) </a:t>
                      </a: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2313113258"/>
                  </a:ext>
                </a:extLst>
              </a:tr>
              <a:tr h="296964">
                <a:tc>
                  <a:txBody>
                    <a:bodyPr/>
                    <a:lstStyle/>
                    <a:p>
                      <a:pPr algn="just" fontAlgn="ctr"/>
                      <a:r>
                        <a:rPr lang="en-US" sz="1200" b="1" i="0" u="none" strike="noStrike">
                          <a:solidFill>
                            <a:srgbClr val="000000"/>
                          </a:solidFill>
                          <a:effectLst/>
                          <a:latin typeface="Arial Black" panose="020B0A04020102020204" pitchFamily="34" charset="0"/>
                        </a:rPr>
                        <a:t>12:15 – 12:45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Honeywell Anthem Update - </a:t>
                      </a:r>
                      <a:r>
                        <a:rPr lang="en-US" sz="1400" b="0" i="0" u="none" strike="noStrike" dirty="0">
                          <a:solidFill>
                            <a:srgbClr val="000000"/>
                          </a:solidFill>
                          <a:effectLst/>
                          <a:latin typeface="Arial" panose="020B0604020202020204" pitchFamily="34" charset="0"/>
                        </a:rPr>
                        <a:t>Thomas David (30 min)</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934502469"/>
                  </a:ext>
                </a:extLst>
              </a:tr>
              <a:tr h="296964">
                <a:tc>
                  <a:txBody>
                    <a:bodyPr/>
                    <a:lstStyle/>
                    <a:p>
                      <a:pPr algn="just" fontAlgn="ctr"/>
                      <a:r>
                        <a:rPr lang="en-US" sz="1200" b="1" i="0" u="none" strike="noStrike">
                          <a:solidFill>
                            <a:srgbClr val="000000"/>
                          </a:solidFill>
                          <a:effectLst/>
                          <a:latin typeface="Arial Black" panose="020B0A04020102020204" pitchFamily="34" charset="0"/>
                        </a:rPr>
                        <a:t>12:45 - 1:15 PM</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New Offerings VOC - </a:t>
                      </a:r>
                      <a:r>
                        <a:rPr lang="en-US" sz="1400" b="0" i="0" u="none" strike="noStrike" dirty="0">
                          <a:solidFill>
                            <a:srgbClr val="000000"/>
                          </a:solidFill>
                          <a:effectLst/>
                          <a:latin typeface="Arial" panose="020B0604020202020204" pitchFamily="34" charset="0"/>
                        </a:rPr>
                        <a:t>Allison Haugen (30 Min)</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noFill/>
                  </a:tcPr>
                </a:tc>
                <a:extLst>
                  <a:ext uri="{0D108BD9-81ED-4DB2-BD59-A6C34878D82A}">
                    <a16:rowId xmlns:a16="http://schemas.microsoft.com/office/drawing/2014/main" val="255043884"/>
                  </a:ext>
                </a:extLst>
              </a:tr>
              <a:tr h="421773">
                <a:tc>
                  <a:txBody>
                    <a:bodyPr/>
                    <a:lstStyle/>
                    <a:p>
                      <a:pPr algn="just" fontAlgn="ctr"/>
                      <a:r>
                        <a:rPr lang="en-US" sz="1200" b="1" i="0" u="none" strike="noStrike" dirty="0">
                          <a:solidFill>
                            <a:srgbClr val="000000"/>
                          </a:solidFill>
                          <a:effectLst/>
                          <a:latin typeface="Arial Black" panose="020B0A04020102020204" pitchFamily="34" charset="0"/>
                        </a:rPr>
                        <a:t>1:15- 1:45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OEM updates Bombardier, Dassault, Embraer, Gulfstream, Pilatus, Textron (30 Min)</a:t>
                      </a: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2260091749"/>
                  </a:ext>
                </a:extLst>
              </a:tr>
              <a:tr h="296964">
                <a:tc>
                  <a:txBody>
                    <a:bodyPr/>
                    <a:lstStyle/>
                    <a:p>
                      <a:pPr algn="just" fontAlgn="ctr"/>
                      <a:r>
                        <a:rPr lang="en-US" sz="1200" b="1" i="0" u="none" strike="noStrike">
                          <a:solidFill>
                            <a:srgbClr val="000000"/>
                          </a:solidFill>
                          <a:effectLst/>
                          <a:latin typeface="Arial Black" panose="020B0A04020102020204" pitchFamily="34" charset="0"/>
                        </a:rPr>
                        <a:t>1:45- 2:15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Rail Review (30 min)</a:t>
                      </a:r>
                      <a:r>
                        <a:rPr lang="en-US" sz="1400" b="0" i="0" u="none" strike="noStrike" dirty="0">
                          <a:solidFill>
                            <a:srgbClr val="000000"/>
                          </a:solidFill>
                          <a:effectLst/>
                          <a:latin typeface="Arial" panose="020B0604020202020204" pitchFamily="34" charset="0"/>
                        </a:rPr>
                        <a:t> </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3436739178"/>
                  </a:ext>
                </a:extLst>
              </a:tr>
              <a:tr h="296964">
                <a:tc>
                  <a:txBody>
                    <a:bodyPr/>
                    <a:lstStyle/>
                    <a:p>
                      <a:pPr algn="just" fontAlgn="ctr"/>
                      <a:r>
                        <a:rPr lang="en-US" sz="1200" b="1" i="0" u="none" strike="noStrike">
                          <a:solidFill>
                            <a:srgbClr val="000000"/>
                          </a:solidFill>
                          <a:effectLst/>
                          <a:latin typeface="Arial Black" panose="020B0A04020102020204" pitchFamily="34" charset="0"/>
                        </a:rPr>
                        <a:t>2:15 - 2:30 PM</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Break (15 min) </a:t>
                      </a: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4013726519"/>
                  </a:ext>
                </a:extLst>
              </a:tr>
              <a:tr h="296964">
                <a:tc>
                  <a:txBody>
                    <a:bodyPr/>
                    <a:lstStyle/>
                    <a:p>
                      <a:pPr algn="just" fontAlgn="ctr"/>
                      <a:r>
                        <a:rPr lang="en-US" sz="1200" b="1" i="0" u="none" strike="noStrike">
                          <a:solidFill>
                            <a:srgbClr val="000000"/>
                          </a:solidFill>
                          <a:effectLst/>
                          <a:latin typeface="Arial Black" panose="020B0A04020102020204" pitchFamily="34" charset="0"/>
                        </a:rPr>
                        <a:t>2:30 - 3:00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New Rails / New Issues (30 Min)  </a:t>
                      </a: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4259707575"/>
                  </a:ext>
                </a:extLst>
              </a:tr>
              <a:tr h="296964">
                <a:tc>
                  <a:txBody>
                    <a:bodyPr/>
                    <a:lstStyle/>
                    <a:p>
                      <a:pPr algn="just" fontAlgn="ctr"/>
                      <a:r>
                        <a:rPr lang="en-US" sz="1200" b="1" i="0" u="none" strike="noStrike">
                          <a:solidFill>
                            <a:srgbClr val="000000"/>
                          </a:solidFill>
                          <a:effectLst/>
                          <a:latin typeface="Arial Black" panose="020B0A04020102020204" pitchFamily="34" charset="0"/>
                        </a:rPr>
                        <a:t>3:00 - 3:30 PM </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Electrical /OPS Debrief - </a:t>
                      </a:r>
                      <a:r>
                        <a:rPr lang="en-US" sz="1400" b="0" i="0" u="none" strike="noStrike" dirty="0">
                          <a:solidFill>
                            <a:srgbClr val="000000"/>
                          </a:solidFill>
                          <a:effectLst/>
                          <a:latin typeface="Arial" panose="020B0604020202020204" pitchFamily="34" charset="0"/>
                        </a:rPr>
                        <a:t>Committee Leaders and GCC Focal (30 Min) </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extLst>
                  <a:ext uri="{0D108BD9-81ED-4DB2-BD59-A6C34878D82A}">
                    <a16:rowId xmlns:a16="http://schemas.microsoft.com/office/drawing/2014/main" val="2994428477"/>
                  </a:ext>
                </a:extLst>
              </a:tr>
              <a:tr h="258229">
                <a:tc>
                  <a:txBody>
                    <a:bodyPr/>
                    <a:lstStyle/>
                    <a:p>
                      <a:pPr algn="just" fontAlgn="ctr"/>
                      <a:r>
                        <a:rPr lang="en-US" sz="1200" b="1" i="0" u="none" strike="noStrike">
                          <a:solidFill>
                            <a:srgbClr val="000000"/>
                          </a:solidFill>
                          <a:effectLst/>
                          <a:latin typeface="Arial Black" panose="020B0A04020102020204" pitchFamily="34" charset="0"/>
                        </a:rPr>
                        <a:t>3:30 - 4:15 PM</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400" b="1" i="0" u="none" strike="noStrike" dirty="0">
                          <a:solidFill>
                            <a:srgbClr val="000000"/>
                          </a:solidFill>
                          <a:effectLst/>
                          <a:latin typeface="Arial" panose="020B0604020202020204" pitchFamily="34" charset="0"/>
                        </a:rPr>
                        <a:t>GCC Leadership Report Out (45 Min)</a:t>
                      </a:r>
                      <a:r>
                        <a:rPr lang="en-US" sz="1200" b="0" i="0" u="none" strike="noStrike" dirty="0">
                          <a:solidFill>
                            <a:srgbClr val="000000"/>
                          </a:solidFill>
                          <a:effectLst/>
                          <a:latin typeface="Arial Black" panose="020B0A04020102020204" pitchFamily="34" charset="0"/>
                        </a:rPr>
                        <a:t> </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2958767606"/>
                  </a:ext>
                </a:extLst>
              </a:tr>
              <a:tr h="258229">
                <a:tc>
                  <a:txBody>
                    <a:bodyPr/>
                    <a:lstStyle/>
                    <a:p>
                      <a:pPr algn="just" fontAlgn="ctr"/>
                      <a:r>
                        <a:rPr lang="en-US" sz="1200" b="1" i="0" u="none" strike="noStrike">
                          <a:solidFill>
                            <a:srgbClr val="000000"/>
                          </a:solidFill>
                          <a:effectLst/>
                          <a:latin typeface="Arial Black" panose="020B0A04020102020204" pitchFamily="34" charset="0"/>
                        </a:rPr>
                        <a:t>4:15 - 4:30 PM</a:t>
                      </a:r>
                    </a:p>
                  </a:txBody>
                  <a:tcPr marL="5755" marR="5755" marT="5755" marB="0" anchor="ctr">
                    <a:lnL w="6350" cap="flat" cmpd="sng" algn="ctr">
                      <a:solidFill>
                        <a:srgbClr val="000000"/>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E8E8E8"/>
                    </a:solidFill>
                  </a:tcPr>
                </a:tc>
                <a:tc>
                  <a:txBody>
                    <a:bodyPr/>
                    <a:lstStyle/>
                    <a:p>
                      <a:pPr algn="l" fontAlgn="ctr"/>
                      <a:r>
                        <a:rPr lang="en-US" sz="1400" b="1" i="0" u="none" strike="noStrike" dirty="0">
                          <a:solidFill>
                            <a:srgbClr val="000000"/>
                          </a:solidFill>
                          <a:effectLst/>
                          <a:latin typeface="Arial" panose="020B0604020202020204" pitchFamily="34" charset="0"/>
                        </a:rPr>
                        <a:t>Honeywell Leadership Closing (15 Min)</a:t>
                      </a:r>
                      <a:r>
                        <a:rPr lang="en-US" sz="1200" b="0" i="0" u="none" strike="noStrike" dirty="0">
                          <a:solidFill>
                            <a:srgbClr val="000000"/>
                          </a:solidFill>
                          <a:effectLst/>
                          <a:latin typeface="Arial Black" panose="020B0A04020102020204" pitchFamily="34" charset="0"/>
                        </a:rPr>
                        <a:t> </a:t>
                      </a:r>
                      <a:endParaRPr lang="en-US" sz="1400" b="1" i="0" u="none" strike="noStrike" dirty="0">
                        <a:solidFill>
                          <a:srgbClr val="000000"/>
                        </a:solidFill>
                        <a:effectLst/>
                        <a:latin typeface="Arial" panose="020B0604020202020204" pitchFamily="34" charset="0"/>
                      </a:endParaRPr>
                    </a:p>
                  </a:txBody>
                  <a:tcPr marL="5755" marR="5755" marT="5755" marB="0" anchor="ctr">
                    <a:lnL w="12700" cap="flat" cmpd="sng" algn="ctr">
                      <a:solidFill>
                        <a:srgbClr val="BFBFBF"/>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BFBFB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E8E8"/>
                    </a:solidFill>
                  </a:tcPr>
                </a:tc>
                <a:extLst>
                  <a:ext uri="{0D108BD9-81ED-4DB2-BD59-A6C34878D82A}">
                    <a16:rowId xmlns:a16="http://schemas.microsoft.com/office/drawing/2014/main" val="303699383"/>
                  </a:ext>
                </a:extLst>
              </a:tr>
            </a:tbl>
          </a:graphicData>
        </a:graphic>
      </p:graphicFrame>
    </p:spTree>
    <p:extLst>
      <p:ext uri="{BB962C8B-B14F-4D97-AF65-F5344CB8AC3E}">
        <p14:creationId xmlns:p14="http://schemas.microsoft.com/office/powerpoint/2010/main" val="16125737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2.05.25"/>
  <p:tag name="AS_TITLE" val="Aspose.Slides for .NET 2.0 x64"/>
  <p:tag name="AS_VERSION" val="6.3.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Hsa9x3VQ68rPHEqmxHY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Hsa9x3VQ68rPHEqmxHY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LMiR8j.2IS0ACQX.YAvRw"/>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LMiR8j.2IS0ACQX.YAv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Hsa9x3VQ68rPHEqmxHY_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LMiR8j.2IS0ACQX.YAv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pYhoV7As24as8neTnbH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pYhoV7As24as8neTnbHN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VD6XC.KCKKsLZGe8u_j0w"/>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ATsvZagsqOEq_nR6Pj8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noFill/>
      </a:spPr>
      <a:bodyPr wrap="none" lIns="91440" tIns="45720" rIns="91440" bIns="45720">
        <a:spAutoFit/>
      </a:bodyPr>
      <a:lstStyle>
        <a:defPPr algn="ctr">
          <a:defRPr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66"/>
        </a:accent1>
        <a:accent2>
          <a:srgbClr val="3333CC"/>
        </a:accent2>
        <a:accent3>
          <a:srgbClr val="FFFFFF"/>
        </a:accent3>
        <a:accent4>
          <a:srgbClr val="000000"/>
        </a:accent4>
        <a:accent5>
          <a:srgbClr val="AAE2B8"/>
        </a:accent5>
        <a:accent6>
          <a:srgbClr val="2D2DB9"/>
        </a:accent6>
        <a:hlink>
          <a:srgbClr val="3399FF"/>
        </a:hlink>
        <a:folHlink>
          <a:srgbClr val="FF9900"/>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000000"/>
        </a:dk2>
        <a:lt2>
          <a:srgbClr val="808080"/>
        </a:lt2>
        <a:accent1>
          <a:srgbClr val="00CC66"/>
        </a:accent1>
        <a:accent2>
          <a:srgbClr val="3333CC"/>
        </a:accent2>
        <a:accent3>
          <a:srgbClr val="FFFFFF"/>
        </a:accent3>
        <a:accent4>
          <a:srgbClr val="000000"/>
        </a:accent4>
        <a:accent5>
          <a:srgbClr val="AAE2B8"/>
        </a:accent5>
        <a:accent6>
          <a:srgbClr val="2D2DB9"/>
        </a:accent6>
        <a:hlink>
          <a:srgbClr val="3399FF"/>
        </a:hlink>
        <a:folHlink>
          <a:srgbClr val="E6BA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noFill/>
      </a:spPr>
      <a:bodyPr wrap="none" lIns="91440" tIns="45720" rIns="91440" bIns="45720">
        <a:spAutoFit/>
      </a:bodyPr>
      <a:lstStyle>
        <a:defPPr algn="ctr">
          <a:defRPr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66"/>
        </a:accent1>
        <a:accent2>
          <a:srgbClr val="3333CC"/>
        </a:accent2>
        <a:accent3>
          <a:srgbClr val="FFFFFF"/>
        </a:accent3>
        <a:accent4>
          <a:srgbClr val="000000"/>
        </a:accent4>
        <a:accent5>
          <a:srgbClr val="AAE2B8"/>
        </a:accent5>
        <a:accent6>
          <a:srgbClr val="2D2DB9"/>
        </a:accent6>
        <a:hlink>
          <a:srgbClr val="3399FF"/>
        </a:hlink>
        <a:folHlink>
          <a:srgbClr val="FF9900"/>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000000"/>
        </a:dk2>
        <a:lt2>
          <a:srgbClr val="808080"/>
        </a:lt2>
        <a:accent1>
          <a:srgbClr val="00CC66"/>
        </a:accent1>
        <a:accent2>
          <a:srgbClr val="3333CC"/>
        </a:accent2>
        <a:accent3>
          <a:srgbClr val="FFFFFF"/>
        </a:accent3>
        <a:accent4>
          <a:srgbClr val="000000"/>
        </a:accent4>
        <a:accent5>
          <a:srgbClr val="AAE2B8"/>
        </a:accent5>
        <a:accent6>
          <a:srgbClr val="2D2DB9"/>
        </a:accent6>
        <a:hlink>
          <a:srgbClr val="3399FF"/>
        </a:hlink>
        <a:folHlink>
          <a:srgbClr val="E6BA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_v14" id="{4C955DBE-6A6B-4404-A7FC-985F50DCB814}" vid="{9FCABB78-B434-4B7B-86A1-129067C79F96}"/>
    </a:ext>
  </a:extLst>
</a:theme>
</file>

<file path=ppt/theme/theme12.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400" dirty="0" err="1" smtClean="0">
            <a:solidFill>
              <a:prstClr val="black"/>
            </a:solidFill>
          </a:defRPr>
        </a:defPPr>
      </a:lstStyle>
    </a:txDef>
  </a:objectDefaults>
  <a:extraClrSchemeLst/>
  <a:extLst>
    <a:ext uri="{05A4C25C-085E-4340-85A3-A5531E510DB2}">
      <thm15:themeFamily xmlns:thm15="http://schemas.microsoft.com/office/thememl/2012/main" name="Honeywell-PowerPoint-Template-16x9" id="{5E011BF3-F12D-5541-BE1E-00DCA156D151}" vid="{CC6B1CC0-1037-0541-9758-69E552083B8C}"/>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Thaa" typeface="MV Boli"/>
        <a:font script="Gujr" typeface="Shruti"/>
        <a:font script="Khmr" typeface="MoolBoran"/>
        <a:font script="Beng" typeface="Vrinda"/>
        <a:font script="Orya" typeface="Kalinga"/>
        <a:font script="Cans" typeface="Euphemia"/>
        <a:font script="Mlym" typeface="Kartika"/>
        <a:font script="Telu" typeface="Gautami"/>
        <a:font script="Laoo" typeface="DokChampa"/>
        <a:font script="Hant" typeface="新細明體"/>
        <a:font script="Viet" typeface="Times New Roman"/>
        <a:font script="Jpan" typeface="ＭＳ Ｐゴシック"/>
        <a:font script="Sinh" typeface="Iskoola Pota"/>
        <a:font script="Hans" typeface="宋体"/>
        <a:font script="Arab" typeface="Times New Roman"/>
        <a:font script="Guru" typeface="Raavi"/>
        <a:font script="Deva" typeface="Mangal"/>
        <a:font script="Ethi" typeface="Nyala"/>
        <a:font script="Cher" typeface="Plantagenet Cherokee"/>
        <a:font script="Taml" typeface="Latha"/>
        <a:font script="Hang" typeface="맑은 고딕"/>
        <a:font script="Hebr" typeface="Times New Roman"/>
        <a:font script="Tibt" typeface="Microsoft Himalaya"/>
        <a:font script="Knda" typeface="Tunga"/>
        <a:font script="Yiii" typeface="Microsoft Yi Baiti"/>
        <a:font script="Mong" typeface="Mongolian Baiti"/>
        <a:font script="Thai" typeface="Angsana New"/>
        <a:font script="Syrc" typeface="Estrangelo Edessa"/>
      </a:majorFont>
      <a:minorFont>
        <a:latin typeface="Calibri"/>
        <a:ea typeface=""/>
        <a:cs typeface=""/>
        <a:font script="Uigh" typeface="Microsoft Uighur"/>
        <a:font script="Thaa" typeface="MV Boli"/>
        <a:font script="Gujr" typeface="Shruti"/>
        <a:font script="Khmr" typeface="DaunPenh"/>
        <a:font script="Beng" typeface="Vrinda"/>
        <a:font script="Orya" typeface="Kalinga"/>
        <a:font script="Cans" typeface="Euphemia"/>
        <a:font script="Mlym" typeface="Kartika"/>
        <a:font script="Telu" typeface="Gautami"/>
        <a:font script="Laoo" typeface="DokChampa"/>
        <a:font script="Hant" typeface="新細明體"/>
        <a:font script="Viet" typeface="Arial"/>
        <a:font script="Jpan" typeface="ＭＳ Ｐゴシック"/>
        <a:font script="Sinh" typeface="Iskoola Pota"/>
        <a:font script="Hans" typeface="宋体"/>
        <a:font script="Arab" typeface="Arial"/>
        <a:font script="Guru" typeface="Raavi"/>
        <a:font script="Deva" typeface="Mangal"/>
        <a:font script="Ethi" typeface="Nyala"/>
        <a:font script="Cher" typeface="Plantagenet Cherokee"/>
        <a:font script="Taml" typeface="Latha"/>
        <a:font script="Hang" typeface="맑은 고딕"/>
        <a:font script="Hebr" typeface="Arial"/>
        <a:font script="Tibt" typeface="Microsoft Himalaya"/>
        <a:font script="Knda" typeface="Tunga"/>
        <a:font script="Yiii" typeface="Microsoft Yi Baiti"/>
        <a:font script="Mong" typeface="Mongolian Baiti"/>
        <a:font script="Thai" typeface="Cordia New"/>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Uigh" typeface="Microsoft Uighur"/>
        <a:font script="Thaa" typeface="MV Boli"/>
        <a:font script="Gujr" typeface="Shruti"/>
        <a:font script="Khmr" typeface="MoolBoran"/>
        <a:font script="Beng" typeface="Vrinda"/>
        <a:font script="Orya" typeface="Kalinga"/>
        <a:font script="Cans" typeface="Euphemia"/>
        <a:font script="Mlym" typeface="Kartika"/>
        <a:font script="Telu" typeface="Gautami"/>
        <a:font script="Laoo" typeface="DokChampa"/>
        <a:font script="Hant" typeface="新細明體"/>
        <a:font script="Viet" typeface="Times New Roman"/>
        <a:font script="Jpan" typeface="ＭＳ Ｐゴシック"/>
        <a:font script="Sinh" typeface="Iskoola Pota"/>
        <a:font script="Hans" typeface="宋体"/>
        <a:font script="Arab" typeface="Times New Roman"/>
        <a:font script="Guru" typeface="Raavi"/>
        <a:font script="Deva" typeface="Mangal"/>
        <a:font script="Ethi" typeface="Nyala"/>
        <a:font script="Cher" typeface="Plantagenet Cherokee"/>
        <a:font script="Taml" typeface="Latha"/>
        <a:font script="Hang" typeface="맑은 고딕"/>
        <a:font script="Hebr" typeface="Times New Roman"/>
        <a:font script="Tibt" typeface="Microsoft Himalaya"/>
        <a:font script="Knda" typeface="Tunga"/>
        <a:font script="Yiii" typeface="Microsoft Yi Baiti"/>
        <a:font script="Mong" typeface="Mongolian Baiti"/>
        <a:font script="Thai" typeface="Angsana New"/>
        <a:font script="Syrc" typeface="Estrangelo Edessa"/>
      </a:majorFont>
      <a:minorFont>
        <a:latin typeface="Calibri"/>
        <a:ea typeface=""/>
        <a:cs typeface=""/>
        <a:font script="Uigh" typeface="Microsoft Uighur"/>
        <a:font script="Thaa" typeface="MV Boli"/>
        <a:font script="Gujr" typeface="Shruti"/>
        <a:font script="Khmr" typeface="DaunPenh"/>
        <a:font script="Beng" typeface="Vrinda"/>
        <a:font script="Orya" typeface="Kalinga"/>
        <a:font script="Cans" typeface="Euphemia"/>
        <a:font script="Mlym" typeface="Kartika"/>
        <a:font script="Telu" typeface="Gautami"/>
        <a:font script="Laoo" typeface="DokChampa"/>
        <a:font script="Hant" typeface="新細明體"/>
        <a:font script="Viet" typeface="Arial"/>
        <a:font script="Jpan" typeface="ＭＳ Ｐゴシック"/>
        <a:font script="Sinh" typeface="Iskoola Pota"/>
        <a:font script="Hans" typeface="宋体"/>
        <a:font script="Arab" typeface="Arial"/>
        <a:font script="Guru" typeface="Raavi"/>
        <a:font script="Deva" typeface="Mangal"/>
        <a:font script="Ethi" typeface="Nyala"/>
        <a:font script="Cher" typeface="Plantagenet Cherokee"/>
        <a:font script="Taml" typeface="Latha"/>
        <a:font script="Hang" typeface="맑은 고딕"/>
        <a:font script="Hebr" typeface="Arial"/>
        <a:font script="Tibt" typeface="Microsoft Himalaya"/>
        <a:font script="Knda" typeface="Tunga"/>
        <a:font script="Yiii" typeface="Microsoft Yi Baiti"/>
        <a:font script="Mong" typeface="Mongolian Baiti"/>
        <a:font script="Thai" typeface="Cordia New"/>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19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400" dirty="0" err="1" smtClean="0">
            <a:solidFill>
              <a:prstClr val="black"/>
            </a:solidFill>
          </a:defRPr>
        </a:defPPr>
      </a:lstStyle>
    </a:txDef>
  </a:objectDefaults>
  <a:extraClrSchemeLst/>
</a:theme>
</file>

<file path=ppt/theme/theme3.xml><?xml version="1.0" encoding="utf-8"?>
<a:theme xmlns:a="http://schemas.openxmlformats.org/drawingml/2006/main" name="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4.xml><?xml version="1.0" encoding="utf-8"?>
<a:theme xmlns:a="http://schemas.openxmlformats.org/drawingml/2006/main" name="37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V3" id="{2DCAC84F-1F30-4D0B-BC88-96741765A615}" vid="{CDC1EF7F-B8E5-4BA3-82AB-55A46E06576D}"/>
    </a:ext>
  </a:extLst>
</a:theme>
</file>

<file path=ppt/theme/theme5.xml><?xml version="1.0" encoding="utf-8"?>
<a:theme xmlns:a="http://schemas.openxmlformats.org/drawingml/2006/main" name="HON_Honeywell PPT Template 16X9_V43 potx (1)">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_Honeywell PPT Template_16x9_V45_New Theme Updated" id="{939FB2D2-D657-40AC-B0CB-80C257866396}" vid="{8E80B11E-6509-4B9B-887D-B7EAE1318063}"/>
    </a:ext>
  </a:extLst>
</a:theme>
</file>

<file path=ppt/theme/theme6.xml><?xml version="1.0" encoding="utf-8"?>
<a:theme xmlns:a="http://schemas.openxmlformats.org/drawingml/2006/main" name="8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PowerPoint-Template-16x9.pptx" id="{E274421C-9DB6-4BA4-969A-CA71868A6475}" vid="{332A721F-4E2D-494D-BD08-83F62D85BD6E}"/>
    </a:ext>
  </a:extLst>
</a:theme>
</file>

<file path=ppt/theme/theme7.xml><?xml version="1.0" encoding="utf-8"?>
<a:theme xmlns:a="http://schemas.openxmlformats.org/drawingml/2006/main" name="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8.xml><?xml version="1.0" encoding="utf-8"?>
<a:theme xmlns:a="http://schemas.openxmlformats.org/drawingml/2006/main" name="8_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400" dirty="0" err="1" smtClean="0">
            <a:solidFill>
              <a:prstClr val="black"/>
            </a:solidFill>
          </a:defRPr>
        </a:defPPr>
      </a:lstStyle>
    </a:txDef>
  </a:objectDefaults>
  <a:extraClrSchemeLst/>
  <a:extLst>
    <a:ext uri="{05A4C25C-085E-4340-85A3-A5531E510DB2}">
      <thm15:themeFamily xmlns:thm15="http://schemas.microsoft.com/office/thememl/2012/main" name="Honeywell-PowerPoint-Template-16x9.pptx" id="{98CD3D86-9F08-4F3B-AF5D-A5B466AC7FF0}" vid="{B9C159B1-39F4-4D1D-B6FE-A5CEFBEA9939}"/>
    </a:ext>
  </a:extLst>
</a:theme>
</file>

<file path=ppt/theme/theme9.xml><?xml version="1.0" encoding="utf-8"?>
<a:theme xmlns:a="http://schemas.openxmlformats.org/drawingml/2006/main" name="3_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34FE2A5FCB4A40879E88ECF8489FD4" ma:contentTypeVersion="16" ma:contentTypeDescription="Create a new document." ma:contentTypeScope="" ma:versionID="2d6054e718a6b3d49ddabad75901d3f1">
  <xsd:schema xmlns:xsd="http://www.w3.org/2001/XMLSchema" xmlns:xs="http://www.w3.org/2001/XMLSchema" xmlns:p="http://schemas.microsoft.com/office/2006/metadata/properties" xmlns:ns2="5c9ad062-aa00-492d-a75b-e00dca3b3d0f" xmlns:ns3="0dab3b79-5a11-4a79-9b08-3bd2d79ac80f" xmlns:ns4="213af126-92eb-4bb5-8bfd-1661103a2928" targetNamespace="http://schemas.microsoft.com/office/2006/metadata/properties" ma:root="true" ma:fieldsID="5b1465dfc66d7d380ed0c709667da3b6" ns2:_="" ns3:_="" ns4:_="">
    <xsd:import namespace="5c9ad062-aa00-492d-a75b-e00dca3b3d0f"/>
    <xsd:import namespace="0dab3b79-5a11-4a79-9b08-3bd2d79ac80f"/>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ObjectDetectorVersion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9ad062-aa00-492d-a75b-e00dca3b3d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ab3b79-5a11-4a79-9b08-3bd2d79ac80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cc8bf28e-e1e2-4321-b4d7-8a8cbe31736a}" ma:internalName="TaxCatchAll" ma:showField="CatchAllData" ma:web="0dab3b79-5a11-4a79-9b08-3bd2d79ac8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SharedWithUsers xmlns="0dab3b79-5a11-4a79-9b08-3bd2d79ac80f">
      <UserInfo>
        <DisplayName>Nair, Ashok</DisplayName>
        <AccountId>110</AccountId>
        <AccountType/>
      </UserInfo>
      <UserInfo>
        <DisplayName>Budurin, Tatjana</DisplayName>
        <AccountId>112</AccountId>
        <AccountType/>
      </UserInfo>
      <UserInfo>
        <DisplayName>Valente, Tim (BGA)</DisplayName>
        <AccountId>99</AccountId>
        <AccountType/>
      </UserInfo>
      <UserInfo>
        <DisplayName>Soethe, Ryan</DisplayName>
        <AccountId>136</AccountId>
        <AccountType/>
      </UserInfo>
      <UserInfo>
        <DisplayName>Gundluru, Vamsi</DisplayName>
        <AccountId>166</AccountId>
        <AccountType/>
      </UserInfo>
    </SharedWithUsers>
    <TaxCatchAll xmlns="213af126-92eb-4bb5-8bfd-1661103a2928" xsi:nil="true"/>
    <lcf76f155ced4ddcb4097134ff3c332f xmlns="5c9ad062-aa00-492d-a75b-e00dca3b3d0f">
      <Terms xmlns="http://schemas.microsoft.com/office/infopath/2007/PartnerControls"/>
    </lcf76f155ced4ddcb4097134ff3c332f>
  </documentManagement>
</p:properties>
</file>

<file path=customXml/item4.xml><?xml version="1.0" encoding="utf-8"?>
<sisl xmlns:xsd="http://www.w3.org/2001/XMLSchema" xmlns:xsi="http://www.w3.org/2001/XMLSchema-instance" xmlns="http://www.boldonjames.com/2008/01/sie/internal/label" sislVersion="0" policy="bf276872-af07-4968-a71d-1c83e80bd0bf" origin="userSelected">
  <element uid="id_protectivemarking_newvalue1" value=""/>
</sisl>
</file>

<file path=customXml/itemProps1.xml><?xml version="1.0" encoding="utf-8"?>
<ds:datastoreItem xmlns:ds="http://schemas.openxmlformats.org/officeDocument/2006/customXml" ds:itemID="{471D02C6-63E7-4171-B241-4862F663998E}">
  <ds:schemaRefs>
    <ds:schemaRef ds:uri="http://schemas.microsoft.com/sharepoint/v3/contenttype/forms"/>
  </ds:schemaRefs>
</ds:datastoreItem>
</file>

<file path=customXml/itemProps2.xml><?xml version="1.0" encoding="utf-8"?>
<ds:datastoreItem xmlns:ds="http://schemas.openxmlformats.org/officeDocument/2006/customXml" ds:itemID="{0791361C-D871-4403-BE5F-9257A22F3585}">
  <ds:schemaRefs>
    <ds:schemaRef ds:uri="0dab3b79-5a11-4a79-9b08-3bd2d79ac80f"/>
    <ds:schemaRef ds:uri="213af126-92eb-4bb5-8bfd-1661103a2928"/>
    <ds:schemaRef ds:uri="5c9ad062-aa00-492d-a75b-e00dca3b3d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BCBEDD8-3D8B-46D3-AD9F-E12D69D1BE18}">
  <ds:schemaRefs>
    <ds:schemaRef ds:uri="http://schemas.microsoft.com/office/2006/documentManagement/types"/>
    <ds:schemaRef ds:uri="5c9ad062-aa00-492d-a75b-e00dca3b3d0f"/>
    <ds:schemaRef ds:uri="http://purl.org/dc/elements/1.1/"/>
    <ds:schemaRef ds:uri="http://purl.org/dc/dcmitype/"/>
    <ds:schemaRef ds:uri="http://schemas.microsoft.com/office/2006/metadata/properties"/>
    <ds:schemaRef ds:uri="http://schemas.microsoft.com/office/infopath/2007/PartnerControls"/>
    <ds:schemaRef ds:uri="http://purl.org/dc/terms/"/>
    <ds:schemaRef ds:uri="213af126-92eb-4bb5-8bfd-1661103a2928"/>
    <ds:schemaRef ds:uri="http://schemas.openxmlformats.org/package/2006/metadata/core-properties"/>
    <ds:schemaRef ds:uri="0dab3b79-5a11-4a79-9b08-3bd2d79ac80f"/>
    <ds:schemaRef ds:uri="http://www.w3.org/XML/1998/namespace"/>
  </ds:schemaRefs>
</ds:datastoreItem>
</file>

<file path=customXml/itemProps4.xml><?xml version="1.0" encoding="utf-8"?>
<ds:datastoreItem xmlns:ds="http://schemas.openxmlformats.org/officeDocument/2006/customXml" ds:itemID="{0E6DE486-01E2-40CD-B5D6-05796B3F57E5}">
  <ds:schemaRefs>
    <ds:schemaRef ds:uri="http://www.w3.org/2001/XMLSchema"/>
    <ds:schemaRef ds:uri="http://www.boldonjames.com/2008/01/sie/internal/label"/>
  </ds:schemaRefs>
</ds:datastoreItem>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emplate/>
  <TotalTime>666</TotalTime>
  <Words>7222</Words>
  <Application>Microsoft Office PowerPoint</Application>
  <PresentationFormat>Widescreen</PresentationFormat>
  <Paragraphs>1011</Paragraphs>
  <Slides>40</Slides>
  <Notes>40</Notes>
  <HiddenSlides>5</HiddenSlides>
  <MMClips>0</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2</vt:i4>
      </vt:variant>
      <vt:variant>
        <vt:lpstr>Slide Titles</vt:lpstr>
      </vt:variant>
      <vt:variant>
        <vt:i4>40</vt:i4>
      </vt:variant>
    </vt:vector>
  </HeadingPairs>
  <TitlesOfParts>
    <vt:vector size="74" baseType="lpstr">
      <vt:lpstr>Aptos</vt:lpstr>
      <vt:lpstr>Aptos Narrow</vt:lpstr>
      <vt:lpstr>Arial</vt:lpstr>
      <vt:lpstr>Arial</vt:lpstr>
      <vt:lpstr>Arial Black</vt:lpstr>
      <vt:lpstr>Calibri</vt:lpstr>
      <vt:lpstr>Courier New</vt:lpstr>
      <vt:lpstr>FontAwesome</vt:lpstr>
      <vt:lpstr>Helvetica 55 Roman</vt:lpstr>
      <vt:lpstr>Helvetica Neue</vt:lpstr>
      <vt:lpstr>HelveticaNeue BoldCond</vt:lpstr>
      <vt:lpstr>HelveticaNeue MediumCond</vt:lpstr>
      <vt:lpstr>Honeywell Cond Web</vt:lpstr>
      <vt:lpstr>Honeywell Sans</vt:lpstr>
      <vt:lpstr>Honeywell Sans Medium</vt:lpstr>
      <vt:lpstr>Honeywell Sans TT Black</vt:lpstr>
      <vt:lpstr>Honeywell Sans Web</vt:lpstr>
      <vt:lpstr>Söhne</vt:lpstr>
      <vt:lpstr>Times New Roman</vt:lpstr>
      <vt:lpstr>Wingdings</vt:lpstr>
      <vt:lpstr>5_Default Design</vt:lpstr>
      <vt:lpstr>19_Honeywell 2019</vt:lpstr>
      <vt:lpstr>Honeywell Theme</vt:lpstr>
      <vt:lpstr>37_Honeywell Theme</vt:lpstr>
      <vt:lpstr>HON_Honeywell PPT Template 16X9_V43 potx (1)</vt:lpstr>
      <vt:lpstr>8_Honeywell Template 2022</vt:lpstr>
      <vt:lpstr>Honeywell Template 2022</vt:lpstr>
      <vt:lpstr>8_Honeywell 2019</vt:lpstr>
      <vt:lpstr>3_Honeywell Template 2022</vt:lpstr>
      <vt:lpstr>6_Default Design</vt:lpstr>
      <vt:lpstr>3_Honeywell 2019</vt:lpstr>
      <vt:lpstr>Honeywell 2019</vt:lpstr>
      <vt:lpstr>think-cell Slide</vt:lpstr>
      <vt:lpstr>Worksheet</vt:lpstr>
      <vt:lpstr>PowerPoint Presentation</vt:lpstr>
      <vt:lpstr>Meeting Ground Rules</vt:lpstr>
      <vt:lpstr>Confidential &amp; Proprietary Notice</vt:lpstr>
      <vt:lpstr>PowerPoint Presentation</vt:lpstr>
      <vt:lpstr>PowerPoint Presentation</vt:lpstr>
      <vt:lpstr>Peter Zeeb  In recognition of your 15 years of service to the committee, 11 of which as chairman.  Thank you for being and exemplary source of passion and inspiration for all of us.  Your contributions have made a lasting impact.</vt:lpstr>
      <vt:lpstr>PowerPoint Presentation</vt:lpstr>
      <vt:lpstr>PowerPoint Presentation</vt:lpstr>
      <vt:lpstr>PowerPoint Presentation</vt:lpstr>
      <vt:lpstr>PowerPoint Presentation</vt:lpstr>
      <vt:lpstr>PowerPoint Presentation</vt:lpstr>
      <vt:lpstr>What we heard you tell us......</vt:lpstr>
      <vt:lpstr>Licensed Product Customer notification</vt:lpstr>
      <vt:lpstr>Customer Protection Plan checklist in Due Diligence</vt:lpstr>
      <vt:lpstr>Customer Protection Plan checklist in Transition</vt:lpstr>
      <vt:lpstr>Active engagement, listening, benchmarking</vt:lpstr>
      <vt:lpstr>Key improvements in 2024</vt:lpstr>
      <vt:lpstr>SPEX Performance</vt:lpstr>
      <vt:lpstr>Top 5 pain points Survey </vt:lpstr>
      <vt:lpstr>Multi-Channel Feedback | Critical projects</vt:lpstr>
      <vt:lpstr>PowerPoint Presentation</vt:lpstr>
      <vt:lpstr>Americas</vt:lpstr>
      <vt:lpstr>Europe – Middle East – Africa - India</vt:lpstr>
      <vt:lpstr>PowerPoint Presentation</vt:lpstr>
      <vt:lpstr>PowerPoint Presentation</vt:lpstr>
      <vt:lpstr>Order Escalations</vt:lpstr>
      <vt:lpstr>GCC website updates </vt:lpstr>
      <vt:lpstr>GCC regional alignment</vt:lpstr>
      <vt:lpstr>Gcc rail 7330 | Portal does not include a filter for Avionics Platforms</vt:lpstr>
      <vt:lpstr>AOG support – MSP customers</vt:lpstr>
      <vt:lpstr>Portal utilization</vt:lpstr>
      <vt:lpstr>Portal utilization by Channel partner</vt:lpstr>
      <vt:lpstr>NEW quote approval request template</vt:lpstr>
      <vt:lpstr>2024 Catalog pricing updates</vt:lpstr>
      <vt:lpstr>Support resources</vt:lpstr>
      <vt:lpstr>Technical Support Updates | Since Q2 GCC</vt:lpstr>
      <vt:lpstr>Pilatus &amp; APEX | GTO Improvement Areas</vt:lpstr>
      <vt:lpstr>Tech Pubs | Key improvement elements</vt:lpstr>
      <vt:lpstr>Tech Pubs | Engine manuals revision </vt:lpstr>
      <vt:lpstr>Support network</vt:lpstr>
    </vt:vector>
  </TitlesOfParts>
  <Company>Honeyw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e to Face Meeting</dc:title>
  <dc:subject>GCC F2F Americas</dc:subject>
  <dc:creator>F Lara</dc:creator>
  <cp:keywords>GCC</cp:keywords>
  <cp:lastModifiedBy>Anderson, Eric (Avionics ISE Manager, AT)</cp:lastModifiedBy>
  <cp:revision>23</cp:revision>
  <cp:lastPrinted>2019-04-08T18:01:25Z</cp:lastPrinted>
  <dcterms:created xsi:type="dcterms:W3CDTF">2004-05-20T20:50:15Z</dcterms:created>
  <dcterms:modified xsi:type="dcterms:W3CDTF">2024-11-13T04:0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4FE2A5FCB4A40879E88ECF8489FD4</vt:lpwstr>
  </property>
  <property fmtid="{D5CDD505-2E9C-101B-9397-08002B2CF9AE}" pid="3" name="docIndexRef">
    <vt:lpwstr>ddce538a-6553-4c68-9d6c-64e93a433d9c</vt:lpwstr>
  </property>
  <property fmtid="{D5CDD505-2E9C-101B-9397-08002B2CF9AE}" pid="4" name="bjSaver">
    <vt:lpwstr>9t6USWvRu7KMupttdcb2Vutqtqh7IxVP</vt:lpwstr>
  </property>
  <property fmtid="{D5CDD505-2E9C-101B-9397-08002B2CF9AE}" pid="5" name="BJClassification">
    <vt:lpwstr>Honeywell Unrestricted</vt:lpwstr>
  </property>
  <property fmtid="{D5CDD505-2E9C-101B-9397-08002B2CF9AE}" pid="6" name="MSIP_Label_d546e5e1-5d42-4630-bacd-c69bfdcbd5e8_Enabled">
    <vt:lpwstr>true</vt:lpwstr>
  </property>
  <property fmtid="{D5CDD505-2E9C-101B-9397-08002B2CF9AE}" pid="7" name="MSIP_Label_d546e5e1-5d42-4630-bacd-c69bfdcbd5e8_SetDate">
    <vt:lpwstr>2021-11-08T04:21:34Z</vt:lpwstr>
  </property>
  <property fmtid="{D5CDD505-2E9C-101B-9397-08002B2CF9AE}" pid="8" name="MSIP_Label_d546e5e1-5d42-4630-bacd-c69bfdcbd5e8_Method">
    <vt:lpwstr>Standard</vt:lpwstr>
  </property>
  <property fmtid="{D5CDD505-2E9C-101B-9397-08002B2CF9AE}" pid="9" name="MSIP_Label_d546e5e1-5d42-4630-bacd-c69bfdcbd5e8_Name">
    <vt:lpwstr>d546e5e1-5d42-4630-bacd-c69bfdcbd5e8</vt:lpwstr>
  </property>
  <property fmtid="{D5CDD505-2E9C-101B-9397-08002B2CF9AE}" pid="10" name="MSIP_Label_d546e5e1-5d42-4630-bacd-c69bfdcbd5e8_SiteId">
    <vt:lpwstr>96ece526-9c7d-48b0-8daf-8b93c90a5d18</vt:lpwstr>
  </property>
  <property fmtid="{D5CDD505-2E9C-101B-9397-08002B2CF9AE}" pid="11" name="MSIP_Label_d546e5e1-5d42-4630-bacd-c69bfdcbd5e8_ActionId">
    <vt:lpwstr>30a1a7c2-fd3f-43df-9304-a609df5cb130</vt:lpwstr>
  </property>
  <property fmtid="{D5CDD505-2E9C-101B-9397-08002B2CF9AE}" pid="12" name="MSIP_Label_d546e5e1-5d42-4630-bacd-c69bfdcbd5e8_ContentBits">
    <vt:lpwstr>0</vt:lpwstr>
  </property>
  <property fmtid="{D5CDD505-2E9C-101B-9397-08002B2CF9AE}" pid="13" name="SmartTag">
    <vt:lpwstr>4</vt:lpwstr>
  </property>
  <property fmtid="{D5CDD505-2E9C-101B-9397-08002B2CF9AE}" pid="14" name="MediaServiceImageTags">
    <vt:lpwstr/>
  </property>
  <property fmtid="{D5CDD505-2E9C-101B-9397-08002B2CF9AE}" pid="15" name="bjDocumentLabelXML">
    <vt:lpwstr>&lt;?xml version="1.0" encoding="us-ascii"?&gt;&lt;sisl xmlns:xsd="http://www.w3.org/2001/XMLSchema" xmlns:xsi="http://www.w3.org/2001/XMLSchema-instance" sislVersion="0" policy="bf276872-af07-4968-a71d-1c83e80bd0bf" origin="userSelected" xmlns="http://www.boldonj</vt:lpwstr>
  </property>
  <property fmtid="{D5CDD505-2E9C-101B-9397-08002B2CF9AE}" pid="16" name="bjDocumentLabelXML-0">
    <vt:lpwstr>ames.com/2008/01/sie/internal/label"&gt;&lt;element uid="id_protectivemarking_newvalue1" value="" /&gt;&lt;/sisl&gt;</vt:lpwstr>
  </property>
  <property fmtid="{D5CDD505-2E9C-101B-9397-08002B2CF9AE}" pid="17" name="bjDocumentSecurityLabel">
    <vt:lpwstr>Honeywell Unrestricted</vt:lpwstr>
  </property>
</Properties>
</file>